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2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3.xml" ContentType="application/vnd.openxmlformats-officedocument.theme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theme/theme5.xml" ContentType="application/vnd.openxmlformats-officedocument.theme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theme/theme6.xml" ContentType="application/vnd.openxmlformats-officedocument.theme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theme/theme7.xml" ContentType="application/vnd.openxmlformats-officedocument.theme+xml"/>
  <Override PartName="/ppt/slideLayouts/slideLayout221.xml" ContentType="application/vnd.openxmlformats-officedocument.presentationml.slideLayout+xml"/>
  <Override PartName="/ppt/theme/theme8.xml" ContentType="application/vnd.openxmlformats-officedocument.theme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theme/theme9.xml" ContentType="application/vnd.openxmlformats-officedocument.theme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theme/theme10.xml" ContentType="application/vnd.openxmlformats-officedocument.theme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2" r:id="rId4"/>
    <p:sldMasterId id="2147483749" r:id="rId5"/>
    <p:sldMasterId id="2147483784" r:id="rId6"/>
    <p:sldMasterId id="2147483831" r:id="rId7"/>
    <p:sldMasterId id="2147483926" r:id="rId8"/>
    <p:sldMasterId id="2147483977" r:id="rId9"/>
    <p:sldMasterId id="2147483998" r:id="rId10"/>
    <p:sldMasterId id="2147484018" r:id="rId11"/>
    <p:sldMasterId id="2147484020" r:id="rId12"/>
    <p:sldMasterId id="2147484040" r:id="rId13"/>
    <p:sldMasterId id="2147484077" r:id="rId14"/>
  </p:sldMasterIdLst>
  <p:notesMasterIdLst>
    <p:notesMasterId r:id="rId46"/>
  </p:notesMasterIdLst>
  <p:handoutMasterIdLst>
    <p:handoutMasterId r:id="rId47"/>
  </p:handoutMasterIdLst>
  <p:sldIdLst>
    <p:sldId id="983" r:id="rId15"/>
    <p:sldId id="939" r:id="rId16"/>
    <p:sldId id="940" r:id="rId17"/>
    <p:sldId id="952" r:id="rId18"/>
    <p:sldId id="941" r:id="rId19"/>
    <p:sldId id="942" r:id="rId20"/>
    <p:sldId id="951" r:id="rId21"/>
    <p:sldId id="953" r:id="rId22"/>
    <p:sldId id="954" r:id="rId23"/>
    <p:sldId id="955" r:id="rId24"/>
    <p:sldId id="961" r:id="rId25"/>
    <p:sldId id="956" r:id="rId26"/>
    <p:sldId id="963" r:id="rId27"/>
    <p:sldId id="962" r:id="rId28"/>
    <p:sldId id="981" r:id="rId29"/>
    <p:sldId id="964" r:id="rId30"/>
    <p:sldId id="968" r:id="rId31"/>
    <p:sldId id="971" r:id="rId32"/>
    <p:sldId id="972" r:id="rId33"/>
    <p:sldId id="982" r:id="rId34"/>
    <p:sldId id="969" r:id="rId35"/>
    <p:sldId id="978" r:id="rId36"/>
    <p:sldId id="976" r:id="rId37"/>
    <p:sldId id="973" r:id="rId38"/>
    <p:sldId id="970" r:id="rId39"/>
    <p:sldId id="975" r:id="rId40"/>
    <p:sldId id="965" r:id="rId41"/>
    <p:sldId id="980" r:id="rId42"/>
    <p:sldId id="979" r:id="rId43"/>
    <p:sldId id="966" r:id="rId44"/>
    <p:sldId id="959" r:id="rId45"/>
  </p:sldIdLst>
  <p:sldSz cx="12192000" cy="6858000"/>
  <p:notesSz cx="6797675" cy="9926638"/>
  <p:custDataLst>
    <p:tags r:id="rId48"/>
  </p:custDataLst>
  <p:defaultTextStyle>
    <a:defPPr>
      <a:defRPr lang="en-US"/>
    </a:defPPr>
    <a:lvl1pPr marL="0" algn="l" defTabSz="9143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54" algn="l" defTabSz="9143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09" algn="l" defTabSz="9143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62" algn="l" defTabSz="9143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17" algn="l" defTabSz="9143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71" algn="l" defTabSz="9143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26" algn="l" defTabSz="9143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80" algn="l" defTabSz="9143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235" algn="l" defTabSz="9143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DaaS-DOES-LDN" id="{54EF8997-9C46-49A3-AC30-88E595CC95E1}">
          <p14:sldIdLst>
            <p14:sldId id="983"/>
            <p14:sldId id="939"/>
            <p14:sldId id="940"/>
            <p14:sldId id="952"/>
            <p14:sldId id="941"/>
            <p14:sldId id="942"/>
            <p14:sldId id="951"/>
            <p14:sldId id="953"/>
            <p14:sldId id="954"/>
            <p14:sldId id="955"/>
            <p14:sldId id="961"/>
            <p14:sldId id="956"/>
            <p14:sldId id="963"/>
            <p14:sldId id="962"/>
            <p14:sldId id="981"/>
            <p14:sldId id="964"/>
            <p14:sldId id="968"/>
            <p14:sldId id="971"/>
            <p14:sldId id="972"/>
            <p14:sldId id="982"/>
            <p14:sldId id="969"/>
            <p14:sldId id="978"/>
            <p14:sldId id="976"/>
            <p14:sldId id="973"/>
            <p14:sldId id="970"/>
            <p14:sldId id="975"/>
            <p14:sldId id="965"/>
            <p14:sldId id="980"/>
            <p14:sldId id="979"/>
            <p14:sldId id="966"/>
            <p14:sldId id="95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341" userDrawn="1">
          <p15:clr>
            <a:srgbClr val="A4A3A4"/>
          </p15:clr>
        </p15:guide>
        <p15:guide id="2" orient="horz" pos="813">
          <p15:clr>
            <a:srgbClr val="A4A3A4"/>
          </p15:clr>
        </p15:guide>
        <p15:guide id="3" orient="horz" pos="725">
          <p15:clr>
            <a:srgbClr val="A4A3A4"/>
          </p15:clr>
        </p15:guide>
        <p15:guide id="4" orient="horz" pos="181">
          <p15:clr>
            <a:srgbClr val="A4A3A4"/>
          </p15:clr>
        </p15:guide>
        <p15:guide id="5" orient="horz" pos="3917">
          <p15:clr>
            <a:srgbClr val="A4A3A4"/>
          </p15:clr>
        </p15:guide>
        <p15:guide id="6" pos="3840">
          <p15:clr>
            <a:srgbClr val="A4A3A4"/>
          </p15:clr>
        </p15:guide>
        <p15:guide id="7" pos="7160">
          <p15:clr>
            <a:srgbClr val="A4A3A4"/>
          </p15:clr>
        </p15:guide>
        <p15:guide id="8" pos="544">
          <p15:clr>
            <a:srgbClr val="A4A3A4"/>
          </p15:clr>
        </p15:guide>
        <p15:guide id="9" pos="7509">
          <p15:clr>
            <a:srgbClr val="A4A3A4"/>
          </p15:clr>
        </p15:guide>
        <p15:guide id="10" pos="449">
          <p15:clr>
            <a:srgbClr val="A4A3A4"/>
          </p15:clr>
        </p15:guide>
        <p15:guide id="11" pos="3726">
          <p15:clr>
            <a:srgbClr val="A4A3A4"/>
          </p15:clr>
        </p15:guide>
        <p15:guide id="12" pos="3962">
          <p15:clr>
            <a:srgbClr val="A4A3A4"/>
          </p15:clr>
        </p15:guide>
        <p15:guide id="13" pos="749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Wichers, T. (Tjeerd)" initials="TW" lastIdx="1" clrIdx="0"/>
  <p:cmAuthor id="1" name="Johnson, Patricia" initials="JP" lastIdx="3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5CE"/>
    <a:srgbClr val="000000"/>
    <a:srgbClr val="D9D9D9"/>
    <a:srgbClr val="FF6200"/>
    <a:srgbClr val="3366CC"/>
    <a:srgbClr val="FFC000"/>
    <a:srgbClr val="FFFF66"/>
    <a:srgbClr val="349651"/>
    <a:srgbClr val="E9E9E9"/>
    <a:srgbClr val="FDFD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727" autoAdjust="0"/>
    <p:restoredTop sz="95221" autoAdjust="0"/>
  </p:normalViewPr>
  <p:slideViewPr>
    <p:cSldViewPr snapToGrid="0" showGuides="1">
      <p:cViewPr varScale="1">
        <p:scale>
          <a:sx n="80" d="100"/>
          <a:sy n="80" d="100"/>
        </p:scale>
        <p:origin x="132" y="210"/>
      </p:cViewPr>
      <p:guideLst>
        <p:guide orient="horz" pos="2341"/>
        <p:guide orient="horz" pos="813"/>
        <p:guide orient="horz" pos="725"/>
        <p:guide orient="horz" pos="181"/>
        <p:guide orient="horz" pos="3917"/>
        <p:guide pos="3840"/>
        <p:guide pos="7160"/>
        <p:guide pos="544"/>
        <p:guide pos="7509"/>
        <p:guide pos="449"/>
        <p:guide pos="3726"/>
        <p:guide pos="3962"/>
        <p:guide pos="749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65" d="100"/>
          <a:sy n="65" d="100"/>
        </p:scale>
        <p:origin x="3366" y="66"/>
      </p:cViewPr>
      <p:guideLst>
        <p:guide orient="horz" pos="2880"/>
        <p:guide pos="2160"/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9" Type="http://schemas.openxmlformats.org/officeDocument/2006/relationships/slide" Target="slides/slide25.xml"/><Relationship Id="rId3" Type="http://schemas.openxmlformats.org/officeDocument/2006/relationships/customXml" Target="../customXml/item3.xml"/><Relationship Id="rId21" Type="http://schemas.openxmlformats.org/officeDocument/2006/relationships/slide" Target="slides/slide7.xml"/><Relationship Id="rId34" Type="http://schemas.openxmlformats.org/officeDocument/2006/relationships/slide" Target="slides/slide20.xml"/><Relationship Id="rId42" Type="http://schemas.openxmlformats.org/officeDocument/2006/relationships/slide" Target="slides/slide28.xml"/><Relationship Id="rId47" Type="http://schemas.openxmlformats.org/officeDocument/2006/relationships/handoutMaster" Target="handoutMasters/handoutMaster1.xml"/><Relationship Id="rId50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slide" Target="slides/slide24.xml"/><Relationship Id="rId46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slide" Target="slides/slide15.xml"/><Relationship Id="rId41" Type="http://schemas.openxmlformats.org/officeDocument/2006/relationships/slide" Target="slides/slide27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0.xml"/><Relationship Id="rId32" Type="http://schemas.openxmlformats.org/officeDocument/2006/relationships/slide" Target="slides/slide18.xml"/><Relationship Id="rId37" Type="http://schemas.openxmlformats.org/officeDocument/2006/relationships/slide" Target="slides/slide23.xml"/><Relationship Id="rId40" Type="http://schemas.openxmlformats.org/officeDocument/2006/relationships/slide" Target="slides/slide26.xml"/><Relationship Id="rId45" Type="http://schemas.openxmlformats.org/officeDocument/2006/relationships/slide" Target="slides/slide31.xml"/><Relationship Id="rId53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slide" Target="slides/slide22.xml"/><Relationship Id="rId49" Type="http://schemas.openxmlformats.org/officeDocument/2006/relationships/commentAuthors" Target="commentAuthor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5.xml"/><Relationship Id="rId31" Type="http://schemas.openxmlformats.org/officeDocument/2006/relationships/slide" Target="slides/slide17.xml"/><Relationship Id="rId44" Type="http://schemas.openxmlformats.org/officeDocument/2006/relationships/slide" Target="slides/slide30.xml"/><Relationship Id="rId52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slide" Target="slides/slide21.xml"/><Relationship Id="rId43" Type="http://schemas.openxmlformats.org/officeDocument/2006/relationships/slide" Target="slides/slide29.xml"/><Relationship Id="rId48" Type="http://schemas.openxmlformats.org/officeDocument/2006/relationships/tags" Target="tags/tag1.xml"/><Relationship Id="rId8" Type="http://schemas.openxmlformats.org/officeDocument/2006/relationships/slideMaster" Target="slideMasters/slideMaster5.xml"/><Relationship Id="rId51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>
              <a:latin typeface="ING Me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9DD6AA-DA07-4B49-84C4-DD15DC5E0A8E}" type="datetimeFigureOut">
              <a:rPr lang="en-GB" smtClean="0">
                <a:latin typeface="ING Me" pitchFamily="2" charset="0"/>
              </a:rPr>
              <a:t>03/06/2017</a:t>
            </a:fld>
            <a:endParaRPr lang="en-GB">
              <a:latin typeface="ING Me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>
              <a:latin typeface="ING M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52732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602282" cy="35173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727175" y="0"/>
            <a:ext cx="1070500" cy="35173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+mn-lt"/>
              </a:defRPr>
            </a:lvl1pPr>
          </a:lstStyle>
          <a:p>
            <a:fld id="{B6962210-35F6-42EB-A3B8-FCE6E13B30BA}" type="datetimeFigureOut">
              <a:rPr lang="en-GB" smtClean="0"/>
              <a:pPr/>
              <a:t>03/06/2017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744538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280862"/>
            <a:ext cx="5438140" cy="5147721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9614705"/>
            <a:ext cx="5602283" cy="273569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100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727175" y="9614705"/>
            <a:ext cx="1070500" cy="273569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1000">
                <a:latin typeface="+mn-lt"/>
              </a:defRPr>
            </a:lvl1pPr>
          </a:lstStyle>
          <a:p>
            <a:fld id="{E762DFE1-544E-4AD0-8AE2-9ADF9877B11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83378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09" rtl="0" eaLnBrk="1" latinLnBrk="0" hangingPunct="1">
      <a:lnSpc>
        <a:spcPct val="110000"/>
      </a:lnSpc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174608" indent="-174608" algn="l" defTabSz="914309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2pPr>
    <a:lvl3pPr marL="360327" indent="-174608" algn="l" defTabSz="914309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3pPr>
    <a:lvl4pPr marL="534934" indent="-174608" algn="l" defTabSz="914309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4pPr>
    <a:lvl5pPr marL="719066" indent="-174608" algn="l" defTabSz="914309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5pPr>
    <a:lvl6pPr marL="2285771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26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80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35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62DFE1-544E-4AD0-8AE2-9ADF9877B110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5607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2275" y="744538"/>
            <a:ext cx="5953125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0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</a:t>
            </a:fld>
            <a:endParaRPr lang="en-GB"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80452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.emf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.emf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6.png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6.png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6.png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6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6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7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9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.emf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.emf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.emf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.emf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0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0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.emf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.emf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.emf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1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1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 bwMode="gray">
          <a:xfrm>
            <a:off x="0" y="1643200"/>
            <a:ext cx="11339513" cy="3055937"/>
            <a:chOff x="409575" y="3144838"/>
            <a:chExt cx="11339513" cy="3055937"/>
          </a:xfrm>
        </p:grpSpPr>
        <p:sp>
          <p:nvSpPr>
            <p:cNvPr id="45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842434" y="2116801"/>
            <a:ext cx="10313209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240705"/>
            <a:ext cx="7082733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20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01" y="3556800"/>
            <a:ext cx="10305675" cy="385233"/>
          </a:xfrm>
        </p:spPr>
        <p:txBody>
          <a:bodyPr>
            <a:noAutofit/>
          </a:bodyPr>
          <a:lstStyle>
            <a:lvl1pPr>
              <a:lnSpc>
                <a:spcPts val="2199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5242061"/>
            <a:ext cx="2196000" cy="1318571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838200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3015150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426676" y="6559200"/>
            <a:ext cx="3600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-426676" y="6200775"/>
            <a:ext cx="3600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1206675" y="7019956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-1506675" y="6266693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r"/>
            <a:r>
              <a:rPr lang="en-GB" sz="1000" smtClean="0"/>
              <a:t>Min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-426676" y="5242062"/>
            <a:ext cx="3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 userDrawn="1"/>
        </p:nvSpPr>
        <p:spPr>
          <a:xfrm>
            <a:off x="-1506675" y="5297119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grpSp>
        <p:nvGrpSpPr>
          <p:cNvPr id="53" name="Group 52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54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5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6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5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6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8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0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2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4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167642" y="4291504"/>
            <a:ext cx="298800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6868257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>
            <a:grpSpLocks noChangeAspect="1"/>
          </p:cNvGrpSpPr>
          <p:nvPr userDrawn="1"/>
        </p:nvGrpSpPr>
        <p:grpSpPr bwMode="gray">
          <a:xfrm>
            <a:off x="1" y="1643200"/>
            <a:ext cx="5909320" cy="3045600"/>
            <a:chOff x="3465513" y="2070100"/>
            <a:chExt cx="5260975" cy="2711450"/>
          </a:xfrm>
        </p:grpSpPr>
        <p:sp>
          <p:nvSpPr>
            <p:cNvPr id="81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84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842434" y="2012286"/>
            <a:ext cx="4877966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031479"/>
            <a:ext cx="4877966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17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34" y="3603487"/>
            <a:ext cx="4877966" cy="290712"/>
          </a:xfrm>
        </p:spPr>
        <p:txBody>
          <a:bodyPr bIns="0">
            <a:noAutofit/>
          </a:bodyPr>
          <a:lstStyle>
            <a:lvl1pPr algn="l">
              <a:lnSpc>
                <a:spcPts val="1699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6055201"/>
            <a:ext cx="219600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3015150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-426676" y="6200775"/>
            <a:ext cx="3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1206675" y="7019956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7" name="TextBox 26"/>
          <p:cNvSpPr txBox="1"/>
          <p:nvPr userDrawn="1"/>
        </p:nvSpPr>
        <p:spPr>
          <a:xfrm>
            <a:off x="-1506675" y="6266693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838200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-426676" y="6559200"/>
            <a:ext cx="3600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5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4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42434" y="4381898"/>
            <a:ext cx="4878000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4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10749168" y="-133099"/>
            <a:ext cx="1441027" cy="1565166"/>
            <a:chOff x="5364088" y="4720073"/>
            <a:chExt cx="1441027" cy="1565166"/>
          </a:xfrm>
        </p:grpSpPr>
        <p:sp>
          <p:nvSpPr>
            <p:cNvPr id="4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8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  <p:sp>
        <p:nvSpPr>
          <p:cNvPr id="54" name="Picture Placeholder 53"/>
          <p:cNvSpPr>
            <a:spLocks noGrp="1"/>
          </p:cNvSpPr>
          <p:nvPr>
            <p:ph type="pic" sz="quarter" idx="12"/>
          </p:nvPr>
        </p:nvSpPr>
        <p:spPr bwMode="gray">
          <a:xfrm>
            <a:off x="-3175" y="2"/>
            <a:ext cx="12195175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79712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455011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838200" y="1270001"/>
            <a:ext cx="6786000" cy="49784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8454232" y="280733"/>
            <a:ext cx="3442280" cy="5920066"/>
          </a:xfrm>
          <a:custGeom>
            <a:avLst/>
            <a:gdLst>
              <a:gd name="connsiteX0" fmla="*/ 0 w 3442280"/>
              <a:gd name="connsiteY0" fmla="*/ 0 h 5920066"/>
              <a:gd name="connsiteX1" fmla="*/ 3346283 w 3442280"/>
              <a:gd name="connsiteY1" fmla="*/ 0 h 5920066"/>
              <a:gd name="connsiteX2" fmla="*/ 3442280 w 3442280"/>
              <a:gd name="connsiteY2" fmla="*/ 96110 h 5920066"/>
              <a:gd name="connsiteX3" fmla="*/ 3442280 w 3442280"/>
              <a:gd name="connsiteY3" fmla="*/ 335165 h 5920066"/>
              <a:gd name="connsiteX4" fmla="*/ 3442280 w 3442280"/>
              <a:gd name="connsiteY4" fmla="*/ 370350 h 5920066"/>
              <a:gd name="connsiteX5" fmla="*/ 3442280 w 3442280"/>
              <a:gd name="connsiteY5" fmla="*/ 379204 h 5920066"/>
              <a:gd name="connsiteX6" fmla="*/ 3442280 w 3442280"/>
              <a:gd name="connsiteY6" fmla="*/ 400048 h 5920066"/>
              <a:gd name="connsiteX7" fmla="*/ 3442280 w 3442280"/>
              <a:gd name="connsiteY7" fmla="*/ 400232 h 5920066"/>
              <a:gd name="connsiteX8" fmla="*/ 3442280 w 3442280"/>
              <a:gd name="connsiteY8" fmla="*/ 471202 h 5920066"/>
              <a:gd name="connsiteX9" fmla="*/ 3442280 w 3442280"/>
              <a:gd name="connsiteY9" fmla="*/ 475721 h 5920066"/>
              <a:gd name="connsiteX10" fmla="*/ 3442280 w 3442280"/>
              <a:gd name="connsiteY10" fmla="*/ 508692 h 5920066"/>
              <a:gd name="connsiteX11" fmla="*/ 3442280 w 3442280"/>
              <a:gd name="connsiteY11" fmla="*/ 554484 h 5920066"/>
              <a:gd name="connsiteX12" fmla="*/ 3442280 w 3442280"/>
              <a:gd name="connsiteY12" fmla="*/ 563015 h 5920066"/>
              <a:gd name="connsiteX13" fmla="*/ 3442280 w 3442280"/>
              <a:gd name="connsiteY13" fmla="*/ 609405 h 5920066"/>
              <a:gd name="connsiteX14" fmla="*/ 3442280 w 3442280"/>
              <a:gd name="connsiteY14" fmla="*/ 662759 h 5920066"/>
              <a:gd name="connsiteX15" fmla="*/ 3442280 w 3442280"/>
              <a:gd name="connsiteY15" fmla="*/ 674288 h 5920066"/>
              <a:gd name="connsiteX16" fmla="*/ 3442280 w 3442280"/>
              <a:gd name="connsiteY16" fmla="*/ 749961 h 5920066"/>
              <a:gd name="connsiteX17" fmla="*/ 3442280 w 3442280"/>
              <a:gd name="connsiteY17" fmla="*/ 775785 h 5920066"/>
              <a:gd name="connsiteX18" fmla="*/ 3442280 w 3442280"/>
              <a:gd name="connsiteY18" fmla="*/ 837255 h 5920066"/>
              <a:gd name="connsiteX19" fmla="*/ 3442280 w 3442280"/>
              <a:gd name="connsiteY19" fmla="*/ 902921 h 5920066"/>
              <a:gd name="connsiteX20" fmla="*/ 3442280 w 3442280"/>
              <a:gd name="connsiteY20" fmla="*/ 936999 h 5920066"/>
              <a:gd name="connsiteX21" fmla="*/ 3442280 w 3442280"/>
              <a:gd name="connsiteY21" fmla="*/ 1016524 h 5920066"/>
              <a:gd name="connsiteX22" fmla="*/ 3442280 w 3442280"/>
              <a:gd name="connsiteY22" fmla="*/ 1029131 h 5920066"/>
              <a:gd name="connsiteX23" fmla="*/ 3442280 w 3442280"/>
              <a:gd name="connsiteY23" fmla="*/ 1044999 h 5920066"/>
              <a:gd name="connsiteX24" fmla="*/ 3442280 w 3442280"/>
              <a:gd name="connsiteY24" fmla="*/ 1046406 h 5920066"/>
              <a:gd name="connsiteX25" fmla="*/ 3442280 w 3442280"/>
              <a:gd name="connsiteY25" fmla="*/ 1050025 h 5920066"/>
              <a:gd name="connsiteX26" fmla="*/ 3442280 w 3442280"/>
              <a:gd name="connsiteY26" fmla="*/ 1074887 h 5920066"/>
              <a:gd name="connsiteX27" fmla="*/ 3442280 w 3442280"/>
              <a:gd name="connsiteY27" fmla="*/ 1176672 h 5920066"/>
              <a:gd name="connsiteX28" fmla="*/ 3442280 w 3442280"/>
              <a:gd name="connsiteY28" fmla="*/ 1177161 h 5920066"/>
              <a:gd name="connsiteX29" fmla="*/ 3442280 w 3442280"/>
              <a:gd name="connsiteY29" fmla="*/ 1202847 h 5920066"/>
              <a:gd name="connsiteX30" fmla="*/ 3442280 w 3442280"/>
              <a:gd name="connsiteY30" fmla="*/ 1255579 h 5920066"/>
              <a:gd name="connsiteX31" fmla="*/ 3442280 w 3442280"/>
              <a:gd name="connsiteY31" fmla="*/ 1290764 h 5920066"/>
              <a:gd name="connsiteX32" fmla="*/ 3442280 w 3442280"/>
              <a:gd name="connsiteY32" fmla="*/ 1299618 h 5920066"/>
              <a:gd name="connsiteX33" fmla="*/ 3442280 w 3442280"/>
              <a:gd name="connsiteY33" fmla="*/ 1319239 h 5920066"/>
              <a:gd name="connsiteX34" fmla="*/ 3442280 w 3442280"/>
              <a:gd name="connsiteY34" fmla="*/ 1320462 h 5920066"/>
              <a:gd name="connsiteX35" fmla="*/ 3442280 w 3442280"/>
              <a:gd name="connsiteY35" fmla="*/ 1320646 h 5920066"/>
              <a:gd name="connsiteX36" fmla="*/ 3442280 w 3442280"/>
              <a:gd name="connsiteY36" fmla="*/ 1349128 h 5920066"/>
              <a:gd name="connsiteX37" fmla="*/ 3442280 w 3442280"/>
              <a:gd name="connsiteY37" fmla="*/ 1377296 h 5920066"/>
              <a:gd name="connsiteX38" fmla="*/ 3442280 w 3442280"/>
              <a:gd name="connsiteY38" fmla="*/ 1391616 h 5920066"/>
              <a:gd name="connsiteX39" fmla="*/ 3442280 w 3442280"/>
              <a:gd name="connsiteY39" fmla="*/ 1396135 h 5920066"/>
              <a:gd name="connsiteX40" fmla="*/ 3442280 w 3442280"/>
              <a:gd name="connsiteY40" fmla="*/ 1429106 h 5920066"/>
              <a:gd name="connsiteX41" fmla="*/ 3442280 w 3442280"/>
              <a:gd name="connsiteY41" fmla="*/ 1474898 h 5920066"/>
              <a:gd name="connsiteX42" fmla="*/ 3442280 w 3442280"/>
              <a:gd name="connsiteY42" fmla="*/ 1477087 h 5920066"/>
              <a:gd name="connsiteX43" fmla="*/ 3442280 w 3442280"/>
              <a:gd name="connsiteY43" fmla="*/ 1483429 h 5920066"/>
              <a:gd name="connsiteX44" fmla="*/ 3442280 w 3442280"/>
              <a:gd name="connsiteY44" fmla="*/ 1529819 h 5920066"/>
              <a:gd name="connsiteX45" fmla="*/ 3442280 w 3442280"/>
              <a:gd name="connsiteY45" fmla="*/ 1569177 h 5920066"/>
              <a:gd name="connsiteX46" fmla="*/ 3442280 w 3442280"/>
              <a:gd name="connsiteY46" fmla="*/ 1583173 h 5920066"/>
              <a:gd name="connsiteX47" fmla="*/ 3442280 w 3442280"/>
              <a:gd name="connsiteY47" fmla="*/ 1594702 h 5920066"/>
              <a:gd name="connsiteX48" fmla="*/ 3442280 w 3442280"/>
              <a:gd name="connsiteY48" fmla="*/ 1651536 h 5920066"/>
              <a:gd name="connsiteX49" fmla="*/ 3442280 w 3442280"/>
              <a:gd name="connsiteY49" fmla="*/ 1670375 h 5920066"/>
              <a:gd name="connsiteX50" fmla="*/ 3442280 w 3442280"/>
              <a:gd name="connsiteY50" fmla="*/ 1696199 h 5920066"/>
              <a:gd name="connsiteX51" fmla="*/ 3442280 w 3442280"/>
              <a:gd name="connsiteY51" fmla="*/ 1757669 h 5920066"/>
              <a:gd name="connsiteX52" fmla="*/ 3442280 w 3442280"/>
              <a:gd name="connsiteY52" fmla="*/ 1779318 h 5920066"/>
              <a:gd name="connsiteX53" fmla="*/ 3442280 w 3442280"/>
              <a:gd name="connsiteY53" fmla="*/ 1823335 h 5920066"/>
              <a:gd name="connsiteX54" fmla="*/ 3442280 w 3442280"/>
              <a:gd name="connsiteY54" fmla="*/ 1843417 h 5920066"/>
              <a:gd name="connsiteX55" fmla="*/ 3442280 w 3442280"/>
              <a:gd name="connsiteY55" fmla="*/ 1857413 h 5920066"/>
              <a:gd name="connsiteX56" fmla="*/ 3442280 w 3442280"/>
              <a:gd name="connsiteY56" fmla="*/ 1965413 h 5920066"/>
              <a:gd name="connsiteX57" fmla="*/ 3442280 w 3442280"/>
              <a:gd name="connsiteY57" fmla="*/ 1970439 h 5920066"/>
              <a:gd name="connsiteX58" fmla="*/ 3442280 w 3442280"/>
              <a:gd name="connsiteY58" fmla="*/ 2008551 h 5920066"/>
              <a:gd name="connsiteX59" fmla="*/ 3442280 w 3442280"/>
              <a:gd name="connsiteY59" fmla="*/ 2053558 h 5920066"/>
              <a:gd name="connsiteX60" fmla="*/ 3442280 w 3442280"/>
              <a:gd name="connsiteY60" fmla="*/ 2097575 h 5920066"/>
              <a:gd name="connsiteX61" fmla="*/ 3442280 w 3442280"/>
              <a:gd name="connsiteY61" fmla="*/ 2123261 h 5920066"/>
              <a:gd name="connsiteX62" fmla="*/ 3442280 w 3442280"/>
              <a:gd name="connsiteY62" fmla="*/ 2239653 h 5920066"/>
              <a:gd name="connsiteX63" fmla="*/ 3442280 w 3442280"/>
              <a:gd name="connsiteY63" fmla="*/ 2257705 h 5920066"/>
              <a:gd name="connsiteX64" fmla="*/ 3442280 w 3442280"/>
              <a:gd name="connsiteY64" fmla="*/ 2282791 h 5920066"/>
              <a:gd name="connsiteX65" fmla="*/ 3442280 w 3442280"/>
              <a:gd name="connsiteY65" fmla="*/ 2297710 h 5920066"/>
              <a:gd name="connsiteX66" fmla="*/ 3442280 w 3442280"/>
              <a:gd name="connsiteY66" fmla="*/ 2397501 h 5920066"/>
              <a:gd name="connsiteX67" fmla="*/ 3442280 w 3442280"/>
              <a:gd name="connsiteY67" fmla="*/ 2489591 h 5920066"/>
              <a:gd name="connsiteX68" fmla="*/ 3442280 w 3442280"/>
              <a:gd name="connsiteY68" fmla="*/ 2527610 h 5920066"/>
              <a:gd name="connsiteX69" fmla="*/ 3442280 w 3442280"/>
              <a:gd name="connsiteY69" fmla="*/ 2531945 h 5920066"/>
              <a:gd name="connsiteX70" fmla="*/ 3442280 w 3442280"/>
              <a:gd name="connsiteY70" fmla="*/ 2571950 h 5920066"/>
              <a:gd name="connsiteX71" fmla="*/ 3442280 w 3442280"/>
              <a:gd name="connsiteY71" fmla="*/ 2699732 h 5920066"/>
              <a:gd name="connsiteX72" fmla="*/ 3442280 w 3442280"/>
              <a:gd name="connsiteY72" fmla="*/ 2763831 h 5920066"/>
              <a:gd name="connsiteX73" fmla="*/ 3442280 w 3442280"/>
              <a:gd name="connsiteY73" fmla="*/ 2801851 h 5920066"/>
              <a:gd name="connsiteX74" fmla="*/ 3442280 w 3442280"/>
              <a:gd name="connsiteY74" fmla="*/ 2819097 h 5920066"/>
              <a:gd name="connsiteX75" fmla="*/ 3442280 w 3442280"/>
              <a:gd name="connsiteY75" fmla="*/ 2928965 h 5920066"/>
              <a:gd name="connsiteX76" fmla="*/ 3442280 w 3442280"/>
              <a:gd name="connsiteY76" fmla="*/ 2973972 h 5920066"/>
              <a:gd name="connsiteX77" fmla="*/ 3442280 w 3442280"/>
              <a:gd name="connsiteY77" fmla="*/ 3093337 h 5920066"/>
              <a:gd name="connsiteX78" fmla="*/ 3442280 w 3442280"/>
              <a:gd name="connsiteY78" fmla="*/ 3132995 h 5920066"/>
              <a:gd name="connsiteX79" fmla="*/ 3442280 w 3442280"/>
              <a:gd name="connsiteY79" fmla="*/ 3178119 h 5920066"/>
              <a:gd name="connsiteX80" fmla="*/ 3442280 w 3442280"/>
              <a:gd name="connsiteY80" fmla="*/ 3203205 h 5920066"/>
              <a:gd name="connsiteX81" fmla="*/ 3442280 w 3442280"/>
              <a:gd name="connsiteY81" fmla="*/ 3407236 h 5920066"/>
              <a:gd name="connsiteX82" fmla="*/ 3442280 w 3442280"/>
              <a:gd name="connsiteY82" fmla="*/ 3448024 h 5920066"/>
              <a:gd name="connsiteX83" fmla="*/ 3442280 w 3442280"/>
              <a:gd name="connsiteY83" fmla="*/ 3452359 h 5920066"/>
              <a:gd name="connsiteX84" fmla="*/ 3442280 w 3442280"/>
              <a:gd name="connsiteY84" fmla="*/ 3470135 h 5920066"/>
              <a:gd name="connsiteX85" fmla="*/ 3442280 w 3442280"/>
              <a:gd name="connsiteY85" fmla="*/ 3722265 h 5920066"/>
              <a:gd name="connsiteX86" fmla="*/ 3442280 w 3442280"/>
              <a:gd name="connsiteY86" fmla="*/ 3739511 h 5920066"/>
              <a:gd name="connsiteX87" fmla="*/ 3442280 w 3442280"/>
              <a:gd name="connsiteY87" fmla="*/ 3744375 h 5920066"/>
              <a:gd name="connsiteX88" fmla="*/ 3442280 w 3442280"/>
              <a:gd name="connsiteY88" fmla="*/ 3831346 h 5920066"/>
              <a:gd name="connsiteX89" fmla="*/ 3442280 w 3442280"/>
              <a:gd name="connsiteY89" fmla="*/ 4013751 h 5920066"/>
              <a:gd name="connsiteX90" fmla="*/ 3442280 w 3442280"/>
              <a:gd name="connsiteY90" fmla="*/ 4053409 h 5920066"/>
              <a:gd name="connsiteX91" fmla="*/ 3442280 w 3442280"/>
              <a:gd name="connsiteY91" fmla="*/ 4105586 h 5920066"/>
              <a:gd name="connsiteX92" fmla="*/ 3442280 w 3442280"/>
              <a:gd name="connsiteY92" fmla="*/ 4217459 h 5920066"/>
              <a:gd name="connsiteX93" fmla="*/ 3442280 w 3442280"/>
              <a:gd name="connsiteY93" fmla="*/ 4327650 h 5920066"/>
              <a:gd name="connsiteX94" fmla="*/ 3442280 w 3442280"/>
              <a:gd name="connsiteY94" fmla="*/ 4390549 h 5920066"/>
              <a:gd name="connsiteX95" fmla="*/ 3442280 w 3442280"/>
              <a:gd name="connsiteY95" fmla="*/ 4491699 h 5920066"/>
              <a:gd name="connsiteX96" fmla="*/ 3442280 w 3442280"/>
              <a:gd name="connsiteY96" fmla="*/ 4629303 h 5920066"/>
              <a:gd name="connsiteX97" fmla="*/ 3442280 w 3442280"/>
              <a:gd name="connsiteY97" fmla="*/ 4664789 h 5920066"/>
              <a:gd name="connsiteX98" fmla="*/ 3442280 w 3442280"/>
              <a:gd name="connsiteY98" fmla="*/ 4751760 h 5920066"/>
              <a:gd name="connsiteX99" fmla="*/ 3442280 w 3442280"/>
              <a:gd name="connsiteY99" fmla="*/ 4903543 h 5920066"/>
              <a:gd name="connsiteX100" fmla="*/ 3442280 w 3442280"/>
              <a:gd name="connsiteY100" fmla="*/ 5026000 h 5920066"/>
              <a:gd name="connsiteX101" fmla="*/ 3442280 w 3442280"/>
              <a:gd name="connsiteY101" fmla="*/ 5137873 h 5920066"/>
              <a:gd name="connsiteX102" fmla="*/ 3442280 w 3442280"/>
              <a:gd name="connsiteY102" fmla="*/ 5412113 h 5920066"/>
              <a:gd name="connsiteX103" fmla="*/ 3442280 w 3442280"/>
              <a:gd name="connsiteY103" fmla="*/ 5549717 h 5920066"/>
              <a:gd name="connsiteX104" fmla="*/ 3442280 w 3442280"/>
              <a:gd name="connsiteY104" fmla="*/ 5823957 h 5920066"/>
              <a:gd name="connsiteX105" fmla="*/ 3361283 w 3442280"/>
              <a:gd name="connsiteY105" fmla="*/ 5918566 h 5920066"/>
              <a:gd name="connsiteX106" fmla="*/ 3346294 w 3442280"/>
              <a:gd name="connsiteY106" fmla="*/ 5920066 h 5920066"/>
              <a:gd name="connsiteX107" fmla="*/ 0 w 3442280"/>
              <a:gd name="connsiteY107" fmla="*/ 5920066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442280" h="5920066">
                <a:moveTo>
                  <a:pt x="0" y="0"/>
                </a:moveTo>
                <a:lnTo>
                  <a:pt x="3346283" y="0"/>
                </a:lnTo>
                <a:cubicBezTo>
                  <a:pt x="3442280" y="0"/>
                  <a:pt x="3442280" y="96110"/>
                  <a:pt x="3442280" y="96110"/>
                </a:cubicBezTo>
                <a:cubicBezTo>
                  <a:pt x="3442280" y="96110"/>
                  <a:pt x="3442280" y="96110"/>
                  <a:pt x="3442280" y="335165"/>
                </a:cubicBezTo>
                <a:lnTo>
                  <a:pt x="3442280" y="370350"/>
                </a:lnTo>
                <a:cubicBezTo>
                  <a:pt x="3442280" y="370350"/>
                  <a:pt x="3442280" y="370350"/>
                  <a:pt x="3442280" y="379204"/>
                </a:cubicBezTo>
                <a:lnTo>
                  <a:pt x="3442280" y="400048"/>
                </a:lnTo>
                <a:lnTo>
                  <a:pt x="3442280" y="400232"/>
                </a:lnTo>
                <a:cubicBezTo>
                  <a:pt x="3442280" y="415173"/>
                  <a:pt x="3442280" y="437585"/>
                  <a:pt x="3442280" y="471202"/>
                </a:cubicBezTo>
                <a:lnTo>
                  <a:pt x="3442280" y="475721"/>
                </a:lnTo>
                <a:lnTo>
                  <a:pt x="3442280" y="508692"/>
                </a:lnTo>
                <a:cubicBezTo>
                  <a:pt x="3442280" y="522527"/>
                  <a:pt x="3442280" y="537744"/>
                  <a:pt x="3442280" y="554484"/>
                </a:cubicBezTo>
                <a:lnTo>
                  <a:pt x="3442280" y="563015"/>
                </a:lnTo>
                <a:lnTo>
                  <a:pt x="3442280" y="609405"/>
                </a:lnTo>
                <a:lnTo>
                  <a:pt x="3442280" y="662759"/>
                </a:lnTo>
                <a:lnTo>
                  <a:pt x="3442280" y="674288"/>
                </a:lnTo>
                <a:cubicBezTo>
                  <a:pt x="3442280" y="697668"/>
                  <a:pt x="3442280" y="722846"/>
                  <a:pt x="3442280" y="749961"/>
                </a:cubicBezTo>
                <a:lnTo>
                  <a:pt x="3442280" y="775785"/>
                </a:lnTo>
                <a:lnTo>
                  <a:pt x="3442280" y="837255"/>
                </a:lnTo>
                <a:lnTo>
                  <a:pt x="3442280" y="902921"/>
                </a:lnTo>
                <a:lnTo>
                  <a:pt x="3442280" y="936999"/>
                </a:lnTo>
                <a:lnTo>
                  <a:pt x="3442280" y="1016524"/>
                </a:lnTo>
                <a:cubicBezTo>
                  <a:pt x="3442280" y="1016524"/>
                  <a:pt x="3442280" y="1016524"/>
                  <a:pt x="3442280" y="1029131"/>
                </a:cubicBezTo>
                <a:lnTo>
                  <a:pt x="3442280" y="1044999"/>
                </a:lnTo>
                <a:lnTo>
                  <a:pt x="3442280" y="1046406"/>
                </a:lnTo>
                <a:lnTo>
                  <a:pt x="3442280" y="1050025"/>
                </a:lnTo>
                <a:lnTo>
                  <a:pt x="3442280" y="1074887"/>
                </a:lnTo>
                <a:cubicBezTo>
                  <a:pt x="3442280" y="1098232"/>
                  <a:pt x="3442280" y="1130916"/>
                  <a:pt x="3442280" y="1176672"/>
                </a:cubicBezTo>
                <a:lnTo>
                  <a:pt x="3442280" y="1177161"/>
                </a:lnTo>
                <a:lnTo>
                  <a:pt x="3442280" y="1202847"/>
                </a:lnTo>
                <a:lnTo>
                  <a:pt x="3442280" y="1255579"/>
                </a:lnTo>
                <a:lnTo>
                  <a:pt x="3442280" y="1290764"/>
                </a:lnTo>
                <a:cubicBezTo>
                  <a:pt x="3442280" y="1290764"/>
                  <a:pt x="3442280" y="1290764"/>
                  <a:pt x="3442280" y="1299618"/>
                </a:cubicBezTo>
                <a:lnTo>
                  <a:pt x="3442280" y="1319239"/>
                </a:lnTo>
                <a:lnTo>
                  <a:pt x="3442280" y="1320462"/>
                </a:lnTo>
                <a:lnTo>
                  <a:pt x="3442280" y="1320646"/>
                </a:lnTo>
                <a:cubicBezTo>
                  <a:pt x="3442280" y="1328117"/>
                  <a:pt x="3442280" y="1337455"/>
                  <a:pt x="3442280" y="1349128"/>
                </a:cubicBezTo>
                <a:lnTo>
                  <a:pt x="3442280" y="1377296"/>
                </a:lnTo>
                <a:lnTo>
                  <a:pt x="3442280" y="1391616"/>
                </a:lnTo>
                <a:lnTo>
                  <a:pt x="3442280" y="1396135"/>
                </a:lnTo>
                <a:lnTo>
                  <a:pt x="3442280" y="1429106"/>
                </a:lnTo>
                <a:cubicBezTo>
                  <a:pt x="3442280" y="1442941"/>
                  <a:pt x="3442280" y="1458158"/>
                  <a:pt x="3442280" y="1474898"/>
                </a:cubicBezTo>
                <a:lnTo>
                  <a:pt x="3442280" y="1477087"/>
                </a:lnTo>
                <a:lnTo>
                  <a:pt x="3442280" y="1483429"/>
                </a:lnTo>
                <a:lnTo>
                  <a:pt x="3442280" y="1529819"/>
                </a:lnTo>
                <a:lnTo>
                  <a:pt x="3442280" y="1569177"/>
                </a:lnTo>
                <a:lnTo>
                  <a:pt x="3442280" y="1583173"/>
                </a:lnTo>
                <a:lnTo>
                  <a:pt x="3442280" y="1594702"/>
                </a:lnTo>
                <a:lnTo>
                  <a:pt x="3442280" y="1651536"/>
                </a:lnTo>
                <a:lnTo>
                  <a:pt x="3442280" y="1670375"/>
                </a:lnTo>
                <a:lnTo>
                  <a:pt x="3442280" y="1696199"/>
                </a:lnTo>
                <a:lnTo>
                  <a:pt x="3442280" y="1757669"/>
                </a:lnTo>
                <a:lnTo>
                  <a:pt x="3442280" y="1779318"/>
                </a:lnTo>
                <a:lnTo>
                  <a:pt x="3442280" y="1823335"/>
                </a:lnTo>
                <a:lnTo>
                  <a:pt x="3442280" y="1843417"/>
                </a:lnTo>
                <a:lnTo>
                  <a:pt x="3442280" y="1857413"/>
                </a:lnTo>
                <a:lnTo>
                  <a:pt x="3442280" y="1965413"/>
                </a:lnTo>
                <a:lnTo>
                  <a:pt x="3442280" y="1970439"/>
                </a:lnTo>
                <a:lnTo>
                  <a:pt x="3442280" y="2008551"/>
                </a:lnTo>
                <a:lnTo>
                  <a:pt x="3442280" y="2053558"/>
                </a:lnTo>
                <a:lnTo>
                  <a:pt x="3442280" y="2097575"/>
                </a:lnTo>
                <a:lnTo>
                  <a:pt x="3442280" y="2123261"/>
                </a:lnTo>
                <a:lnTo>
                  <a:pt x="3442280" y="2239653"/>
                </a:lnTo>
                <a:lnTo>
                  <a:pt x="3442280" y="2257705"/>
                </a:lnTo>
                <a:lnTo>
                  <a:pt x="3442280" y="2282791"/>
                </a:lnTo>
                <a:lnTo>
                  <a:pt x="3442280" y="2297710"/>
                </a:lnTo>
                <a:lnTo>
                  <a:pt x="3442280" y="2397501"/>
                </a:lnTo>
                <a:lnTo>
                  <a:pt x="3442280" y="2489591"/>
                </a:lnTo>
                <a:lnTo>
                  <a:pt x="3442280" y="2527610"/>
                </a:lnTo>
                <a:lnTo>
                  <a:pt x="3442280" y="2531945"/>
                </a:lnTo>
                <a:lnTo>
                  <a:pt x="3442280" y="2571950"/>
                </a:lnTo>
                <a:lnTo>
                  <a:pt x="3442280" y="2699732"/>
                </a:lnTo>
                <a:lnTo>
                  <a:pt x="3442280" y="2763831"/>
                </a:lnTo>
                <a:lnTo>
                  <a:pt x="3442280" y="2801851"/>
                </a:lnTo>
                <a:lnTo>
                  <a:pt x="3442280" y="2819097"/>
                </a:lnTo>
                <a:lnTo>
                  <a:pt x="3442280" y="2928965"/>
                </a:lnTo>
                <a:lnTo>
                  <a:pt x="3442280" y="2973972"/>
                </a:lnTo>
                <a:lnTo>
                  <a:pt x="3442280" y="3093337"/>
                </a:lnTo>
                <a:lnTo>
                  <a:pt x="3442280" y="3132995"/>
                </a:lnTo>
                <a:lnTo>
                  <a:pt x="3442280" y="3178119"/>
                </a:lnTo>
                <a:lnTo>
                  <a:pt x="3442280" y="3203205"/>
                </a:lnTo>
                <a:lnTo>
                  <a:pt x="3442280" y="3407236"/>
                </a:lnTo>
                <a:lnTo>
                  <a:pt x="3442280" y="3448024"/>
                </a:lnTo>
                <a:lnTo>
                  <a:pt x="3442280" y="3452359"/>
                </a:lnTo>
                <a:lnTo>
                  <a:pt x="3442280" y="3470135"/>
                </a:lnTo>
                <a:lnTo>
                  <a:pt x="3442280" y="3722265"/>
                </a:lnTo>
                <a:lnTo>
                  <a:pt x="3442280" y="3739511"/>
                </a:lnTo>
                <a:lnTo>
                  <a:pt x="3442280" y="3744375"/>
                </a:lnTo>
                <a:lnTo>
                  <a:pt x="3442280" y="3831346"/>
                </a:lnTo>
                <a:lnTo>
                  <a:pt x="3442280" y="4013751"/>
                </a:lnTo>
                <a:lnTo>
                  <a:pt x="3442280" y="4053409"/>
                </a:lnTo>
                <a:lnTo>
                  <a:pt x="3442280" y="4105586"/>
                </a:lnTo>
                <a:lnTo>
                  <a:pt x="3442280" y="4217459"/>
                </a:lnTo>
                <a:lnTo>
                  <a:pt x="3442280" y="4327650"/>
                </a:lnTo>
                <a:lnTo>
                  <a:pt x="3442280" y="4390549"/>
                </a:lnTo>
                <a:lnTo>
                  <a:pt x="3442280" y="4491699"/>
                </a:lnTo>
                <a:lnTo>
                  <a:pt x="3442280" y="4629303"/>
                </a:lnTo>
                <a:lnTo>
                  <a:pt x="3442280" y="4664789"/>
                </a:lnTo>
                <a:lnTo>
                  <a:pt x="3442280" y="4751760"/>
                </a:lnTo>
                <a:lnTo>
                  <a:pt x="3442280" y="4903543"/>
                </a:lnTo>
                <a:lnTo>
                  <a:pt x="3442280" y="5026000"/>
                </a:lnTo>
                <a:lnTo>
                  <a:pt x="3442280" y="5137873"/>
                </a:lnTo>
                <a:lnTo>
                  <a:pt x="3442280" y="5412113"/>
                </a:lnTo>
                <a:lnTo>
                  <a:pt x="3442280" y="5549717"/>
                </a:lnTo>
                <a:lnTo>
                  <a:pt x="3442280" y="5823957"/>
                </a:lnTo>
                <a:cubicBezTo>
                  <a:pt x="3442280" y="5896040"/>
                  <a:pt x="3388282" y="5914060"/>
                  <a:pt x="3361283" y="5918566"/>
                </a:cubicBezTo>
                <a:lnTo>
                  <a:pt x="3346294" y="5920066"/>
                </a:lnTo>
                <a:lnTo>
                  <a:pt x="0" y="5920066"/>
                </a:ln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59964" tIns="359964">
            <a:noAutofit/>
          </a:bodyPr>
          <a:lstStyle>
            <a:lvl1pPr algn="ctr">
              <a:defRPr sz="1400" b="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45576" y="280734"/>
            <a:ext cx="677862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751133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806" userDrawn="1">
          <p15:clr>
            <a:srgbClr val="FBAE40"/>
          </p15:clr>
        </p15:guide>
        <p15:guide id="2" pos="5322" userDrawn="1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696912" y="1201147"/>
            <a:ext cx="11199600" cy="4999652"/>
          </a:xfrm>
          <a:custGeom>
            <a:avLst/>
            <a:gdLst>
              <a:gd name="connsiteX0" fmla="*/ 95997 w 11199600"/>
              <a:gd name="connsiteY0" fmla="*/ 0 h 4999652"/>
              <a:gd name="connsiteX1" fmla="*/ 11103603 w 11199600"/>
              <a:gd name="connsiteY1" fmla="*/ 0 h 4999652"/>
              <a:gd name="connsiteX2" fmla="*/ 11199600 w 11199600"/>
              <a:gd name="connsiteY2" fmla="*/ 96110 h 4999652"/>
              <a:gd name="connsiteX3" fmla="*/ 11199600 w 11199600"/>
              <a:gd name="connsiteY3" fmla="*/ 335165 h 4999652"/>
              <a:gd name="connsiteX4" fmla="*/ 11199600 w 11199600"/>
              <a:gd name="connsiteY4" fmla="*/ 370350 h 4999652"/>
              <a:gd name="connsiteX5" fmla="*/ 11199600 w 11199600"/>
              <a:gd name="connsiteY5" fmla="*/ 379204 h 4999652"/>
              <a:gd name="connsiteX6" fmla="*/ 11199600 w 11199600"/>
              <a:gd name="connsiteY6" fmla="*/ 400048 h 4999652"/>
              <a:gd name="connsiteX7" fmla="*/ 11199600 w 11199600"/>
              <a:gd name="connsiteY7" fmla="*/ 400232 h 4999652"/>
              <a:gd name="connsiteX8" fmla="*/ 11199600 w 11199600"/>
              <a:gd name="connsiteY8" fmla="*/ 471202 h 4999652"/>
              <a:gd name="connsiteX9" fmla="*/ 11199600 w 11199600"/>
              <a:gd name="connsiteY9" fmla="*/ 475721 h 4999652"/>
              <a:gd name="connsiteX10" fmla="*/ 11199600 w 11199600"/>
              <a:gd name="connsiteY10" fmla="*/ 508692 h 4999652"/>
              <a:gd name="connsiteX11" fmla="*/ 11199600 w 11199600"/>
              <a:gd name="connsiteY11" fmla="*/ 554484 h 4999652"/>
              <a:gd name="connsiteX12" fmla="*/ 11199600 w 11199600"/>
              <a:gd name="connsiteY12" fmla="*/ 563015 h 4999652"/>
              <a:gd name="connsiteX13" fmla="*/ 11199600 w 11199600"/>
              <a:gd name="connsiteY13" fmla="*/ 609405 h 4999652"/>
              <a:gd name="connsiteX14" fmla="*/ 11199600 w 11199600"/>
              <a:gd name="connsiteY14" fmla="*/ 662759 h 4999652"/>
              <a:gd name="connsiteX15" fmla="*/ 11199600 w 11199600"/>
              <a:gd name="connsiteY15" fmla="*/ 674288 h 4999652"/>
              <a:gd name="connsiteX16" fmla="*/ 11199600 w 11199600"/>
              <a:gd name="connsiteY16" fmla="*/ 749961 h 4999652"/>
              <a:gd name="connsiteX17" fmla="*/ 11199600 w 11199600"/>
              <a:gd name="connsiteY17" fmla="*/ 775785 h 4999652"/>
              <a:gd name="connsiteX18" fmla="*/ 11199600 w 11199600"/>
              <a:gd name="connsiteY18" fmla="*/ 837255 h 4999652"/>
              <a:gd name="connsiteX19" fmla="*/ 11199600 w 11199600"/>
              <a:gd name="connsiteY19" fmla="*/ 902921 h 4999652"/>
              <a:gd name="connsiteX20" fmla="*/ 11199600 w 11199600"/>
              <a:gd name="connsiteY20" fmla="*/ 936999 h 4999652"/>
              <a:gd name="connsiteX21" fmla="*/ 11199600 w 11199600"/>
              <a:gd name="connsiteY21" fmla="*/ 1016524 h 4999652"/>
              <a:gd name="connsiteX22" fmla="*/ 11199600 w 11199600"/>
              <a:gd name="connsiteY22" fmla="*/ 1029131 h 4999652"/>
              <a:gd name="connsiteX23" fmla="*/ 11199600 w 11199600"/>
              <a:gd name="connsiteY23" fmla="*/ 1044999 h 4999652"/>
              <a:gd name="connsiteX24" fmla="*/ 11199600 w 11199600"/>
              <a:gd name="connsiteY24" fmla="*/ 1046406 h 4999652"/>
              <a:gd name="connsiteX25" fmla="*/ 11199600 w 11199600"/>
              <a:gd name="connsiteY25" fmla="*/ 1050025 h 4999652"/>
              <a:gd name="connsiteX26" fmla="*/ 11199600 w 11199600"/>
              <a:gd name="connsiteY26" fmla="*/ 1074887 h 4999652"/>
              <a:gd name="connsiteX27" fmla="*/ 11199600 w 11199600"/>
              <a:gd name="connsiteY27" fmla="*/ 1176672 h 4999652"/>
              <a:gd name="connsiteX28" fmla="*/ 11199600 w 11199600"/>
              <a:gd name="connsiteY28" fmla="*/ 1177161 h 4999652"/>
              <a:gd name="connsiteX29" fmla="*/ 11199600 w 11199600"/>
              <a:gd name="connsiteY29" fmla="*/ 1202847 h 4999652"/>
              <a:gd name="connsiteX30" fmla="*/ 11199600 w 11199600"/>
              <a:gd name="connsiteY30" fmla="*/ 1208224 h 4999652"/>
              <a:gd name="connsiteX31" fmla="*/ 11199600 w 11199600"/>
              <a:gd name="connsiteY31" fmla="*/ 1255579 h 4999652"/>
              <a:gd name="connsiteX32" fmla="*/ 11199600 w 11199600"/>
              <a:gd name="connsiteY32" fmla="*/ 1290764 h 4999652"/>
              <a:gd name="connsiteX33" fmla="*/ 11199600 w 11199600"/>
              <a:gd name="connsiteY33" fmla="*/ 1299618 h 4999652"/>
              <a:gd name="connsiteX34" fmla="*/ 11199600 w 11199600"/>
              <a:gd name="connsiteY34" fmla="*/ 1319238 h 4999652"/>
              <a:gd name="connsiteX35" fmla="*/ 11199600 w 11199600"/>
              <a:gd name="connsiteY35" fmla="*/ 1319239 h 4999652"/>
              <a:gd name="connsiteX36" fmla="*/ 11199600 w 11199600"/>
              <a:gd name="connsiteY36" fmla="*/ 1320462 h 4999652"/>
              <a:gd name="connsiteX37" fmla="*/ 11199600 w 11199600"/>
              <a:gd name="connsiteY37" fmla="*/ 1320646 h 4999652"/>
              <a:gd name="connsiteX38" fmla="*/ 11199600 w 11199600"/>
              <a:gd name="connsiteY38" fmla="*/ 1337290 h 4999652"/>
              <a:gd name="connsiteX39" fmla="*/ 11199600 w 11199600"/>
              <a:gd name="connsiteY39" fmla="*/ 1349128 h 4999652"/>
              <a:gd name="connsiteX40" fmla="*/ 11199600 w 11199600"/>
              <a:gd name="connsiteY40" fmla="*/ 1362376 h 4999652"/>
              <a:gd name="connsiteX41" fmla="*/ 11199600 w 11199600"/>
              <a:gd name="connsiteY41" fmla="*/ 1377295 h 4999652"/>
              <a:gd name="connsiteX42" fmla="*/ 11199600 w 11199600"/>
              <a:gd name="connsiteY42" fmla="*/ 1377296 h 4999652"/>
              <a:gd name="connsiteX43" fmla="*/ 11199600 w 11199600"/>
              <a:gd name="connsiteY43" fmla="*/ 1391616 h 4999652"/>
              <a:gd name="connsiteX44" fmla="*/ 11199600 w 11199600"/>
              <a:gd name="connsiteY44" fmla="*/ 1396135 h 4999652"/>
              <a:gd name="connsiteX45" fmla="*/ 11199600 w 11199600"/>
              <a:gd name="connsiteY45" fmla="*/ 1429106 h 4999652"/>
              <a:gd name="connsiteX46" fmla="*/ 11199600 w 11199600"/>
              <a:gd name="connsiteY46" fmla="*/ 1474898 h 4999652"/>
              <a:gd name="connsiteX47" fmla="*/ 11199600 w 11199600"/>
              <a:gd name="connsiteY47" fmla="*/ 1477086 h 4999652"/>
              <a:gd name="connsiteX48" fmla="*/ 11199600 w 11199600"/>
              <a:gd name="connsiteY48" fmla="*/ 1477087 h 4999652"/>
              <a:gd name="connsiteX49" fmla="*/ 11199600 w 11199600"/>
              <a:gd name="connsiteY49" fmla="*/ 1483429 h 4999652"/>
              <a:gd name="connsiteX50" fmla="*/ 11199600 w 11199600"/>
              <a:gd name="connsiteY50" fmla="*/ 1529819 h 4999652"/>
              <a:gd name="connsiteX51" fmla="*/ 11199600 w 11199600"/>
              <a:gd name="connsiteY51" fmla="*/ 1569176 h 4999652"/>
              <a:gd name="connsiteX52" fmla="*/ 11199600 w 11199600"/>
              <a:gd name="connsiteY52" fmla="*/ 1569177 h 4999652"/>
              <a:gd name="connsiteX53" fmla="*/ 11199600 w 11199600"/>
              <a:gd name="connsiteY53" fmla="*/ 1583173 h 4999652"/>
              <a:gd name="connsiteX54" fmla="*/ 11199600 w 11199600"/>
              <a:gd name="connsiteY54" fmla="*/ 1594702 h 4999652"/>
              <a:gd name="connsiteX55" fmla="*/ 11199600 w 11199600"/>
              <a:gd name="connsiteY55" fmla="*/ 1607195 h 4999652"/>
              <a:gd name="connsiteX56" fmla="*/ 11199600 w 11199600"/>
              <a:gd name="connsiteY56" fmla="*/ 1611530 h 4999652"/>
              <a:gd name="connsiteX57" fmla="*/ 11199600 w 11199600"/>
              <a:gd name="connsiteY57" fmla="*/ 1651535 h 4999652"/>
              <a:gd name="connsiteX58" fmla="*/ 11199600 w 11199600"/>
              <a:gd name="connsiteY58" fmla="*/ 1651536 h 4999652"/>
              <a:gd name="connsiteX59" fmla="*/ 11199600 w 11199600"/>
              <a:gd name="connsiteY59" fmla="*/ 1670375 h 4999652"/>
              <a:gd name="connsiteX60" fmla="*/ 11199600 w 11199600"/>
              <a:gd name="connsiteY60" fmla="*/ 1696199 h 4999652"/>
              <a:gd name="connsiteX61" fmla="*/ 11199600 w 11199600"/>
              <a:gd name="connsiteY61" fmla="*/ 1757669 h 4999652"/>
              <a:gd name="connsiteX62" fmla="*/ 11199600 w 11199600"/>
              <a:gd name="connsiteY62" fmla="*/ 1779317 h 4999652"/>
              <a:gd name="connsiteX63" fmla="*/ 11199600 w 11199600"/>
              <a:gd name="connsiteY63" fmla="*/ 1779318 h 4999652"/>
              <a:gd name="connsiteX64" fmla="*/ 11199600 w 11199600"/>
              <a:gd name="connsiteY64" fmla="*/ 1823335 h 4999652"/>
              <a:gd name="connsiteX65" fmla="*/ 11199600 w 11199600"/>
              <a:gd name="connsiteY65" fmla="*/ 1843416 h 4999652"/>
              <a:gd name="connsiteX66" fmla="*/ 11199600 w 11199600"/>
              <a:gd name="connsiteY66" fmla="*/ 1843417 h 4999652"/>
              <a:gd name="connsiteX67" fmla="*/ 11199600 w 11199600"/>
              <a:gd name="connsiteY67" fmla="*/ 1857413 h 4999652"/>
              <a:gd name="connsiteX68" fmla="*/ 11199600 w 11199600"/>
              <a:gd name="connsiteY68" fmla="*/ 1881436 h 4999652"/>
              <a:gd name="connsiteX69" fmla="*/ 11199600 w 11199600"/>
              <a:gd name="connsiteY69" fmla="*/ 1898682 h 4999652"/>
              <a:gd name="connsiteX70" fmla="*/ 11199600 w 11199600"/>
              <a:gd name="connsiteY70" fmla="*/ 1965413 h 4999652"/>
              <a:gd name="connsiteX71" fmla="*/ 11199600 w 11199600"/>
              <a:gd name="connsiteY71" fmla="*/ 1970439 h 4999652"/>
              <a:gd name="connsiteX72" fmla="*/ 11199600 w 11199600"/>
              <a:gd name="connsiteY72" fmla="*/ 2008550 h 4999652"/>
              <a:gd name="connsiteX73" fmla="*/ 11199600 w 11199600"/>
              <a:gd name="connsiteY73" fmla="*/ 2008551 h 4999652"/>
              <a:gd name="connsiteX74" fmla="*/ 11199600 w 11199600"/>
              <a:gd name="connsiteY74" fmla="*/ 2053557 h 4999652"/>
              <a:gd name="connsiteX75" fmla="*/ 11199600 w 11199600"/>
              <a:gd name="connsiteY75" fmla="*/ 2053558 h 4999652"/>
              <a:gd name="connsiteX76" fmla="*/ 11199600 w 11199600"/>
              <a:gd name="connsiteY76" fmla="*/ 2097575 h 4999652"/>
              <a:gd name="connsiteX77" fmla="*/ 11199600 w 11199600"/>
              <a:gd name="connsiteY77" fmla="*/ 2123261 h 4999652"/>
              <a:gd name="connsiteX78" fmla="*/ 11199600 w 11199600"/>
              <a:gd name="connsiteY78" fmla="*/ 2172922 h 4999652"/>
              <a:gd name="connsiteX79" fmla="*/ 11199600 w 11199600"/>
              <a:gd name="connsiteY79" fmla="*/ 2212580 h 4999652"/>
              <a:gd name="connsiteX80" fmla="*/ 11199600 w 11199600"/>
              <a:gd name="connsiteY80" fmla="*/ 2239653 h 4999652"/>
              <a:gd name="connsiteX81" fmla="*/ 11199600 w 11199600"/>
              <a:gd name="connsiteY81" fmla="*/ 2257704 h 4999652"/>
              <a:gd name="connsiteX82" fmla="*/ 11199600 w 11199600"/>
              <a:gd name="connsiteY82" fmla="*/ 2257705 h 4999652"/>
              <a:gd name="connsiteX83" fmla="*/ 11199600 w 11199600"/>
              <a:gd name="connsiteY83" fmla="*/ 2282790 h 4999652"/>
              <a:gd name="connsiteX84" fmla="*/ 11199600 w 11199600"/>
              <a:gd name="connsiteY84" fmla="*/ 2282791 h 4999652"/>
              <a:gd name="connsiteX85" fmla="*/ 11199600 w 11199600"/>
              <a:gd name="connsiteY85" fmla="*/ 2297710 h 4999652"/>
              <a:gd name="connsiteX86" fmla="*/ 11199600 w 11199600"/>
              <a:gd name="connsiteY86" fmla="*/ 2397501 h 4999652"/>
              <a:gd name="connsiteX87" fmla="*/ 11199600 w 11199600"/>
              <a:gd name="connsiteY87" fmla="*/ 2486821 h 4999652"/>
              <a:gd name="connsiteX88" fmla="*/ 11199600 w 11199600"/>
              <a:gd name="connsiteY88" fmla="*/ 2489591 h 4999652"/>
              <a:gd name="connsiteX89" fmla="*/ 11199600 w 11199600"/>
              <a:gd name="connsiteY89" fmla="*/ 2527609 h 4999652"/>
              <a:gd name="connsiteX90" fmla="*/ 11199600 w 11199600"/>
              <a:gd name="connsiteY90" fmla="*/ 2527610 h 4999652"/>
              <a:gd name="connsiteX91" fmla="*/ 11199600 w 11199600"/>
              <a:gd name="connsiteY91" fmla="*/ 2531944 h 4999652"/>
              <a:gd name="connsiteX92" fmla="*/ 11199600 w 11199600"/>
              <a:gd name="connsiteY92" fmla="*/ 2531945 h 4999652"/>
              <a:gd name="connsiteX93" fmla="*/ 11199600 w 11199600"/>
              <a:gd name="connsiteY93" fmla="*/ 2549720 h 4999652"/>
              <a:gd name="connsiteX94" fmla="*/ 11199600 w 11199600"/>
              <a:gd name="connsiteY94" fmla="*/ 2571950 h 4999652"/>
              <a:gd name="connsiteX95" fmla="*/ 11199600 w 11199600"/>
              <a:gd name="connsiteY95" fmla="*/ 2699732 h 4999652"/>
              <a:gd name="connsiteX96" fmla="*/ 11199600 w 11199600"/>
              <a:gd name="connsiteY96" fmla="*/ 2763831 h 4999652"/>
              <a:gd name="connsiteX97" fmla="*/ 11199600 w 11199600"/>
              <a:gd name="connsiteY97" fmla="*/ 2790282 h 4999652"/>
              <a:gd name="connsiteX98" fmla="*/ 11199600 w 11199600"/>
              <a:gd name="connsiteY98" fmla="*/ 2801850 h 4999652"/>
              <a:gd name="connsiteX99" fmla="*/ 11199600 w 11199600"/>
              <a:gd name="connsiteY99" fmla="*/ 2819096 h 4999652"/>
              <a:gd name="connsiteX100" fmla="*/ 11199600 w 11199600"/>
              <a:gd name="connsiteY100" fmla="*/ 2823960 h 4999652"/>
              <a:gd name="connsiteX101" fmla="*/ 11199600 w 11199600"/>
              <a:gd name="connsiteY101" fmla="*/ 2910931 h 4999652"/>
              <a:gd name="connsiteX102" fmla="*/ 11199600 w 11199600"/>
              <a:gd name="connsiteY102" fmla="*/ 3093336 h 4999652"/>
              <a:gd name="connsiteX103" fmla="*/ 11199600 w 11199600"/>
              <a:gd name="connsiteY103" fmla="*/ 3132994 h 4999652"/>
              <a:gd name="connsiteX104" fmla="*/ 11199600 w 11199600"/>
              <a:gd name="connsiteY104" fmla="*/ 3185171 h 4999652"/>
              <a:gd name="connsiteX105" fmla="*/ 11199600 w 11199600"/>
              <a:gd name="connsiteY105" fmla="*/ 3297044 h 4999652"/>
              <a:gd name="connsiteX106" fmla="*/ 11199600 w 11199600"/>
              <a:gd name="connsiteY106" fmla="*/ 3407235 h 4999652"/>
              <a:gd name="connsiteX107" fmla="*/ 11199600 w 11199600"/>
              <a:gd name="connsiteY107" fmla="*/ 3470134 h 4999652"/>
              <a:gd name="connsiteX108" fmla="*/ 11199600 w 11199600"/>
              <a:gd name="connsiteY108" fmla="*/ 3571284 h 4999652"/>
              <a:gd name="connsiteX109" fmla="*/ 11199600 w 11199600"/>
              <a:gd name="connsiteY109" fmla="*/ 3708888 h 4999652"/>
              <a:gd name="connsiteX110" fmla="*/ 11199600 w 11199600"/>
              <a:gd name="connsiteY110" fmla="*/ 3744374 h 4999652"/>
              <a:gd name="connsiteX111" fmla="*/ 11199600 w 11199600"/>
              <a:gd name="connsiteY111" fmla="*/ 3831345 h 4999652"/>
              <a:gd name="connsiteX112" fmla="*/ 11199600 w 11199600"/>
              <a:gd name="connsiteY112" fmla="*/ 3983128 h 4999652"/>
              <a:gd name="connsiteX113" fmla="*/ 11199600 w 11199600"/>
              <a:gd name="connsiteY113" fmla="*/ 4105585 h 4999652"/>
              <a:gd name="connsiteX114" fmla="*/ 11199600 w 11199600"/>
              <a:gd name="connsiteY114" fmla="*/ 4217458 h 4999652"/>
              <a:gd name="connsiteX115" fmla="*/ 11199600 w 11199600"/>
              <a:gd name="connsiteY115" fmla="*/ 4491698 h 4999652"/>
              <a:gd name="connsiteX116" fmla="*/ 11199600 w 11199600"/>
              <a:gd name="connsiteY116" fmla="*/ 4629302 h 4999652"/>
              <a:gd name="connsiteX117" fmla="*/ 11199600 w 11199600"/>
              <a:gd name="connsiteY117" fmla="*/ 4903542 h 4999652"/>
              <a:gd name="connsiteX118" fmla="*/ 11103603 w 11199600"/>
              <a:gd name="connsiteY118" fmla="*/ 4999652 h 4999652"/>
              <a:gd name="connsiteX119" fmla="*/ 95997 w 11199600"/>
              <a:gd name="connsiteY119" fmla="*/ 4999652 h 4999652"/>
              <a:gd name="connsiteX120" fmla="*/ 0 w 11199600"/>
              <a:gd name="connsiteY120" fmla="*/ 4903542 h 4999652"/>
              <a:gd name="connsiteX121" fmla="*/ 0 w 11199600"/>
              <a:gd name="connsiteY121" fmla="*/ 4899807 h 4999652"/>
              <a:gd name="connsiteX122" fmla="*/ 0 w 11199600"/>
              <a:gd name="connsiteY122" fmla="*/ 4890936 h 4999652"/>
              <a:gd name="connsiteX123" fmla="*/ 0 w 11199600"/>
              <a:gd name="connsiteY123" fmla="*/ 4873660 h 4999652"/>
              <a:gd name="connsiteX124" fmla="*/ 0 w 11199600"/>
              <a:gd name="connsiteY124" fmla="*/ 4845179 h 4999652"/>
              <a:gd name="connsiteX125" fmla="*/ 0 w 11199600"/>
              <a:gd name="connsiteY125" fmla="*/ 4802691 h 4999652"/>
              <a:gd name="connsiteX126" fmla="*/ 0 w 11199600"/>
              <a:gd name="connsiteY126" fmla="*/ 4743394 h 4999652"/>
              <a:gd name="connsiteX127" fmla="*/ 0 w 11199600"/>
              <a:gd name="connsiteY127" fmla="*/ 4664487 h 4999652"/>
              <a:gd name="connsiteX128" fmla="*/ 0 w 11199600"/>
              <a:gd name="connsiteY128" fmla="*/ 4629302 h 4999652"/>
              <a:gd name="connsiteX129" fmla="*/ 0 w 11199600"/>
              <a:gd name="connsiteY129" fmla="*/ 4628196 h 4999652"/>
              <a:gd name="connsiteX130" fmla="*/ 0 w 11199600"/>
              <a:gd name="connsiteY130" fmla="*/ 4620448 h 4999652"/>
              <a:gd name="connsiteX131" fmla="*/ 0 w 11199600"/>
              <a:gd name="connsiteY131" fmla="*/ 4599605 h 4999652"/>
              <a:gd name="connsiteX132" fmla="*/ 0 w 11199600"/>
              <a:gd name="connsiteY132" fmla="*/ 4599420 h 4999652"/>
              <a:gd name="connsiteX133" fmla="*/ 0 w 11199600"/>
              <a:gd name="connsiteY133" fmla="*/ 4558471 h 4999652"/>
              <a:gd name="connsiteX134" fmla="*/ 0 w 11199600"/>
              <a:gd name="connsiteY134" fmla="*/ 4528451 h 4999652"/>
              <a:gd name="connsiteX135" fmla="*/ 0 w 11199600"/>
              <a:gd name="connsiteY135" fmla="*/ 4523932 h 4999652"/>
              <a:gd name="connsiteX136" fmla="*/ 0 w 11199600"/>
              <a:gd name="connsiteY136" fmla="*/ 4490960 h 4999652"/>
              <a:gd name="connsiteX137" fmla="*/ 0 w 11199600"/>
              <a:gd name="connsiteY137" fmla="*/ 4445169 h 4999652"/>
              <a:gd name="connsiteX138" fmla="*/ 0 w 11199600"/>
              <a:gd name="connsiteY138" fmla="*/ 4436638 h 4999652"/>
              <a:gd name="connsiteX139" fmla="*/ 0 w 11199600"/>
              <a:gd name="connsiteY139" fmla="*/ 4390247 h 4999652"/>
              <a:gd name="connsiteX140" fmla="*/ 0 w 11199600"/>
              <a:gd name="connsiteY140" fmla="*/ 4336893 h 4999652"/>
              <a:gd name="connsiteX141" fmla="*/ 0 w 11199600"/>
              <a:gd name="connsiteY141" fmla="*/ 4325365 h 4999652"/>
              <a:gd name="connsiteX142" fmla="*/ 0 w 11199600"/>
              <a:gd name="connsiteY142" fmla="*/ 4249692 h 4999652"/>
              <a:gd name="connsiteX143" fmla="*/ 0 w 11199600"/>
              <a:gd name="connsiteY143" fmla="*/ 4223868 h 4999652"/>
              <a:gd name="connsiteX144" fmla="*/ 0 w 11199600"/>
              <a:gd name="connsiteY144" fmla="*/ 4162398 h 4999652"/>
              <a:gd name="connsiteX145" fmla="*/ 0 w 11199600"/>
              <a:gd name="connsiteY145" fmla="*/ 4096731 h 4999652"/>
              <a:gd name="connsiteX146" fmla="*/ 0 w 11199600"/>
              <a:gd name="connsiteY146" fmla="*/ 4062653 h 4999652"/>
              <a:gd name="connsiteX147" fmla="*/ 0 w 11199600"/>
              <a:gd name="connsiteY147" fmla="*/ 3983128 h 4999652"/>
              <a:gd name="connsiteX148" fmla="*/ 0 w 11199600"/>
              <a:gd name="connsiteY148" fmla="*/ 3979393 h 4999652"/>
              <a:gd name="connsiteX149" fmla="*/ 0 w 11199600"/>
              <a:gd name="connsiteY149" fmla="*/ 3970522 h 4999652"/>
              <a:gd name="connsiteX150" fmla="*/ 0 w 11199600"/>
              <a:gd name="connsiteY150" fmla="*/ 3954654 h 4999652"/>
              <a:gd name="connsiteX151" fmla="*/ 0 w 11199600"/>
              <a:gd name="connsiteY151" fmla="*/ 3953246 h 4999652"/>
              <a:gd name="connsiteX152" fmla="*/ 0 w 11199600"/>
              <a:gd name="connsiteY152" fmla="*/ 3949628 h 4999652"/>
              <a:gd name="connsiteX153" fmla="*/ 0 w 11199600"/>
              <a:gd name="connsiteY153" fmla="*/ 3924765 h 4999652"/>
              <a:gd name="connsiteX154" fmla="*/ 0 w 11199600"/>
              <a:gd name="connsiteY154" fmla="*/ 3882277 h 4999652"/>
              <a:gd name="connsiteX155" fmla="*/ 0 w 11199600"/>
              <a:gd name="connsiteY155" fmla="*/ 3822980 h 4999652"/>
              <a:gd name="connsiteX156" fmla="*/ 0 w 11199600"/>
              <a:gd name="connsiteY156" fmla="*/ 3822491 h 4999652"/>
              <a:gd name="connsiteX157" fmla="*/ 0 w 11199600"/>
              <a:gd name="connsiteY157" fmla="*/ 3796806 h 4999652"/>
              <a:gd name="connsiteX158" fmla="*/ 0 w 11199600"/>
              <a:gd name="connsiteY158" fmla="*/ 3744073 h 4999652"/>
              <a:gd name="connsiteX159" fmla="*/ 0 w 11199600"/>
              <a:gd name="connsiteY159" fmla="*/ 3708888 h 4999652"/>
              <a:gd name="connsiteX160" fmla="*/ 0 w 11199600"/>
              <a:gd name="connsiteY160" fmla="*/ 3707782 h 4999652"/>
              <a:gd name="connsiteX161" fmla="*/ 0 w 11199600"/>
              <a:gd name="connsiteY161" fmla="*/ 3700034 h 4999652"/>
              <a:gd name="connsiteX162" fmla="*/ 0 w 11199600"/>
              <a:gd name="connsiteY162" fmla="*/ 3680414 h 4999652"/>
              <a:gd name="connsiteX163" fmla="*/ 0 w 11199600"/>
              <a:gd name="connsiteY163" fmla="*/ 3679191 h 4999652"/>
              <a:gd name="connsiteX164" fmla="*/ 0 w 11199600"/>
              <a:gd name="connsiteY164" fmla="*/ 3679006 h 4999652"/>
              <a:gd name="connsiteX165" fmla="*/ 0 w 11199600"/>
              <a:gd name="connsiteY165" fmla="*/ 3638057 h 4999652"/>
              <a:gd name="connsiteX166" fmla="*/ 0 w 11199600"/>
              <a:gd name="connsiteY166" fmla="*/ 3622356 h 4999652"/>
              <a:gd name="connsiteX167" fmla="*/ 0 w 11199600"/>
              <a:gd name="connsiteY167" fmla="*/ 3608037 h 4999652"/>
              <a:gd name="connsiteX168" fmla="*/ 0 w 11199600"/>
              <a:gd name="connsiteY168" fmla="*/ 3603518 h 4999652"/>
              <a:gd name="connsiteX169" fmla="*/ 0 w 11199600"/>
              <a:gd name="connsiteY169" fmla="*/ 3570546 h 4999652"/>
              <a:gd name="connsiteX170" fmla="*/ 0 w 11199600"/>
              <a:gd name="connsiteY170" fmla="*/ 3524755 h 4999652"/>
              <a:gd name="connsiteX171" fmla="*/ 0 w 11199600"/>
              <a:gd name="connsiteY171" fmla="*/ 3522566 h 4999652"/>
              <a:gd name="connsiteX172" fmla="*/ 0 w 11199600"/>
              <a:gd name="connsiteY172" fmla="*/ 3516224 h 4999652"/>
              <a:gd name="connsiteX173" fmla="*/ 0 w 11199600"/>
              <a:gd name="connsiteY173" fmla="*/ 3469833 h 4999652"/>
              <a:gd name="connsiteX174" fmla="*/ 0 w 11199600"/>
              <a:gd name="connsiteY174" fmla="*/ 3430476 h 4999652"/>
              <a:gd name="connsiteX175" fmla="*/ 0 w 11199600"/>
              <a:gd name="connsiteY175" fmla="*/ 3416479 h 4999652"/>
              <a:gd name="connsiteX176" fmla="*/ 0 w 11199600"/>
              <a:gd name="connsiteY176" fmla="*/ 3404951 h 4999652"/>
              <a:gd name="connsiteX177" fmla="*/ 0 w 11199600"/>
              <a:gd name="connsiteY177" fmla="*/ 3348116 h 4999652"/>
              <a:gd name="connsiteX178" fmla="*/ 0 w 11199600"/>
              <a:gd name="connsiteY178" fmla="*/ 3329278 h 4999652"/>
              <a:gd name="connsiteX179" fmla="*/ 0 w 11199600"/>
              <a:gd name="connsiteY179" fmla="*/ 3303454 h 4999652"/>
              <a:gd name="connsiteX180" fmla="*/ 0 w 11199600"/>
              <a:gd name="connsiteY180" fmla="*/ 3241984 h 4999652"/>
              <a:gd name="connsiteX181" fmla="*/ 0 w 11199600"/>
              <a:gd name="connsiteY181" fmla="*/ 3220334 h 4999652"/>
              <a:gd name="connsiteX182" fmla="*/ 0 w 11199600"/>
              <a:gd name="connsiteY182" fmla="*/ 3176317 h 4999652"/>
              <a:gd name="connsiteX183" fmla="*/ 0 w 11199600"/>
              <a:gd name="connsiteY183" fmla="*/ 3156236 h 4999652"/>
              <a:gd name="connsiteX184" fmla="*/ 0 w 11199600"/>
              <a:gd name="connsiteY184" fmla="*/ 3142239 h 4999652"/>
              <a:gd name="connsiteX185" fmla="*/ 0 w 11199600"/>
              <a:gd name="connsiteY185" fmla="*/ 3034240 h 4999652"/>
              <a:gd name="connsiteX186" fmla="*/ 0 w 11199600"/>
              <a:gd name="connsiteY186" fmla="*/ 3029214 h 4999652"/>
              <a:gd name="connsiteX187" fmla="*/ 0 w 11199600"/>
              <a:gd name="connsiteY187" fmla="*/ 2991101 h 4999652"/>
              <a:gd name="connsiteX188" fmla="*/ 0 w 11199600"/>
              <a:gd name="connsiteY188" fmla="*/ 2946094 h 4999652"/>
              <a:gd name="connsiteX189" fmla="*/ 0 w 11199600"/>
              <a:gd name="connsiteY189" fmla="*/ 2902077 h 4999652"/>
              <a:gd name="connsiteX190" fmla="*/ 0 w 11199600"/>
              <a:gd name="connsiteY190" fmla="*/ 2876392 h 4999652"/>
              <a:gd name="connsiteX191" fmla="*/ 0 w 11199600"/>
              <a:gd name="connsiteY191" fmla="*/ 2790282 h 4999652"/>
              <a:gd name="connsiteX192" fmla="*/ 0 w 11199600"/>
              <a:gd name="connsiteY192" fmla="*/ 2787072 h 4999652"/>
              <a:gd name="connsiteX193" fmla="*/ 0 w 11199600"/>
              <a:gd name="connsiteY193" fmla="*/ 2760000 h 4999652"/>
              <a:gd name="connsiteX194" fmla="*/ 0 w 11199600"/>
              <a:gd name="connsiteY194" fmla="*/ 2741948 h 4999652"/>
              <a:gd name="connsiteX195" fmla="*/ 0 w 11199600"/>
              <a:gd name="connsiteY195" fmla="*/ 2741947 h 4999652"/>
              <a:gd name="connsiteX196" fmla="*/ 0 w 11199600"/>
              <a:gd name="connsiteY196" fmla="*/ 2716862 h 4999652"/>
              <a:gd name="connsiteX197" fmla="*/ 0 w 11199600"/>
              <a:gd name="connsiteY197" fmla="*/ 2716861 h 4999652"/>
              <a:gd name="connsiteX198" fmla="*/ 0 w 11199600"/>
              <a:gd name="connsiteY198" fmla="*/ 2701942 h 4999652"/>
              <a:gd name="connsiteX199" fmla="*/ 0 w 11199600"/>
              <a:gd name="connsiteY199" fmla="*/ 2602152 h 4999652"/>
              <a:gd name="connsiteX200" fmla="*/ 0 w 11199600"/>
              <a:gd name="connsiteY200" fmla="*/ 2512832 h 4999652"/>
              <a:gd name="connsiteX201" fmla="*/ 0 w 11199600"/>
              <a:gd name="connsiteY201" fmla="*/ 2510062 h 4999652"/>
              <a:gd name="connsiteX202" fmla="*/ 0 w 11199600"/>
              <a:gd name="connsiteY202" fmla="*/ 2472043 h 4999652"/>
              <a:gd name="connsiteX203" fmla="*/ 0 w 11199600"/>
              <a:gd name="connsiteY203" fmla="*/ 2472042 h 4999652"/>
              <a:gd name="connsiteX204" fmla="*/ 0 w 11199600"/>
              <a:gd name="connsiteY204" fmla="*/ 2467708 h 4999652"/>
              <a:gd name="connsiteX205" fmla="*/ 0 w 11199600"/>
              <a:gd name="connsiteY205" fmla="*/ 2467707 h 4999652"/>
              <a:gd name="connsiteX206" fmla="*/ 0 w 11199600"/>
              <a:gd name="connsiteY206" fmla="*/ 2449933 h 4999652"/>
              <a:gd name="connsiteX207" fmla="*/ 0 w 11199600"/>
              <a:gd name="connsiteY207" fmla="*/ 2427702 h 4999652"/>
              <a:gd name="connsiteX208" fmla="*/ 0 w 11199600"/>
              <a:gd name="connsiteY208" fmla="*/ 2299920 h 4999652"/>
              <a:gd name="connsiteX209" fmla="*/ 0 w 11199600"/>
              <a:gd name="connsiteY209" fmla="*/ 2235822 h 4999652"/>
              <a:gd name="connsiteX210" fmla="*/ 0 w 11199600"/>
              <a:gd name="connsiteY210" fmla="*/ 2197803 h 4999652"/>
              <a:gd name="connsiteX211" fmla="*/ 0 w 11199600"/>
              <a:gd name="connsiteY211" fmla="*/ 2197802 h 4999652"/>
              <a:gd name="connsiteX212" fmla="*/ 0 w 11199600"/>
              <a:gd name="connsiteY212" fmla="*/ 2180556 h 4999652"/>
              <a:gd name="connsiteX213" fmla="*/ 0 w 11199600"/>
              <a:gd name="connsiteY213" fmla="*/ 2180555 h 4999652"/>
              <a:gd name="connsiteX214" fmla="*/ 0 w 11199600"/>
              <a:gd name="connsiteY214" fmla="*/ 2175692 h 4999652"/>
              <a:gd name="connsiteX215" fmla="*/ 0 w 11199600"/>
              <a:gd name="connsiteY215" fmla="*/ 2088721 h 4999652"/>
              <a:gd name="connsiteX216" fmla="*/ 0 w 11199600"/>
              <a:gd name="connsiteY216" fmla="*/ 2070687 h 4999652"/>
              <a:gd name="connsiteX217" fmla="*/ 0 w 11199600"/>
              <a:gd name="connsiteY217" fmla="*/ 2025680 h 4999652"/>
              <a:gd name="connsiteX218" fmla="*/ 0 w 11199600"/>
              <a:gd name="connsiteY218" fmla="*/ 1906316 h 4999652"/>
              <a:gd name="connsiteX219" fmla="*/ 0 w 11199600"/>
              <a:gd name="connsiteY219" fmla="*/ 1906315 h 4999652"/>
              <a:gd name="connsiteX220" fmla="*/ 0 w 11199600"/>
              <a:gd name="connsiteY220" fmla="*/ 1866658 h 4999652"/>
              <a:gd name="connsiteX221" fmla="*/ 0 w 11199600"/>
              <a:gd name="connsiteY221" fmla="*/ 1866657 h 4999652"/>
              <a:gd name="connsiteX222" fmla="*/ 0 w 11199600"/>
              <a:gd name="connsiteY222" fmla="*/ 1821533 h 4999652"/>
              <a:gd name="connsiteX223" fmla="*/ 0 w 11199600"/>
              <a:gd name="connsiteY223" fmla="*/ 1814481 h 4999652"/>
              <a:gd name="connsiteX224" fmla="*/ 0 w 11199600"/>
              <a:gd name="connsiteY224" fmla="*/ 1796447 h 4999652"/>
              <a:gd name="connsiteX225" fmla="*/ 0 w 11199600"/>
              <a:gd name="connsiteY225" fmla="*/ 1702609 h 4999652"/>
              <a:gd name="connsiteX226" fmla="*/ 0 w 11199600"/>
              <a:gd name="connsiteY226" fmla="*/ 1592418 h 4999652"/>
              <a:gd name="connsiteX227" fmla="*/ 0 w 11199600"/>
              <a:gd name="connsiteY227" fmla="*/ 1592417 h 4999652"/>
              <a:gd name="connsiteX228" fmla="*/ 0 w 11199600"/>
              <a:gd name="connsiteY228" fmla="*/ 1551628 h 4999652"/>
              <a:gd name="connsiteX229" fmla="*/ 0 w 11199600"/>
              <a:gd name="connsiteY229" fmla="*/ 1547293 h 4999652"/>
              <a:gd name="connsiteX230" fmla="*/ 0 w 11199600"/>
              <a:gd name="connsiteY230" fmla="*/ 1529519 h 4999652"/>
              <a:gd name="connsiteX231" fmla="*/ 0 w 11199600"/>
              <a:gd name="connsiteY231" fmla="*/ 1529518 h 4999652"/>
              <a:gd name="connsiteX232" fmla="*/ 0 w 11199600"/>
              <a:gd name="connsiteY232" fmla="*/ 1428369 h 4999652"/>
              <a:gd name="connsiteX233" fmla="*/ 0 w 11199600"/>
              <a:gd name="connsiteY233" fmla="*/ 1290764 h 4999652"/>
              <a:gd name="connsiteX234" fmla="*/ 0 w 11199600"/>
              <a:gd name="connsiteY234" fmla="*/ 1277388 h 4999652"/>
              <a:gd name="connsiteX235" fmla="*/ 0 w 11199600"/>
              <a:gd name="connsiteY235" fmla="*/ 1260141 h 4999652"/>
              <a:gd name="connsiteX236" fmla="*/ 0 w 11199600"/>
              <a:gd name="connsiteY236" fmla="*/ 1255278 h 4999652"/>
              <a:gd name="connsiteX237" fmla="*/ 0 w 11199600"/>
              <a:gd name="connsiteY237" fmla="*/ 1255277 h 4999652"/>
              <a:gd name="connsiteX238" fmla="*/ 0 w 11199600"/>
              <a:gd name="connsiteY238" fmla="*/ 1208224 h 4999652"/>
              <a:gd name="connsiteX239" fmla="*/ 0 w 11199600"/>
              <a:gd name="connsiteY239" fmla="*/ 1168307 h 4999652"/>
              <a:gd name="connsiteX240" fmla="*/ 0 w 11199600"/>
              <a:gd name="connsiteY240" fmla="*/ 1016524 h 4999652"/>
              <a:gd name="connsiteX241" fmla="*/ 0 w 11199600"/>
              <a:gd name="connsiteY241" fmla="*/ 894067 h 4999652"/>
              <a:gd name="connsiteX242" fmla="*/ 0 w 11199600"/>
              <a:gd name="connsiteY242" fmla="*/ 782195 h 4999652"/>
              <a:gd name="connsiteX243" fmla="*/ 0 w 11199600"/>
              <a:gd name="connsiteY243" fmla="*/ 507955 h 4999652"/>
              <a:gd name="connsiteX244" fmla="*/ 0 w 11199600"/>
              <a:gd name="connsiteY244" fmla="*/ 370350 h 4999652"/>
              <a:gd name="connsiteX245" fmla="*/ 0 w 11199600"/>
              <a:gd name="connsiteY245" fmla="*/ 96110 h 4999652"/>
              <a:gd name="connsiteX246" fmla="*/ 95997 w 11199600"/>
              <a:gd name="connsiteY246" fmla="*/ 0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</a:cxnLst>
            <a:rect l="l" t="t" r="r" b="b"/>
            <a:pathLst>
              <a:path w="11199600" h="4999652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08224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8"/>
                </a:ln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lnTo>
                  <a:pt x="11199600" y="1337290"/>
                </a:lnTo>
                <a:lnTo>
                  <a:pt x="11199600" y="1349128"/>
                </a:lnTo>
                <a:lnTo>
                  <a:pt x="11199600" y="1362376"/>
                </a:lnTo>
                <a:lnTo>
                  <a:pt x="11199600" y="1377295"/>
                </a:ln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6"/>
                </a:ln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6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07195"/>
                </a:lnTo>
                <a:lnTo>
                  <a:pt x="11199600" y="1611530"/>
                </a:lnTo>
                <a:lnTo>
                  <a:pt x="11199600" y="1651535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7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6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881436"/>
                </a:lnTo>
                <a:lnTo>
                  <a:pt x="11199600" y="1898682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0"/>
                </a:lnTo>
                <a:lnTo>
                  <a:pt x="11199600" y="2008551"/>
                </a:lnTo>
                <a:lnTo>
                  <a:pt x="11199600" y="2053557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172922"/>
                </a:lnTo>
                <a:lnTo>
                  <a:pt x="11199600" y="2212580"/>
                </a:lnTo>
                <a:lnTo>
                  <a:pt x="11199600" y="2239653"/>
                </a:lnTo>
                <a:lnTo>
                  <a:pt x="11199600" y="2257704"/>
                </a:lnTo>
                <a:lnTo>
                  <a:pt x="11199600" y="2257705"/>
                </a:lnTo>
                <a:lnTo>
                  <a:pt x="11199600" y="2282790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6821"/>
                </a:lnTo>
                <a:lnTo>
                  <a:pt x="11199600" y="2489591"/>
                </a:lnTo>
                <a:lnTo>
                  <a:pt x="11199600" y="2527609"/>
                </a:lnTo>
                <a:lnTo>
                  <a:pt x="11199600" y="2527610"/>
                </a:lnTo>
                <a:lnTo>
                  <a:pt x="11199600" y="2531944"/>
                </a:lnTo>
                <a:lnTo>
                  <a:pt x="11199600" y="2531945"/>
                </a:lnTo>
                <a:lnTo>
                  <a:pt x="11199600" y="2549720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790282"/>
                </a:lnTo>
                <a:lnTo>
                  <a:pt x="11199600" y="2801850"/>
                </a:lnTo>
                <a:lnTo>
                  <a:pt x="11199600" y="2819096"/>
                </a:lnTo>
                <a:lnTo>
                  <a:pt x="11199600" y="2823960"/>
                </a:lnTo>
                <a:lnTo>
                  <a:pt x="11199600" y="2910931"/>
                </a:lnTo>
                <a:lnTo>
                  <a:pt x="11199600" y="3093336"/>
                </a:lnTo>
                <a:lnTo>
                  <a:pt x="11199600" y="3132994"/>
                </a:lnTo>
                <a:lnTo>
                  <a:pt x="11199600" y="3185171"/>
                </a:lnTo>
                <a:lnTo>
                  <a:pt x="11199600" y="3297044"/>
                </a:lnTo>
                <a:lnTo>
                  <a:pt x="11199600" y="3407235"/>
                </a:lnTo>
                <a:lnTo>
                  <a:pt x="11199600" y="3470134"/>
                </a:lnTo>
                <a:lnTo>
                  <a:pt x="11199600" y="3571284"/>
                </a:lnTo>
                <a:lnTo>
                  <a:pt x="11199600" y="3708888"/>
                </a:lnTo>
                <a:lnTo>
                  <a:pt x="11199600" y="3744374"/>
                </a:lnTo>
                <a:lnTo>
                  <a:pt x="11199600" y="3831345"/>
                </a:lnTo>
                <a:lnTo>
                  <a:pt x="11199600" y="3983128"/>
                </a:lnTo>
                <a:lnTo>
                  <a:pt x="11199600" y="4105585"/>
                </a:lnTo>
                <a:lnTo>
                  <a:pt x="11199600" y="4217458"/>
                </a:lnTo>
                <a:lnTo>
                  <a:pt x="11199600" y="4491698"/>
                </a:lnTo>
                <a:lnTo>
                  <a:pt x="11199600" y="4629302"/>
                </a:lnTo>
                <a:lnTo>
                  <a:pt x="11199600" y="4903542"/>
                </a:lnTo>
                <a:cubicBezTo>
                  <a:pt x="11199600" y="4999652"/>
                  <a:pt x="11103603" y="4999652"/>
                  <a:pt x="11103603" y="4999652"/>
                </a:cubicBezTo>
                <a:cubicBezTo>
                  <a:pt x="11103603" y="4999652"/>
                  <a:pt x="11103603" y="4999652"/>
                  <a:pt x="95997" y="4999652"/>
                </a:cubicBezTo>
                <a:cubicBezTo>
                  <a:pt x="0" y="4999652"/>
                  <a:pt x="0" y="4903542"/>
                  <a:pt x="0" y="4903542"/>
                </a:cubicBezTo>
                <a:lnTo>
                  <a:pt x="0" y="4899807"/>
                </a:lnTo>
                <a:lnTo>
                  <a:pt x="0" y="4890936"/>
                </a:lnTo>
                <a:lnTo>
                  <a:pt x="0" y="4873660"/>
                </a:lnTo>
                <a:lnTo>
                  <a:pt x="0" y="4845179"/>
                </a:lnTo>
                <a:lnTo>
                  <a:pt x="0" y="4802691"/>
                </a:lnTo>
                <a:lnTo>
                  <a:pt x="0" y="4743394"/>
                </a:lnTo>
                <a:lnTo>
                  <a:pt x="0" y="4664487"/>
                </a:lnTo>
                <a:lnTo>
                  <a:pt x="0" y="4629302"/>
                </a:lnTo>
                <a:lnTo>
                  <a:pt x="0" y="4628196"/>
                </a:lnTo>
                <a:lnTo>
                  <a:pt x="0" y="4620448"/>
                </a:lnTo>
                <a:lnTo>
                  <a:pt x="0" y="4599605"/>
                </a:lnTo>
                <a:lnTo>
                  <a:pt x="0" y="4599420"/>
                </a:lnTo>
                <a:lnTo>
                  <a:pt x="0" y="4558471"/>
                </a:lnTo>
                <a:lnTo>
                  <a:pt x="0" y="4528451"/>
                </a:lnTo>
                <a:lnTo>
                  <a:pt x="0" y="4523932"/>
                </a:lnTo>
                <a:lnTo>
                  <a:pt x="0" y="4490960"/>
                </a:lnTo>
                <a:lnTo>
                  <a:pt x="0" y="4445169"/>
                </a:lnTo>
                <a:lnTo>
                  <a:pt x="0" y="4436638"/>
                </a:lnTo>
                <a:lnTo>
                  <a:pt x="0" y="4390247"/>
                </a:lnTo>
                <a:lnTo>
                  <a:pt x="0" y="4336893"/>
                </a:lnTo>
                <a:lnTo>
                  <a:pt x="0" y="4325365"/>
                </a:lnTo>
                <a:lnTo>
                  <a:pt x="0" y="4249692"/>
                </a:lnTo>
                <a:lnTo>
                  <a:pt x="0" y="4223868"/>
                </a:lnTo>
                <a:lnTo>
                  <a:pt x="0" y="4162398"/>
                </a:lnTo>
                <a:lnTo>
                  <a:pt x="0" y="4096731"/>
                </a:lnTo>
                <a:lnTo>
                  <a:pt x="0" y="4062653"/>
                </a:lnTo>
                <a:lnTo>
                  <a:pt x="0" y="3983128"/>
                </a:lnTo>
                <a:lnTo>
                  <a:pt x="0" y="3979393"/>
                </a:lnTo>
                <a:lnTo>
                  <a:pt x="0" y="3970522"/>
                </a:lnTo>
                <a:lnTo>
                  <a:pt x="0" y="3954654"/>
                </a:lnTo>
                <a:lnTo>
                  <a:pt x="0" y="3953246"/>
                </a:lnTo>
                <a:lnTo>
                  <a:pt x="0" y="3949628"/>
                </a:lnTo>
                <a:lnTo>
                  <a:pt x="0" y="3924765"/>
                </a:lnTo>
                <a:lnTo>
                  <a:pt x="0" y="3882277"/>
                </a:lnTo>
                <a:lnTo>
                  <a:pt x="0" y="3822980"/>
                </a:lnTo>
                <a:lnTo>
                  <a:pt x="0" y="3822491"/>
                </a:lnTo>
                <a:lnTo>
                  <a:pt x="0" y="3796806"/>
                </a:lnTo>
                <a:lnTo>
                  <a:pt x="0" y="3744073"/>
                </a:lnTo>
                <a:lnTo>
                  <a:pt x="0" y="3708888"/>
                </a:lnTo>
                <a:lnTo>
                  <a:pt x="0" y="3707782"/>
                </a:lnTo>
                <a:lnTo>
                  <a:pt x="0" y="3700034"/>
                </a:lnTo>
                <a:lnTo>
                  <a:pt x="0" y="3680414"/>
                </a:lnTo>
                <a:lnTo>
                  <a:pt x="0" y="3679191"/>
                </a:lnTo>
                <a:lnTo>
                  <a:pt x="0" y="3679006"/>
                </a:lnTo>
                <a:lnTo>
                  <a:pt x="0" y="3638057"/>
                </a:lnTo>
                <a:lnTo>
                  <a:pt x="0" y="3622356"/>
                </a:lnTo>
                <a:lnTo>
                  <a:pt x="0" y="3608037"/>
                </a:lnTo>
                <a:lnTo>
                  <a:pt x="0" y="3603518"/>
                </a:lnTo>
                <a:lnTo>
                  <a:pt x="0" y="3570546"/>
                </a:lnTo>
                <a:lnTo>
                  <a:pt x="0" y="3524755"/>
                </a:lnTo>
                <a:lnTo>
                  <a:pt x="0" y="3522566"/>
                </a:lnTo>
                <a:lnTo>
                  <a:pt x="0" y="3516224"/>
                </a:lnTo>
                <a:lnTo>
                  <a:pt x="0" y="3469833"/>
                </a:lnTo>
                <a:lnTo>
                  <a:pt x="0" y="3430476"/>
                </a:lnTo>
                <a:lnTo>
                  <a:pt x="0" y="3416479"/>
                </a:lnTo>
                <a:lnTo>
                  <a:pt x="0" y="3404951"/>
                </a:lnTo>
                <a:lnTo>
                  <a:pt x="0" y="3348116"/>
                </a:lnTo>
                <a:lnTo>
                  <a:pt x="0" y="3329278"/>
                </a:lnTo>
                <a:lnTo>
                  <a:pt x="0" y="3303454"/>
                </a:lnTo>
                <a:lnTo>
                  <a:pt x="0" y="3241984"/>
                </a:lnTo>
                <a:lnTo>
                  <a:pt x="0" y="3220334"/>
                </a:lnTo>
                <a:lnTo>
                  <a:pt x="0" y="3176317"/>
                </a:lnTo>
                <a:lnTo>
                  <a:pt x="0" y="3156236"/>
                </a:lnTo>
                <a:lnTo>
                  <a:pt x="0" y="3142239"/>
                </a:lnTo>
                <a:lnTo>
                  <a:pt x="0" y="3034240"/>
                </a:lnTo>
                <a:lnTo>
                  <a:pt x="0" y="3029214"/>
                </a:lnTo>
                <a:lnTo>
                  <a:pt x="0" y="2991101"/>
                </a:lnTo>
                <a:lnTo>
                  <a:pt x="0" y="2946094"/>
                </a:lnTo>
                <a:lnTo>
                  <a:pt x="0" y="2902077"/>
                </a:lnTo>
                <a:lnTo>
                  <a:pt x="0" y="2876392"/>
                </a:lnTo>
                <a:lnTo>
                  <a:pt x="0" y="2790282"/>
                </a:lnTo>
                <a:lnTo>
                  <a:pt x="0" y="2787072"/>
                </a:lnTo>
                <a:lnTo>
                  <a:pt x="0" y="2760000"/>
                </a:lnTo>
                <a:lnTo>
                  <a:pt x="0" y="2741948"/>
                </a:lnTo>
                <a:lnTo>
                  <a:pt x="0" y="2741947"/>
                </a:lnTo>
                <a:lnTo>
                  <a:pt x="0" y="2716862"/>
                </a:lnTo>
                <a:lnTo>
                  <a:pt x="0" y="2716861"/>
                </a:lnTo>
                <a:lnTo>
                  <a:pt x="0" y="2701942"/>
                </a:lnTo>
                <a:lnTo>
                  <a:pt x="0" y="2602152"/>
                </a:lnTo>
                <a:lnTo>
                  <a:pt x="0" y="2512832"/>
                </a:lnTo>
                <a:lnTo>
                  <a:pt x="0" y="2510062"/>
                </a:lnTo>
                <a:lnTo>
                  <a:pt x="0" y="2472043"/>
                </a:lnTo>
                <a:lnTo>
                  <a:pt x="0" y="2472042"/>
                </a:lnTo>
                <a:lnTo>
                  <a:pt x="0" y="2467708"/>
                </a:lnTo>
                <a:lnTo>
                  <a:pt x="0" y="2467707"/>
                </a:lnTo>
                <a:lnTo>
                  <a:pt x="0" y="2449933"/>
                </a:lnTo>
                <a:lnTo>
                  <a:pt x="0" y="2427702"/>
                </a:lnTo>
                <a:lnTo>
                  <a:pt x="0" y="2299920"/>
                </a:lnTo>
                <a:lnTo>
                  <a:pt x="0" y="2235822"/>
                </a:lnTo>
                <a:lnTo>
                  <a:pt x="0" y="2197803"/>
                </a:lnTo>
                <a:lnTo>
                  <a:pt x="0" y="2197802"/>
                </a:lnTo>
                <a:lnTo>
                  <a:pt x="0" y="2180556"/>
                </a:lnTo>
                <a:lnTo>
                  <a:pt x="0" y="2180555"/>
                </a:lnTo>
                <a:lnTo>
                  <a:pt x="0" y="2175692"/>
                </a:lnTo>
                <a:lnTo>
                  <a:pt x="0" y="2088721"/>
                </a:lnTo>
                <a:lnTo>
                  <a:pt x="0" y="2070687"/>
                </a:lnTo>
                <a:lnTo>
                  <a:pt x="0" y="2025680"/>
                </a:lnTo>
                <a:lnTo>
                  <a:pt x="0" y="1906316"/>
                </a:lnTo>
                <a:lnTo>
                  <a:pt x="0" y="1906315"/>
                </a:lnTo>
                <a:lnTo>
                  <a:pt x="0" y="1866658"/>
                </a:lnTo>
                <a:lnTo>
                  <a:pt x="0" y="1866657"/>
                </a:lnTo>
                <a:lnTo>
                  <a:pt x="0" y="1821533"/>
                </a:lnTo>
                <a:lnTo>
                  <a:pt x="0" y="1814481"/>
                </a:lnTo>
                <a:lnTo>
                  <a:pt x="0" y="1796447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92417"/>
                </a:lnTo>
                <a:lnTo>
                  <a:pt x="0" y="1551628"/>
                </a:lnTo>
                <a:lnTo>
                  <a:pt x="0" y="1547293"/>
                </a:lnTo>
                <a:lnTo>
                  <a:pt x="0" y="1529519"/>
                </a:lnTo>
                <a:lnTo>
                  <a:pt x="0" y="1529518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77388"/>
                </a:lnTo>
                <a:lnTo>
                  <a:pt x="0" y="1260141"/>
                </a:lnTo>
                <a:lnTo>
                  <a:pt x="0" y="1255278"/>
                </a:lnTo>
                <a:lnTo>
                  <a:pt x="0" y="1255277"/>
                </a:lnTo>
                <a:lnTo>
                  <a:pt x="0" y="1208224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39676" tIns="35996" rIns="35996" bIns="35996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93480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2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696912" y="280733"/>
            <a:ext cx="11199600" cy="5920067"/>
          </a:xfrm>
          <a:custGeom>
            <a:avLst/>
            <a:gdLst>
              <a:gd name="connsiteX0" fmla="*/ 95997 w 11199600"/>
              <a:gd name="connsiteY0" fmla="*/ 0 h 5920067"/>
              <a:gd name="connsiteX1" fmla="*/ 11103603 w 11199600"/>
              <a:gd name="connsiteY1" fmla="*/ 0 h 5920067"/>
              <a:gd name="connsiteX2" fmla="*/ 11199600 w 11199600"/>
              <a:gd name="connsiteY2" fmla="*/ 96110 h 5920067"/>
              <a:gd name="connsiteX3" fmla="*/ 11199600 w 11199600"/>
              <a:gd name="connsiteY3" fmla="*/ 335165 h 5920067"/>
              <a:gd name="connsiteX4" fmla="*/ 11199600 w 11199600"/>
              <a:gd name="connsiteY4" fmla="*/ 370350 h 5920067"/>
              <a:gd name="connsiteX5" fmla="*/ 11199600 w 11199600"/>
              <a:gd name="connsiteY5" fmla="*/ 379204 h 5920067"/>
              <a:gd name="connsiteX6" fmla="*/ 11199600 w 11199600"/>
              <a:gd name="connsiteY6" fmla="*/ 400048 h 5920067"/>
              <a:gd name="connsiteX7" fmla="*/ 11199600 w 11199600"/>
              <a:gd name="connsiteY7" fmla="*/ 400232 h 5920067"/>
              <a:gd name="connsiteX8" fmla="*/ 11199600 w 11199600"/>
              <a:gd name="connsiteY8" fmla="*/ 471202 h 5920067"/>
              <a:gd name="connsiteX9" fmla="*/ 11199600 w 11199600"/>
              <a:gd name="connsiteY9" fmla="*/ 475721 h 5920067"/>
              <a:gd name="connsiteX10" fmla="*/ 11199600 w 11199600"/>
              <a:gd name="connsiteY10" fmla="*/ 508692 h 5920067"/>
              <a:gd name="connsiteX11" fmla="*/ 11199600 w 11199600"/>
              <a:gd name="connsiteY11" fmla="*/ 554484 h 5920067"/>
              <a:gd name="connsiteX12" fmla="*/ 11199600 w 11199600"/>
              <a:gd name="connsiteY12" fmla="*/ 563015 h 5920067"/>
              <a:gd name="connsiteX13" fmla="*/ 11199600 w 11199600"/>
              <a:gd name="connsiteY13" fmla="*/ 609405 h 5920067"/>
              <a:gd name="connsiteX14" fmla="*/ 11199600 w 11199600"/>
              <a:gd name="connsiteY14" fmla="*/ 662759 h 5920067"/>
              <a:gd name="connsiteX15" fmla="*/ 11199600 w 11199600"/>
              <a:gd name="connsiteY15" fmla="*/ 674288 h 5920067"/>
              <a:gd name="connsiteX16" fmla="*/ 11199600 w 11199600"/>
              <a:gd name="connsiteY16" fmla="*/ 749961 h 5920067"/>
              <a:gd name="connsiteX17" fmla="*/ 11199600 w 11199600"/>
              <a:gd name="connsiteY17" fmla="*/ 775785 h 5920067"/>
              <a:gd name="connsiteX18" fmla="*/ 11199600 w 11199600"/>
              <a:gd name="connsiteY18" fmla="*/ 837255 h 5920067"/>
              <a:gd name="connsiteX19" fmla="*/ 11199600 w 11199600"/>
              <a:gd name="connsiteY19" fmla="*/ 902921 h 5920067"/>
              <a:gd name="connsiteX20" fmla="*/ 11199600 w 11199600"/>
              <a:gd name="connsiteY20" fmla="*/ 936999 h 5920067"/>
              <a:gd name="connsiteX21" fmla="*/ 11199600 w 11199600"/>
              <a:gd name="connsiteY21" fmla="*/ 1016524 h 5920067"/>
              <a:gd name="connsiteX22" fmla="*/ 11199600 w 11199600"/>
              <a:gd name="connsiteY22" fmla="*/ 1029131 h 5920067"/>
              <a:gd name="connsiteX23" fmla="*/ 11199600 w 11199600"/>
              <a:gd name="connsiteY23" fmla="*/ 1044999 h 5920067"/>
              <a:gd name="connsiteX24" fmla="*/ 11199600 w 11199600"/>
              <a:gd name="connsiteY24" fmla="*/ 1046406 h 5920067"/>
              <a:gd name="connsiteX25" fmla="*/ 11199600 w 11199600"/>
              <a:gd name="connsiteY25" fmla="*/ 1050025 h 5920067"/>
              <a:gd name="connsiteX26" fmla="*/ 11199600 w 11199600"/>
              <a:gd name="connsiteY26" fmla="*/ 1074887 h 5920067"/>
              <a:gd name="connsiteX27" fmla="*/ 11199600 w 11199600"/>
              <a:gd name="connsiteY27" fmla="*/ 1176672 h 5920067"/>
              <a:gd name="connsiteX28" fmla="*/ 11199600 w 11199600"/>
              <a:gd name="connsiteY28" fmla="*/ 1177161 h 5920067"/>
              <a:gd name="connsiteX29" fmla="*/ 11199600 w 11199600"/>
              <a:gd name="connsiteY29" fmla="*/ 1202847 h 5920067"/>
              <a:gd name="connsiteX30" fmla="*/ 11199600 w 11199600"/>
              <a:gd name="connsiteY30" fmla="*/ 1255579 h 5920067"/>
              <a:gd name="connsiteX31" fmla="*/ 11199600 w 11199600"/>
              <a:gd name="connsiteY31" fmla="*/ 1290764 h 5920067"/>
              <a:gd name="connsiteX32" fmla="*/ 11199600 w 11199600"/>
              <a:gd name="connsiteY32" fmla="*/ 1299618 h 5920067"/>
              <a:gd name="connsiteX33" fmla="*/ 11199600 w 11199600"/>
              <a:gd name="connsiteY33" fmla="*/ 1319239 h 5920067"/>
              <a:gd name="connsiteX34" fmla="*/ 11199600 w 11199600"/>
              <a:gd name="connsiteY34" fmla="*/ 1320462 h 5920067"/>
              <a:gd name="connsiteX35" fmla="*/ 11199600 w 11199600"/>
              <a:gd name="connsiteY35" fmla="*/ 1320646 h 5920067"/>
              <a:gd name="connsiteX36" fmla="*/ 11199600 w 11199600"/>
              <a:gd name="connsiteY36" fmla="*/ 1349128 h 5920067"/>
              <a:gd name="connsiteX37" fmla="*/ 11199600 w 11199600"/>
              <a:gd name="connsiteY37" fmla="*/ 1377296 h 5920067"/>
              <a:gd name="connsiteX38" fmla="*/ 11199600 w 11199600"/>
              <a:gd name="connsiteY38" fmla="*/ 1391616 h 5920067"/>
              <a:gd name="connsiteX39" fmla="*/ 11199600 w 11199600"/>
              <a:gd name="connsiteY39" fmla="*/ 1396135 h 5920067"/>
              <a:gd name="connsiteX40" fmla="*/ 11199600 w 11199600"/>
              <a:gd name="connsiteY40" fmla="*/ 1429106 h 5920067"/>
              <a:gd name="connsiteX41" fmla="*/ 11199600 w 11199600"/>
              <a:gd name="connsiteY41" fmla="*/ 1474898 h 5920067"/>
              <a:gd name="connsiteX42" fmla="*/ 11199600 w 11199600"/>
              <a:gd name="connsiteY42" fmla="*/ 1477087 h 5920067"/>
              <a:gd name="connsiteX43" fmla="*/ 11199600 w 11199600"/>
              <a:gd name="connsiteY43" fmla="*/ 1483429 h 5920067"/>
              <a:gd name="connsiteX44" fmla="*/ 11199600 w 11199600"/>
              <a:gd name="connsiteY44" fmla="*/ 1529819 h 5920067"/>
              <a:gd name="connsiteX45" fmla="*/ 11199600 w 11199600"/>
              <a:gd name="connsiteY45" fmla="*/ 1569177 h 5920067"/>
              <a:gd name="connsiteX46" fmla="*/ 11199600 w 11199600"/>
              <a:gd name="connsiteY46" fmla="*/ 1583173 h 5920067"/>
              <a:gd name="connsiteX47" fmla="*/ 11199600 w 11199600"/>
              <a:gd name="connsiteY47" fmla="*/ 1594702 h 5920067"/>
              <a:gd name="connsiteX48" fmla="*/ 11199600 w 11199600"/>
              <a:gd name="connsiteY48" fmla="*/ 1651536 h 5920067"/>
              <a:gd name="connsiteX49" fmla="*/ 11199600 w 11199600"/>
              <a:gd name="connsiteY49" fmla="*/ 1670375 h 5920067"/>
              <a:gd name="connsiteX50" fmla="*/ 11199600 w 11199600"/>
              <a:gd name="connsiteY50" fmla="*/ 1696199 h 5920067"/>
              <a:gd name="connsiteX51" fmla="*/ 11199600 w 11199600"/>
              <a:gd name="connsiteY51" fmla="*/ 1757669 h 5920067"/>
              <a:gd name="connsiteX52" fmla="*/ 11199600 w 11199600"/>
              <a:gd name="connsiteY52" fmla="*/ 1779318 h 5920067"/>
              <a:gd name="connsiteX53" fmla="*/ 11199600 w 11199600"/>
              <a:gd name="connsiteY53" fmla="*/ 1823335 h 5920067"/>
              <a:gd name="connsiteX54" fmla="*/ 11199600 w 11199600"/>
              <a:gd name="connsiteY54" fmla="*/ 1843417 h 5920067"/>
              <a:gd name="connsiteX55" fmla="*/ 11199600 w 11199600"/>
              <a:gd name="connsiteY55" fmla="*/ 1857413 h 5920067"/>
              <a:gd name="connsiteX56" fmla="*/ 11199600 w 11199600"/>
              <a:gd name="connsiteY56" fmla="*/ 1965413 h 5920067"/>
              <a:gd name="connsiteX57" fmla="*/ 11199600 w 11199600"/>
              <a:gd name="connsiteY57" fmla="*/ 1970439 h 5920067"/>
              <a:gd name="connsiteX58" fmla="*/ 11199600 w 11199600"/>
              <a:gd name="connsiteY58" fmla="*/ 2008551 h 5920067"/>
              <a:gd name="connsiteX59" fmla="*/ 11199600 w 11199600"/>
              <a:gd name="connsiteY59" fmla="*/ 2053558 h 5920067"/>
              <a:gd name="connsiteX60" fmla="*/ 11199600 w 11199600"/>
              <a:gd name="connsiteY60" fmla="*/ 2097575 h 5920067"/>
              <a:gd name="connsiteX61" fmla="*/ 11199600 w 11199600"/>
              <a:gd name="connsiteY61" fmla="*/ 2123261 h 5920067"/>
              <a:gd name="connsiteX62" fmla="*/ 11199600 w 11199600"/>
              <a:gd name="connsiteY62" fmla="*/ 2239653 h 5920067"/>
              <a:gd name="connsiteX63" fmla="*/ 11199600 w 11199600"/>
              <a:gd name="connsiteY63" fmla="*/ 2257705 h 5920067"/>
              <a:gd name="connsiteX64" fmla="*/ 11199600 w 11199600"/>
              <a:gd name="connsiteY64" fmla="*/ 2282791 h 5920067"/>
              <a:gd name="connsiteX65" fmla="*/ 11199600 w 11199600"/>
              <a:gd name="connsiteY65" fmla="*/ 2297710 h 5920067"/>
              <a:gd name="connsiteX66" fmla="*/ 11199600 w 11199600"/>
              <a:gd name="connsiteY66" fmla="*/ 2397501 h 5920067"/>
              <a:gd name="connsiteX67" fmla="*/ 11199600 w 11199600"/>
              <a:gd name="connsiteY67" fmla="*/ 2489591 h 5920067"/>
              <a:gd name="connsiteX68" fmla="*/ 11199600 w 11199600"/>
              <a:gd name="connsiteY68" fmla="*/ 2527610 h 5920067"/>
              <a:gd name="connsiteX69" fmla="*/ 11199600 w 11199600"/>
              <a:gd name="connsiteY69" fmla="*/ 2531945 h 5920067"/>
              <a:gd name="connsiteX70" fmla="*/ 11199600 w 11199600"/>
              <a:gd name="connsiteY70" fmla="*/ 2571950 h 5920067"/>
              <a:gd name="connsiteX71" fmla="*/ 11199600 w 11199600"/>
              <a:gd name="connsiteY71" fmla="*/ 2699732 h 5920067"/>
              <a:gd name="connsiteX72" fmla="*/ 11199600 w 11199600"/>
              <a:gd name="connsiteY72" fmla="*/ 2763831 h 5920067"/>
              <a:gd name="connsiteX73" fmla="*/ 11199600 w 11199600"/>
              <a:gd name="connsiteY73" fmla="*/ 2801851 h 5920067"/>
              <a:gd name="connsiteX74" fmla="*/ 11199600 w 11199600"/>
              <a:gd name="connsiteY74" fmla="*/ 2819097 h 5920067"/>
              <a:gd name="connsiteX75" fmla="*/ 11199600 w 11199600"/>
              <a:gd name="connsiteY75" fmla="*/ 2928965 h 5920067"/>
              <a:gd name="connsiteX76" fmla="*/ 11199600 w 11199600"/>
              <a:gd name="connsiteY76" fmla="*/ 2973972 h 5920067"/>
              <a:gd name="connsiteX77" fmla="*/ 11199600 w 11199600"/>
              <a:gd name="connsiteY77" fmla="*/ 3093337 h 5920067"/>
              <a:gd name="connsiteX78" fmla="*/ 11199600 w 11199600"/>
              <a:gd name="connsiteY78" fmla="*/ 3132995 h 5920067"/>
              <a:gd name="connsiteX79" fmla="*/ 11199600 w 11199600"/>
              <a:gd name="connsiteY79" fmla="*/ 3178119 h 5920067"/>
              <a:gd name="connsiteX80" fmla="*/ 11199600 w 11199600"/>
              <a:gd name="connsiteY80" fmla="*/ 3203205 h 5920067"/>
              <a:gd name="connsiteX81" fmla="*/ 11199600 w 11199600"/>
              <a:gd name="connsiteY81" fmla="*/ 3407236 h 5920067"/>
              <a:gd name="connsiteX82" fmla="*/ 11199600 w 11199600"/>
              <a:gd name="connsiteY82" fmla="*/ 3448024 h 5920067"/>
              <a:gd name="connsiteX83" fmla="*/ 11199600 w 11199600"/>
              <a:gd name="connsiteY83" fmla="*/ 3452359 h 5920067"/>
              <a:gd name="connsiteX84" fmla="*/ 11199600 w 11199600"/>
              <a:gd name="connsiteY84" fmla="*/ 3470135 h 5920067"/>
              <a:gd name="connsiteX85" fmla="*/ 11199600 w 11199600"/>
              <a:gd name="connsiteY85" fmla="*/ 3722265 h 5920067"/>
              <a:gd name="connsiteX86" fmla="*/ 11199600 w 11199600"/>
              <a:gd name="connsiteY86" fmla="*/ 3739511 h 5920067"/>
              <a:gd name="connsiteX87" fmla="*/ 11199600 w 11199600"/>
              <a:gd name="connsiteY87" fmla="*/ 3744375 h 5920067"/>
              <a:gd name="connsiteX88" fmla="*/ 11199600 w 11199600"/>
              <a:gd name="connsiteY88" fmla="*/ 3831346 h 5920067"/>
              <a:gd name="connsiteX89" fmla="*/ 11199600 w 11199600"/>
              <a:gd name="connsiteY89" fmla="*/ 4013751 h 5920067"/>
              <a:gd name="connsiteX90" fmla="*/ 11199600 w 11199600"/>
              <a:gd name="connsiteY90" fmla="*/ 4053409 h 5920067"/>
              <a:gd name="connsiteX91" fmla="*/ 11199600 w 11199600"/>
              <a:gd name="connsiteY91" fmla="*/ 4105586 h 5920067"/>
              <a:gd name="connsiteX92" fmla="*/ 11199600 w 11199600"/>
              <a:gd name="connsiteY92" fmla="*/ 4217459 h 5920067"/>
              <a:gd name="connsiteX93" fmla="*/ 11199600 w 11199600"/>
              <a:gd name="connsiteY93" fmla="*/ 4327650 h 5920067"/>
              <a:gd name="connsiteX94" fmla="*/ 11199600 w 11199600"/>
              <a:gd name="connsiteY94" fmla="*/ 4390549 h 5920067"/>
              <a:gd name="connsiteX95" fmla="*/ 11199600 w 11199600"/>
              <a:gd name="connsiteY95" fmla="*/ 4491699 h 5920067"/>
              <a:gd name="connsiteX96" fmla="*/ 11199600 w 11199600"/>
              <a:gd name="connsiteY96" fmla="*/ 4629303 h 5920067"/>
              <a:gd name="connsiteX97" fmla="*/ 11199600 w 11199600"/>
              <a:gd name="connsiteY97" fmla="*/ 4664789 h 5920067"/>
              <a:gd name="connsiteX98" fmla="*/ 11199600 w 11199600"/>
              <a:gd name="connsiteY98" fmla="*/ 4751760 h 5920067"/>
              <a:gd name="connsiteX99" fmla="*/ 11199600 w 11199600"/>
              <a:gd name="connsiteY99" fmla="*/ 4903543 h 5920067"/>
              <a:gd name="connsiteX100" fmla="*/ 11199600 w 11199600"/>
              <a:gd name="connsiteY100" fmla="*/ 5026000 h 5920067"/>
              <a:gd name="connsiteX101" fmla="*/ 11199600 w 11199600"/>
              <a:gd name="connsiteY101" fmla="*/ 5137873 h 5920067"/>
              <a:gd name="connsiteX102" fmla="*/ 11199600 w 11199600"/>
              <a:gd name="connsiteY102" fmla="*/ 5412113 h 5920067"/>
              <a:gd name="connsiteX103" fmla="*/ 11199600 w 11199600"/>
              <a:gd name="connsiteY103" fmla="*/ 5549717 h 5920067"/>
              <a:gd name="connsiteX104" fmla="*/ 11199600 w 11199600"/>
              <a:gd name="connsiteY104" fmla="*/ 5823957 h 5920067"/>
              <a:gd name="connsiteX105" fmla="*/ 11103603 w 11199600"/>
              <a:gd name="connsiteY105" fmla="*/ 5920067 h 5920067"/>
              <a:gd name="connsiteX106" fmla="*/ 95997 w 11199600"/>
              <a:gd name="connsiteY106" fmla="*/ 5920067 h 5920067"/>
              <a:gd name="connsiteX107" fmla="*/ 0 w 11199600"/>
              <a:gd name="connsiteY107" fmla="*/ 5823957 h 5920067"/>
              <a:gd name="connsiteX108" fmla="*/ 0 w 11199600"/>
              <a:gd name="connsiteY108" fmla="*/ 5820222 h 5920067"/>
              <a:gd name="connsiteX109" fmla="*/ 0 w 11199600"/>
              <a:gd name="connsiteY109" fmla="*/ 5811351 h 5920067"/>
              <a:gd name="connsiteX110" fmla="*/ 0 w 11199600"/>
              <a:gd name="connsiteY110" fmla="*/ 5794075 h 5920067"/>
              <a:gd name="connsiteX111" fmla="*/ 0 w 11199600"/>
              <a:gd name="connsiteY111" fmla="*/ 5765594 h 5920067"/>
              <a:gd name="connsiteX112" fmla="*/ 0 w 11199600"/>
              <a:gd name="connsiteY112" fmla="*/ 5723106 h 5920067"/>
              <a:gd name="connsiteX113" fmla="*/ 0 w 11199600"/>
              <a:gd name="connsiteY113" fmla="*/ 5663809 h 5920067"/>
              <a:gd name="connsiteX114" fmla="*/ 0 w 11199600"/>
              <a:gd name="connsiteY114" fmla="*/ 5584902 h 5920067"/>
              <a:gd name="connsiteX115" fmla="*/ 0 w 11199600"/>
              <a:gd name="connsiteY115" fmla="*/ 5549717 h 5920067"/>
              <a:gd name="connsiteX116" fmla="*/ 0 w 11199600"/>
              <a:gd name="connsiteY116" fmla="*/ 5548611 h 5920067"/>
              <a:gd name="connsiteX117" fmla="*/ 0 w 11199600"/>
              <a:gd name="connsiteY117" fmla="*/ 5540863 h 5920067"/>
              <a:gd name="connsiteX118" fmla="*/ 0 w 11199600"/>
              <a:gd name="connsiteY118" fmla="*/ 5520020 h 5920067"/>
              <a:gd name="connsiteX119" fmla="*/ 0 w 11199600"/>
              <a:gd name="connsiteY119" fmla="*/ 5519835 h 5920067"/>
              <a:gd name="connsiteX120" fmla="*/ 0 w 11199600"/>
              <a:gd name="connsiteY120" fmla="*/ 5478886 h 5920067"/>
              <a:gd name="connsiteX121" fmla="*/ 0 w 11199600"/>
              <a:gd name="connsiteY121" fmla="*/ 5448866 h 5920067"/>
              <a:gd name="connsiteX122" fmla="*/ 0 w 11199600"/>
              <a:gd name="connsiteY122" fmla="*/ 5444347 h 5920067"/>
              <a:gd name="connsiteX123" fmla="*/ 0 w 11199600"/>
              <a:gd name="connsiteY123" fmla="*/ 5411375 h 5920067"/>
              <a:gd name="connsiteX124" fmla="*/ 0 w 11199600"/>
              <a:gd name="connsiteY124" fmla="*/ 5365584 h 5920067"/>
              <a:gd name="connsiteX125" fmla="*/ 0 w 11199600"/>
              <a:gd name="connsiteY125" fmla="*/ 5357053 h 5920067"/>
              <a:gd name="connsiteX126" fmla="*/ 0 w 11199600"/>
              <a:gd name="connsiteY126" fmla="*/ 5310662 h 5920067"/>
              <a:gd name="connsiteX127" fmla="*/ 0 w 11199600"/>
              <a:gd name="connsiteY127" fmla="*/ 5257308 h 5920067"/>
              <a:gd name="connsiteX128" fmla="*/ 0 w 11199600"/>
              <a:gd name="connsiteY128" fmla="*/ 5245780 h 5920067"/>
              <a:gd name="connsiteX129" fmla="*/ 0 w 11199600"/>
              <a:gd name="connsiteY129" fmla="*/ 5170107 h 5920067"/>
              <a:gd name="connsiteX130" fmla="*/ 0 w 11199600"/>
              <a:gd name="connsiteY130" fmla="*/ 5144283 h 5920067"/>
              <a:gd name="connsiteX131" fmla="*/ 0 w 11199600"/>
              <a:gd name="connsiteY131" fmla="*/ 5082813 h 5920067"/>
              <a:gd name="connsiteX132" fmla="*/ 0 w 11199600"/>
              <a:gd name="connsiteY132" fmla="*/ 5017146 h 5920067"/>
              <a:gd name="connsiteX133" fmla="*/ 0 w 11199600"/>
              <a:gd name="connsiteY133" fmla="*/ 4983068 h 5920067"/>
              <a:gd name="connsiteX134" fmla="*/ 0 w 11199600"/>
              <a:gd name="connsiteY134" fmla="*/ 4903543 h 5920067"/>
              <a:gd name="connsiteX135" fmla="*/ 0 w 11199600"/>
              <a:gd name="connsiteY135" fmla="*/ 4899808 h 5920067"/>
              <a:gd name="connsiteX136" fmla="*/ 0 w 11199600"/>
              <a:gd name="connsiteY136" fmla="*/ 4890937 h 5920067"/>
              <a:gd name="connsiteX137" fmla="*/ 0 w 11199600"/>
              <a:gd name="connsiteY137" fmla="*/ 4875069 h 5920067"/>
              <a:gd name="connsiteX138" fmla="*/ 0 w 11199600"/>
              <a:gd name="connsiteY138" fmla="*/ 4873661 h 5920067"/>
              <a:gd name="connsiteX139" fmla="*/ 0 w 11199600"/>
              <a:gd name="connsiteY139" fmla="*/ 4870043 h 5920067"/>
              <a:gd name="connsiteX140" fmla="*/ 0 w 11199600"/>
              <a:gd name="connsiteY140" fmla="*/ 4845180 h 5920067"/>
              <a:gd name="connsiteX141" fmla="*/ 0 w 11199600"/>
              <a:gd name="connsiteY141" fmla="*/ 4802692 h 5920067"/>
              <a:gd name="connsiteX142" fmla="*/ 0 w 11199600"/>
              <a:gd name="connsiteY142" fmla="*/ 4743395 h 5920067"/>
              <a:gd name="connsiteX143" fmla="*/ 0 w 11199600"/>
              <a:gd name="connsiteY143" fmla="*/ 4742906 h 5920067"/>
              <a:gd name="connsiteX144" fmla="*/ 0 w 11199600"/>
              <a:gd name="connsiteY144" fmla="*/ 4717221 h 5920067"/>
              <a:gd name="connsiteX145" fmla="*/ 0 w 11199600"/>
              <a:gd name="connsiteY145" fmla="*/ 4664488 h 5920067"/>
              <a:gd name="connsiteX146" fmla="*/ 0 w 11199600"/>
              <a:gd name="connsiteY146" fmla="*/ 4629303 h 5920067"/>
              <a:gd name="connsiteX147" fmla="*/ 0 w 11199600"/>
              <a:gd name="connsiteY147" fmla="*/ 4628197 h 5920067"/>
              <a:gd name="connsiteX148" fmla="*/ 0 w 11199600"/>
              <a:gd name="connsiteY148" fmla="*/ 4620449 h 5920067"/>
              <a:gd name="connsiteX149" fmla="*/ 0 w 11199600"/>
              <a:gd name="connsiteY149" fmla="*/ 4600829 h 5920067"/>
              <a:gd name="connsiteX150" fmla="*/ 0 w 11199600"/>
              <a:gd name="connsiteY150" fmla="*/ 4599606 h 5920067"/>
              <a:gd name="connsiteX151" fmla="*/ 0 w 11199600"/>
              <a:gd name="connsiteY151" fmla="*/ 4599421 h 5920067"/>
              <a:gd name="connsiteX152" fmla="*/ 0 w 11199600"/>
              <a:gd name="connsiteY152" fmla="*/ 4558472 h 5920067"/>
              <a:gd name="connsiteX153" fmla="*/ 0 w 11199600"/>
              <a:gd name="connsiteY153" fmla="*/ 4542771 h 5920067"/>
              <a:gd name="connsiteX154" fmla="*/ 0 w 11199600"/>
              <a:gd name="connsiteY154" fmla="*/ 4528452 h 5920067"/>
              <a:gd name="connsiteX155" fmla="*/ 0 w 11199600"/>
              <a:gd name="connsiteY155" fmla="*/ 4523933 h 5920067"/>
              <a:gd name="connsiteX156" fmla="*/ 0 w 11199600"/>
              <a:gd name="connsiteY156" fmla="*/ 4490961 h 5920067"/>
              <a:gd name="connsiteX157" fmla="*/ 0 w 11199600"/>
              <a:gd name="connsiteY157" fmla="*/ 4445170 h 5920067"/>
              <a:gd name="connsiteX158" fmla="*/ 0 w 11199600"/>
              <a:gd name="connsiteY158" fmla="*/ 4442981 h 5920067"/>
              <a:gd name="connsiteX159" fmla="*/ 0 w 11199600"/>
              <a:gd name="connsiteY159" fmla="*/ 4436639 h 5920067"/>
              <a:gd name="connsiteX160" fmla="*/ 0 w 11199600"/>
              <a:gd name="connsiteY160" fmla="*/ 4390248 h 5920067"/>
              <a:gd name="connsiteX161" fmla="*/ 0 w 11199600"/>
              <a:gd name="connsiteY161" fmla="*/ 4350891 h 5920067"/>
              <a:gd name="connsiteX162" fmla="*/ 0 w 11199600"/>
              <a:gd name="connsiteY162" fmla="*/ 4336894 h 5920067"/>
              <a:gd name="connsiteX163" fmla="*/ 0 w 11199600"/>
              <a:gd name="connsiteY163" fmla="*/ 4325366 h 5920067"/>
              <a:gd name="connsiteX164" fmla="*/ 0 w 11199600"/>
              <a:gd name="connsiteY164" fmla="*/ 4268531 h 5920067"/>
              <a:gd name="connsiteX165" fmla="*/ 0 w 11199600"/>
              <a:gd name="connsiteY165" fmla="*/ 4249693 h 5920067"/>
              <a:gd name="connsiteX166" fmla="*/ 0 w 11199600"/>
              <a:gd name="connsiteY166" fmla="*/ 4223869 h 5920067"/>
              <a:gd name="connsiteX167" fmla="*/ 0 w 11199600"/>
              <a:gd name="connsiteY167" fmla="*/ 4162399 h 5920067"/>
              <a:gd name="connsiteX168" fmla="*/ 0 w 11199600"/>
              <a:gd name="connsiteY168" fmla="*/ 4140749 h 5920067"/>
              <a:gd name="connsiteX169" fmla="*/ 0 w 11199600"/>
              <a:gd name="connsiteY169" fmla="*/ 4096732 h 5920067"/>
              <a:gd name="connsiteX170" fmla="*/ 0 w 11199600"/>
              <a:gd name="connsiteY170" fmla="*/ 4076651 h 5920067"/>
              <a:gd name="connsiteX171" fmla="*/ 0 w 11199600"/>
              <a:gd name="connsiteY171" fmla="*/ 4062654 h 5920067"/>
              <a:gd name="connsiteX172" fmla="*/ 0 w 11199600"/>
              <a:gd name="connsiteY172" fmla="*/ 3954655 h 5920067"/>
              <a:gd name="connsiteX173" fmla="*/ 0 w 11199600"/>
              <a:gd name="connsiteY173" fmla="*/ 3949629 h 5920067"/>
              <a:gd name="connsiteX174" fmla="*/ 0 w 11199600"/>
              <a:gd name="connsiteY174" fmla="*/ 3911516 h 5920067"/>
              <a:gd name="connsiteX175" fmla="*/ 0 w 11199600"/>
              <a:gd name="connsiteY175" fmla="*/ 3866509 h 5920067"/>
              <a:gd name="connsiteX176" fmla="*/ 0 w 11199600"/>
              <a:gd name="connsiteY176" fmla="*/ 3822492 h 5920067"/>
              <a:gd name="connsiteX177" fmla="*/ 0 w 11199600"/>
              <a:gd name="connsiteY177" fmla="*/ 3796807 h 5920067"/>
              <a:gd name="connsiteX178" fmla="*/ 0 w 11199600"/>
              <a:gd name="connsiteY178" fmla="*/ 3680415 h 5920067"/>
              <a:gd name="connsiteX179" fmla="*/ 0 w 11199600"/>
              <a:gd name="connsiteY179" fmla="*/ 3662362 h 5920067"/>
              <a:gd name="connsiteX180" fmla="*/ 0 w 11199600"/>
              <a:gd name="connsiteY180" fmla="*/ 3637276 h 5920067"/>
              <a:gd name="connsiteX181" fmla="*/ 0 w 11199600"/>
              <a:gd name="connsiteY181" fmla="*/ 3622357 h 5920067"/>
              <a:gd name="connsiteX182" fmla="*/ 0 w 11199600"/>
              <a:gd name="connsiteY182" fmla="*/ 3522567 h 5920067"/>
              <a:gd name="connsiteX183" fmla="*/ 0 w 11199600"/>
              <a:gd name="connsiteY183" fmla="*/ 3430477 h 5920067"/>
              <a:gd name="connsiteX184" fmla="*/ 0 w 11199600"/>
              <a:gd name="connsiteY184" fmla="*/ 3392457 h 5920067"/>
              <a:gd name="connsiteX185" fmla="*/ 0 w 11199600"/>
              <a:gd name="connsiteY185" fmla="*/ 3388122 h 5920067"/>
              <a:gd name="connsiteX186" fmla="*/ 0 w 11199600"/>
              <a:gd name="connsiteY186" fmla="*/ 3348117 h 5920067"/>
              <a:gd name="connsiteX187" fmla="*/ 0 w 11199600"/>
              <a:gd name="connsiteY187" fmla="*/ 3220335 h 5920067"/>
              <a:gd name="connsiteX188" fmla="*/ 0 w 11199600"/>
              <a:gd name="connsiteY188" fmla="*/ 3156237 h 5920067"/>
              <a:gd name="connsiteX189" fmla="*/ 0 w 11199600"/>
              <a:gd name="connsiteY189" fmla="*/ 3118217 h 5920067"/>
              <a:gd name="connsiteX190" fmla="*/ 0 w 11199600"/>
              <a:gd name="connsiteY190" fmla="*/ 3100970 h 5920067"/>
              <a:gd name="connsiteX191" fmla="*/ 0 w 11199600"/>
              <a:gd name="connsiteY191" fmla="*/ 2991102 h 5920067"/>
              <a:gd name="connsiteX192" fmla="*/ 0 w 11199600"/>
              <a:gd name="connsiteY192" fmla="*/ 2946095 h 5920067"/>
              <a:gd name="connsiteX193" fmla="*/ 0 w 11199600"/>
              <a:gd name="connsiteY193" fmla="*/ 2826730 h 5920067"/>
              <a:gd name="connsiteX194" fmla="*/ 0 w 11199600"/>
              <a:gd name="connsiteY194" fmla="*/ 2787072 h 5920067"/>
              <a:gd name="connsiteX195" fmla="*/ 0 w 11199600"/>
              <a:gd name="connsiteY195" fmla="*/ 2741948 h 5920067"/>
              <a:gd name="connsiteX196" fmla="*/ 0 w 11199600"/>
              <a:gd name="connsiteY196" fmla="*/ 2716862 h 5920067"/>
              <a:gd name="connsiteX197" fmla="*/ 0 w 11199600"/>
              <a:gd name="connsiteY197" fmla="*/ 2512832 h 5920067"/>
              <a:gd name="connsiteX198" fmla="*/ 0 w 11199600"/>
              <a:gd name="connsiteY198" fmla="*/ 2472043 h 5920067"/>
              <a:gd name="connsiteX199" fmla="*/ 0 w 11199600"/>
              <a:gd name="connsiteY199" fmla="*/ 2467708 h 5920067"/>
              <a:gd name="connsiteX200" fmla="*/ 0 w 11199600"/>
              <a:gd name="connsiteY200" fmla="*/ 2449933 h 5920067"/>
              <a:gd name="connsiteX201" fmla="*/ 0 w 11199600"/>
              <a:gd name="connsiteY201" fmla="*/ 2197803 h 5920067"/>
              <a:gd name="connsiteX202" fmla="*/ 0 w 11199600"/>
              <a:gd name="connsiteY202" fmla="*/ 2180556 h 5920067"/>
              <a:gd name="connsiteX203" fmla="*/ 0 w 11199600"/>
              <a:gd name="connsiteY203" fmla="*/ 2175692 h 5920067"/>
              <a:gd name="connsiteX204" fmla="*/ 0 w 11199600"/>
              <a:gd name="connsiteY204" fmla="*/ 2088721 h 5920067"/>
              <a:gd name="connsiteX205" fmla="*/ 0 w 11199600"/>
              <a:gd name="connsiteY205" fmla="*/ 1906316 h 5920067"/>
              <a:gd name="connsiteX206" fmla="*/ 0 w 11199600"/>
              <a:gd name="connsiteY206" fmla="*/ 1866658 h 5920067"/>
              <a:gd name="connsiteX207" fmla="*/ 0 w 11199600"/>
              <a:gd name="connsiteY207" fmla="*/ 1814481 h 5920067"/>
              <a:gd name="connsiteX208" fmla="*/ 0 w 11199600"/>
              <a:gd name="connsiteY208" fmla="*/ 1702609 h 5920067"/>
              <a:gd name="connsiteX209" fmla="*/ 0 w 11199600"/>
              <a:gd name="connsiteY209" fmla="*/ 1592418 h 5920067"/>
              <a:gd name="connsiteX210" fmla="*/ 0 w 11199600"/>
              <a:gd name="connsiteY210" fmla="*/ 1529519 h 5920067"/>
              <a:gd name="connsiteX211" fmla="*/ 0 w 11199600"/>
              <a:gd name="connsiteY211" fmla="*/ 1428369 h 5920067"/>
              <a:gd name="connsiteX212" fmla="*/ 0 w 11199600"/>
              <a:gd name="connsiteY212" fmla="*/ 1290764 h 5920067"/>
              <a:gd name="connsiteX213" fmla="*/ 0 w 11199600"/>
              <a:gd name="connsiteY213" fmla="*/ 1255278 h 5920067"/>
              <a:gd name="connsiteX214" fmla="*/ 0 w 11199600"/>
              <a:gd name="connsiteY214" fmla="*/ 1168307 h 5920067"/>
              <a:gd name="connsiteX215" fmla="*/ 0 w 11199600"/>
              <a:gd name="connsiteY215" fmla="*/ 1016524 h 5920067"/>
              <a:gd name="connsiteX216" fmla="*/ 0 w 11199600"/>
              <a:gd name="connsiteY216" fmla="*/ 894067 h 5920067"/>
              <a:gd name="connsiteX217" fmla="*/ 0 w 11199600"/>
              <a:gd name="connsiteY217" fmla="*/ 782195 h 5920067"/>
              <a:gd name="connsiteX218" fmla="*/ 0 w 11199600"/>
              <a:gd name="connsiteY218" fmla="*/ 507955 h 5920067"/>
              <a:gd name="connsiteX219" fmla="*/ 0 w 11199600"/>
              <a:gd name="connsiteY219" fmla="*/ 370350 h 5920067"/>
              <a:gd name="connsiteX220" fmla="*/ 0 w 11199600"/>
              <a:gd name="connsiteY220" fmla="*/ 96110 h 5920067"/>
              <a:gd name="connsiteX221" fmla="*/ 95997 w 11199600"/>
              <a:gd name="connsiteY221" fmla="*/ 0 h 5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11199600" h="5920067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cubicBezTo>
                  <a:pt x="11199600" y="1328117"/>
                  <a:pt x="11199600" y="1337455"/>
                  <a:pt x="11199600" y="1349128"/>
                </a:cubicBez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239653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9591"/>
                </a:lnTo>
                <a:lnTo>
                  <a:pt x="11199600" y="2527610"/>
                </a:lnTo>
                <a:lnTo>
                  <a:pt x="11199600" y="2531945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801851"/>
                </a:lnTo>
                <a:lnTo>
                  <a:pt x="11199600" y="2819097"/>
                </a:lnTo>
                <a:lnTo>
                  <a:pt x="11199600" y="2928965"/>
                </a:lnTo>
                <a:lnTo>
                  <a:pt x="11199600" y="2973972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178119"/>
                </a:lnTo>
                <a:lnTo>
                  <a:pt x="11199600" y="3203205"/>
                </a:lnTo>
                <a:lnTo>
                  <a:pt x="11199600" y="3407236"/>
                </a:lnTo>
                <a:lnTo>
                  <a:pt x="11199600" y="3448024"/>
                </a:lnTo>
                <a:lnTo>
                  <a:pt x="11199600" y="3452359"/>
                </a:lnTo>
                <a:lnTo>
                  <a:pt x="11199600" y="3470135"/>
                </a:lnTo>
                <a:lnTo>
                  <a:pt x="11199600" y="3722265"/>
                </a:lnTo>
                <a:lnTo>
                  <a:pt x="11199600" y="3739511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013751"/>
                </a:lnTo>
                <a:lnTo>
                  <a:pt x="11199600" y="4053409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327650"/>
                </a:lnTo>
                <a:lnTo>
                  <a:pt x="11199600" y="439054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664789"/>
                </a:lnTo>
                <a:lnTo>
                  <a:pt x="11199600" y="4751760"/>
                </a:lnTo>
                <a:lnTo>
                  <a:pt x="11199600" y="4903543"/>
                </a:lnTo>
                <a:lnTo>
                  <a:pt x="11199600" y="5026000"/>
                </a:lnTo>
                <a:lnTo>
                  <a:pt x="11199600" y="5137873"/>
                </a:lnTo>
                <a:lnTo>
                  <a:pt x="11199600" y="5412113"/>
                </a:lnTo>
                <a:lnTo>
                  <a:pt x="11199600" y="5549717"/>
                </a:lnTo>
                <a:lnTo>
                  <a:pt x="11199600" y="5823957"/>
                </a:lnTo>
                <a:cubicBezTo>
                  <a:pt x="11199600" y="5920067"/>
                  <a:pt x="11103603" y="5920067"/>
                  <a:pt x="11103603" y="5920067"/>
                </a:cubicBezTo>
                <a:cubicBezTo>
                  <a:pt x="11103603" y="5920067"/>
                  <a:pt x="11103603" y="5920067"/>
                  <a:pt x="95997" y="5920067"/>
                </a:cubicBezTo>
                <a:cubicBezTo>
                  <a:pt x="0" y="5920067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  <a:alpha val="10000"/>
            </a:schemeClr>
          </a:solidFill>
        </p:spPr>
        <p:txBody>
          <a:bodyPr wrap="square" lIns="3239676" tIns="35996" rIns="35996" bIns="35996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17843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9076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846827" y="1270001"/>
            <a:ext cx="5058000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 bwMode="gray">
          <a:xfrm>
            <a:off x="6276751" y="1270001"/>
            <a:ext cx="5058000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756467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5451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/>
          <p:cNvSpPr>
            <a:spLocks noChangeAspect="1"/>
          </p:cNvSpPr>
          <p:nvPr userDrawn="1"/>
        </p:nvSpPr>
        <p:spPr bwMode="gray">
          <a:xfrm>
            <a:off x="693739" y="1695449"/>
            <a:ext cx="10641600" cy="2630915"/>
          </a:xfrm>
          <a:custGeom>
            <a:avLst/>
            <a:gdLst>
              <a:gd name="T0" fmla="*/ 2480 w 2480"/>
              <a:gd name="T1" fmla="*/ 528 h 611"/>
              <a:gd name="T2" fmla="*/ 2480 w 2480"/>
              <a:gd name="T3" fmla="*/ 32 h 611"/>
              <a:gd name="T4" fmla="*/ 2448 w 2480"/>
              <a:gd name="T5" fmla="*/ 0 h 611"/>
              <a:gd name="T6" fmla="*/ 32 w 2480"/>
              <a:gd name="T7" fmla="*/ 0 h 611"/>
              <a:gd name="T8" fmla="*/ 0 w 2480"/>
              <a:gd name="T9" fmla="*/ 32 h 611"/>
              <a:gd name="T10" fmla="*/ 0 w 2480"/>
              <a:gd name="T11" fmla="*/ 528 h 611"/>
              <a:gd name="T12" fmla="*/ 32 w 2480"/>
              <a:gd name="T13" fmla="*/ 560 h 611"/>
              <a:gd name="T14" fmla="*/ 237 w 2480"/>
              <a:gd name="T15" fmla="*/ 560 h 611"/>
              <a:gd name="T16" fmla="*/ 271 w 2480"/>
              <a:gd name="T17" fmla="*/ 604 h 611"/>
              <a:gd name="T18" fmla="*/ 289 w 2480"/>
              <a:gd name="T19" fmla="*/ 604 h 611"/>
              <a:gd name="T20" fmla="*/ 323 w 2480"/>
              <a:gd name="T21" fmla="*/ 560 h 611"/>
              <a:gd name="T22" fmla="*/ 2448 w 2480"/>
              <a:gd name="T23" fmla="*/ 560 h 611"/>
              <a:gd name="T24" fmla="*/ 2480 w 2480"/>
              <a:gd name="T25" fmla="*/ 528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80" h="611">
                <a:moveTo>
                  <a:pt x="2480" y="528"/>
                </a:moveTo>
                <a:cubicBezTo>
                  <a:pt x="2480" y="32"/>
                  <a:pt x="2480" y="32"/>
                  <a:pt x="2480" y="32"/>
                </a:cubicBezTo>
                <a:cubicBezTo>
                  <a:pt x="2480" y="32"/>
                  <a:pt x="2480" y="0"/>
                  <a:pt x="2448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0" y="0"/>
                  <a:pt x="0" y="32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528"/>
                  <a:pt x="0" y="560"/>
                  <a:pt x="32" y="560"/>
                </a:cubicBezTo>
                <a:cubicBezTo>
                  <a:pt x="237" y="560"/>
                  <a:pt x="237" y="560"/>
                  <a:pt x="237" y="560"/>
                </a:cubicBezTo>
                <a:cubicBezTo>
                  <a:pt x="271" y="604"/>
                  <a:pt x="271" y="604"/>
                  <a:pt x="271" y="604"/>
                </a:cubicBezTo>
                <a:cubicBezTo>
                  <a:pt x="276" y="611"/>
                  <a:pt x="284" y="611"/>
                  <a:pt x="289" y="604"/>
                </a:cubicBezTo>
                <a:cubicBezTo>
                  <a:pt x="323" y="560"/>
                  <a:pt x="323" y="560"/>
                  <a:pt x="323" y="560"/>
                </a:cubicBezTo>
                <a:cubicBezTo>
                  <a:pt x="2448" y="560"/>
                  <a:pt x="2448" y="560"/>
                  <a:pt x="2448" y="560"/>
                </a:cubicBezTo>
                <a:cubicBezTo>
                  <a:pt x="2448" y="560"/>
                  <a:pt x="2480" y="560"/>
                  <a:pt x="2480" y="528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1172150" y="1695452"/>
            <a:ext cx="10162600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3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4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3663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 bwMode="gray">
          <a:xfrm>
            <a:off x="0" y="1643200"/>
            <a:ext cx="11339513" cy="3055937"/>
            <a:chOff x="409575" y="3144838"/>
            <a:chExt cx="11339513" cy="3055937"/>
          </a:xfrm>
        </p:grpSpPr>
        <p:sp>
          <p:nvSpPr>
            <p:cNvPr id="45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842434" y="2116801"/>
            <a:ext cx="10313209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240705"/>
            <a:ext cx="7082733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20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01" y="3556800"/>
            <a:ext cx="10305675" cy="385233"/>
          </a:xfrm>
        </p:spPr>
        <p:txBody>
          <a:bodyPr>
            <a:noAutofit/>
          </a:bodyPr>
          <a:lstStyle>
            <a:lvl1pPr>
              <a:lnSpc>
                <a:spcPts val="2199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5242061"/>
            <a:ext cx="2196000" cy="1318571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838200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3015150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426676" y="6559200"/>
            <a:ext cx="3600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-426676" y="6200775"/>
            <a:ext cx="3600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1206675" y="7019956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ctr"/>
            <a:r>
              <a:rPr lang="en-GB" sz="100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506675" y="6266693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r"/>
            <a:r>
              <a:rPr lang="en-GB" sz="100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-426676" y="5242062"/>
            <a:ext cx="3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 userDrawn="1"/>
        </p:nvSpPr>
        <p:spPr>
          <a:xfrm>
            <a:off x="-1506675" y="5297119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r"/>
            <a:r>
              <a:rPr lang="en-GB" sz="1000">
                <a:solidFill>
                  <a:srgbClr val="333333"/>
                </a:solidFill>
              </a:rPr>
              <a:t>Max. height</a:t>
            </a:r>
          </a:p>
        </p:txBody>
      </p:sp>
      <p:grpSp>
        <p:nvGrpSpPr>
          <p:cNvPr id="53" name="Group 52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54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Orang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55, 98, 0</a:t>
              </a:r>
            </a:p>
          </p:txBody>
        </p:sp>
        <p:sp>
          <p:nvSpPr>
            <p:cNvPr id="58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ght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68, 168, 168</a:t>
              </a:r>
            </a:p>
          </p:txBody>
        </p:sp>
        <p:sp>
          <p:nvSpPr>
            <p:cNvPr id="60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Indigo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82, 81, 153</a:t>
              </a:r>
            </a:p>
          </p:txBody>
        </p:sp>
        <p:sp>
          <p:nvSpPr>
            <p:cNvPr id="62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Sk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96, 166, 218</a:t>
              </a:r>
            </a:p>
          </p:txBody>
        </p:sp>
        <p:sp>
          <p:nvSpPr>
            <p:cNvPr id="64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>
                  <a:solidFill>
                    <a:srgbClr val="333333"/>
                  </a:solidFill>
                </a:rPr>
                <a:t>Colour Guidelines</a:t>
              </a:r>
            </a:p>
          </p:txBody>
        </p:sp>
        <p:sp>
          <p:nvSpPr>
            <p:cNvPr id="65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Fuchsia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71, 0, 102</a:t>
              </a:r>
            </a:p>
          </p:txBody>
        </p:sp>
        <p:sp>
          <p:nvSpPr>
            <p:cNvPr id="67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m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08, 217, 60</a:t>
              </a:r>
            </a:p>
          </p:txBody>
        </p:sp>
        <p:sp>
          <p:nvSpPr>
            <p:cNvPr id="69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eaf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2, 150, 81</a:t>
              </a:r>
            </a:p>
          </p:txBody>
        </p:sp>
        <p:sp>
          <p:nvSpPr>
            <p:cNvPr id="71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Mid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18, 118, 118</a:t>
              </a:r>
            </a:p>
          </p:txBody>
        </p:sp>
        <p:sp>
          <p:nvSpPr>
            <p:cNvPr id="73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Text Colour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1, 51, 51</a:t>
              </a:r>
            </a:p>
          </p:txBody>
        </p:sp>
      </p:grp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167642" y="4291504"/>
            <a:ext cx="298800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356498886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  <p15:guide id="2" orient="horz" pos="3304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6" y="1278385"/>
            <a:ext cx="1048917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61" indent="-268261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21" indent="-266673">
              <a:buClr>
                <a:schemeClr val="accent2"/>
              </a:buClr>
              <a:defRPr/>
            </a:lvl3pPr>
            <a:lvl4pPr marL="807958" indent="-260324">
              <a:buClr>
                <a:schemeClr val="accent3"/>
              </a:buClr>
              <a:defRPr/>
            </a:lvl4pPr>
            <a:lvl5pPr marL="1071455" indent="-252387">
              <a:buClr>
                <a:schemeClr val="accent4"/>
              </a:buCl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0639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6" y="1795637"/>
            <a:ext cx="10489175" cy="44051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61" indent="-268261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21" indent="-266673">
              <a:buClr>
                <a:schemeClr val="accent2"/>
              </a:buClr>
              <a:defRPr/>
            </a:lvl3pPr>
            <a:lvl4pPr marL="807958" indent="-260324">
              <a:buClr>
                <a:schemeClr val="accent3"/>
              </a:buClr>
              <a:defRPr/>
            </a:lvl4pPr>
            <a:lvl5pPr marL="1071455" indent="-252387">
              <a:buClr>
                <a:schemeClr val="accent4"/>
              </a:buCl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845575" y="1277982"/>
            <a:ext cx="10489175" cy="436017"/>
          </a:xfrm>
        </p:spPr>
        <p:txBody>
          <a:bodyPr>
            <a:noAutofit/>
          </a:bodyPr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4198770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0" y="1643200"/>
            <a:ext cx="11339513" cy="3055937"/>
            <a:chOff x="409575" y="3144838"/>
            <a:chExt cx="11339513" cy="3055937"/>
          </a:xfrm>
        </p:grpSpPr>
        <p:sp>
          <p:nvSpPr>
            <p:cNvPr id="37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842434" y="2116801"/>
            <a:ext cx="10313209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240705"/>
            <a:ext cx="7082733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20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01" y="3556800"/>
            <a:ext cx="10305675" cy="385233"/>
          </a:xfrm>
        </p:spPr>
        <p:txBody>
          <a:bodyPr>
            <a:noAutofit/>
          </a:bodyPr>
          <a:lstStyle>
            <a:lvl1pPr>
              <a:lnSpc>
                <a:spcPts val="2199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pic>
        <p:nvPicPr>
          <p:cNvPr id="13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838200" y="6291857"/>
            <a:ext cx="2196000" cy="287825"/>
          </a:xfrm>
          <a:prstGeom prst="rect">
            <a:avLst/>
          </a:prstGeom>
        </p:spPr>
      </p:pic>
      <p:grpSp>
        <p:nvGrpSpPr>
          <p:cNvPr id="44" name="Group 43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45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6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7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8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4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6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3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167642" y="4291504"/>
            <a:ext cx="298800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1894182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6" y="1278385"/>
            <a:ext cx="1048917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8261" indent="-268261">
              <a:buClr>
                <a:schemeClr val="accent1"/>
              </a:buClr>
              <a:buFont typeface="ING Me" pitchFamily="2" charset="0"/>
              <a:buChar char="•"/>
              <a:defRPr/>
            </a:lvl1pPr>
            <a:lvl2pPr marL="538110" indent="-268261">
              <a:buClr>
                <a:schemeClr val="accent2"/>
              </a:buClr>
              <a:buFont typeface="ING Me" pitchFamily="2" charset="0"/>
              <a:buChar char="•"/>
              <a:defRPr/>
            </a:lvl2pPr>
            <a:lvl3pPr marL="804782" indent="-266673">
              <a:buClr>
                <a:schemeClr val="accent3"/>
              </a:buClr>
              <a:defRPr/>
            </a:lvl3pPr>
            <a:lvl4pPr marL="1077806" indent="-260324">
              <a:buClr>
                <a:schemeClr val="accent4"/>
              </a:buClr>
              <a:defRPr/>
            </a:lvl4pPr>
            <a:lvl5pPr marL="1341303" indent="-252387">
              <a:buClr>
                <a:schemeClr val="accent5"/>
              </a:buCl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05804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1376203" y="1394143"/>
            <a:ext cx="2520000" cy="494294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44604" y="1394143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Authentication &amp; Security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44604" y="1985096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Front End Application Framework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44604" y="2576051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GPAM &amp; Authorization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44604" y="3167006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Customer Context &amp; Notification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44604" y="3757959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API Platform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44604" y="4348912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API Foundation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44604" y="4939867"/>
            <a:ext cx="1217172" cy="540000"/>
          </a:xfrm>
          <a:prstGeom prst="rect">
            <a:avLst/>
          </a:prstGeom>
          <a:solidFill>
            <a:srgbClr val="FFC000">
              <a:alpha val="40000"/>
            </a:srgbClr>
          </a:solidFill>
          <a:ln w="6350">
            <a:solidFill>
              <a:srgbClr val="FF62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Assembly Platform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44604" y="5530822"/>
            <a:ext cx="1217172" cy="540000"/>
          </a:xfrm>
          <a:prstGeom prst="rect">
            <a:avLst/>
          </a:prstGeom>
          <a:solidFill>
            <a:srgbClr val="FFC000">
              <a:alpha val="40000"/>
            </a:srgbClr>
          </a:solidFill>
          <a:ln w="6350">
            <a:solidFill>
              <a:srgbClr val="FF62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Experience Design</a:t>
            </a:r>
          </a:p>
        </p:txBody>
      </p:sp>
      <p:sp>
        <p:nvSpPr>
          <p:cNvPr id="29" name="TextBox 40"/>
          <p:cNvSpPr txBox="1"/>
          <p:nvPr userDrawn="1"/>
        </p:nvSpPr>
        <p:spPr>
          <a:xfrm>
            <a:off x="5054852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Q2</a:t>
            </a:r>
          </a:p>
        </p:txBody>
      </p:sp>
      <p:sp>
        <p:nvSpPr>
          <p:cNvPr id="37" name="Rectangle 36"/>
          <p:cNvSpPr/>
          <p:nvPr userDrawn="1"/>
        </p:nvSpPr>
        <p:spPr>
          <a:xfrm>
            <a:off x="3955716" y="1394143"/>
            <a:ext cx="2520000" cy="494294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9114750" y="1394143"/>
            <a:ext cx="2520000" cy="494294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6535224" y="1394143"/>
            <a:ext cx="2520000" cy="494294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40" name="TextBox 40"/>
          <p:cNvSpPr txBox="1"/>
          <p:nvPr userDrawn="1"/>
        </p:nvSpPr>
        <p:spPr>
          <a:xfrm>
            <a:off x="2475336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Q1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7634368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Q3</a:t>
            </a:r>
          </a:p>
        </p:txBody>
      </p:sp>
      <p:sp>
        <p:nvSpPr>
          <p:cNvPr id="42" name="TextBox 29"/>
          <p:cNvSpPr txBox="1"/>
          <p:nvPr userDrawn="1"/>
        </p:nvSpPr>
        <p:spPr>
          <a:xfrm>
            <a:off x="10213883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Q4</a:t>
            </a:r>
          </a:p>
        </p:txBody>
      </p:sp>
    </p:spTree>
    <p:extLst>
      <p:ext uri="{BB962C8B-B14F-4D97-AF65-F5344CB8AC3E}">
        <p14:creationId xmlns:p14="http://schemas.microsoft.com/office/powerpoint/2010/main" val="1888426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1324737" y="1394143"/>
            <a:ext cx="741993" cy="494294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3937748" y="1394143"/>
            <a:ext cx="741993" cy="494294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9163765" y="1394143"/>
            <a:ext cx="741993" cy="494294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6550756" y="1394143"/>
            <a:ext cx="741993" cy="494294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44604" y="1394143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Authentication &amp; Security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44604" y="1985096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Front End Application Framework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44604" y="2576051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GPAM &amp; Authorization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44604" y="3167006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Customer Context &amp; Notification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44604" y="3757959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API Platform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44604" y="4348912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API Foundation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44604" y="4939867"/>
            <a:ext cx="1217172" cy="540000"/>
          </a:xfrm>
          <a:prstGeom prst="rect">
            <a:avLst/>
          </a:prstGeom>
          <a:solidFill>
            <a:srgbClr val="FFC000">
              <a:alpha val="40000"/>
            </a:srgbClr>
          </a:solidFill>
          <a:ln w="6350">
            <a:solidFill>
              <a:srgbClr val="FF62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Assembly Platform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44604" y="5530822"/>
            <a:ext cx="1217172" cy="540000"/>
          </a:xfrm>
          <a:prstGeom prst="rect">
            <a:avLst/>
          </a:prstGeom>
          <a:solidFill>
            <a:srgbClr val="FFC000">
              <a:alpha val="40000"/>
            </a:srgbClr>
          </a:solidFill>
          <a:ln w="6350">
            <a:solidFill>
              <a:srgbClr val="FF62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Experience Design</a:t>
            </a:r>
          </a:p>
        </p:txBody>
      </p:sp>
      <p:sp>
        <p:nvSpPr>
          <p:cNvPr id="26" name="TextBox 24"/>
          <p:cNvSpPr txBox="1"/>
          <p:nvPr userDrawn="1"/>
        </p:nvSpPr>
        <p:spPr>
          <a:xfrm>
            <a:off x="7684322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Aug</a:t>
            </a:r>
          </a:p>
        </p:txBody>
      </p:sp>
      <p:sp>
        <p:nvSpPr>
          <p:cNvPr id="27" name="TextBox 28"/>
          <p:cNvSpPr txBox="1"/>
          <p:nvPr userDrawn="1"/>
        </p:nvSpPr>
        <p:spPr>
          <a:xfrm>
            <a:off x="10314747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Nov</a:t>
            </a:r>
          </a:p>
        </p:txBody>
      </p:sp>
      <p:sp>
        <p:nvSpPr>
          <p:cNvPr id="28" name="TextBox 29"/>
          <p:cNvSpPr txBox="1"/>
          <p:nvPr userDrawn="1"/>
        </p:nvSpPr>
        <p:spPr>
          <a:xfrm>
            <a:off x="5018880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May</a:t>
            </a:r>
          </a:p>
        </p:txBody>
      </p:sp>
      <p:sp>
        <p:nvSpPr>
          <p:cNvPr id="29" name="TextBox 40"/>
          <p:cNvSpPr txBox="1"/>
          <p:nvPr userDrawn="1"/>
        </p:nvSpPr>
        <p:spPr>
          <a:xfrm>
            <a:off x="2423477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Feb</a:t>
            </a:r>
          </a:p>
        </p:txBody>
      </p:sp>
      <p:sp>
        <p:nvSpPr>
          <p:cNvPr id="32" name="Rectangle 31"/>
          <p:cNvSpPr/>
          <p:nvPr userDrawn="1"/>
        </p:nvSpPr>
        <p:spPr>
          <a:xfrm>
            <a:off x="2195743" y="1394143"/>
            <a:ext cx="741993" cy="494294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4808751" y="1394143"/>
            <a:ext cx="741993" cy="494294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10034770" y="1394143"/>
            <a:ext cx="741993" cy="494294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35" name="Rectangle 34"/>
          <p:cNvSpPr/>
          <p:nvPr userDrawn="1"/>
        </p:nvSpPr>
        <p:spPr>
          <a:xfrm>
            <a:off x="7421760" y="1394143"/>
            <a:ext cx="741993" cy="494294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36" name="Rectangle 35"/>
          <p:cNvSpPr/>
          <p:nvPr userDrawn="1"/>
        </p:nvSpPr>
        <p:spPr>
          <a:xfrm>
            <a:off x="3066745" y="1394143"/>
            <a:ext cx="741993" cy="494294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5679754" y="1394143"/>
            <a:ext cx="741993" cy="494294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10905775" y="1394143"/>
            <a:ext cx="741993" cy="494294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8292762" y="1394143"/>
            <a:ext cx="741993" cy="494294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40" name="TextBox 40"/>
          <p:cNvSpPr txBox="1"/>
          <p:nvPr userDrawn="1"/>
        </p:nvSpPr>
        <p:spPr>
          <a:xfrm>
            <a:off x="1534866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Jan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3276874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Mar</a:t>
            </a:r>
          </a:p>
        </p:txBody>
      </p:sp>
      <p:sp>
        <p:nvSpPr>
          <p:cNvPr id="42" name="TextBox 29"/>
          <p:cNvSpPr txBox="1"/>
          <p:nvPr userDrawn="1"/>
        </p:nvSpPr>
        <p:spPr>
          <a:xfrm>
            <a:off x="4147877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Apr</a:t>
            </a:r>
          </a:p>
        </p:txBody>
      </p:sp>
      <p:sp>
        <p:nvSpPr>
          <p:cNvPr id="43" name="TextBox 29"/>
          <p:cNvSpPr txBox="1"/>
          <p:nvPr userDrawn="1"/>
        </p:nvSpPr>
        <p:spPr>
          <a:xfrm>
            <a:off x="5889883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Jun</a:t>
            </a:r>
          </a:p>
        </p:txBody>
      </p:sp>
      <p:sp>
        <p:nvSpPr>
          <p:cNvPr id="44" name="TextBox 29"/>
          <p:cNvSpPr txBox="1"/>
          <p:nvPr userDrawn="1"/>
        </p:nvSpPr>
        <p:spPr>
          <a:xfrm>
            <a:off x="6760885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Jul</a:t>
            </a:r>
          </a:p>
        </p:txBody>
      </p:sp>
      <p:sp>
        <p:nvSpPr>
          <p:cNvPr id="45" name="TextBox 24"/>
          <p:cNvSpPr txBox="1"/>
          <p:nvPr userDrawn="1"/>
        </p:nvSpPr>
        <p:spPr>
          <a:xfrm>
            <a:off x="8476059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Sep</a:t>
            </a:r>
          </a:p>
        </p:txBody>
      </p:sp>
      <p:sp>
        <p:nvSpPr>
          <p:cNvPr id="46" name="TextBox 24"/>
          <p:cNvSpPr txBox="1"/>
          <p:nvPr userDrawn="1"/>
        </p:nvSpPr>
        <p:spPr>
          <a:xfrm>
            <a:off x="9373894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Oct</a:t>
            </a:r>
          </a:p>
        </p:txBody>
      </p:sp>
      <p:sp>
        <p:nvSpPr>
          <p:cNvPr id="47" name="TextBox 28"/>
          <p:cNvSpPr txBox="1"/>
          <p:nvPr userDrawn="1"/>
        </p:nvSpPr>
        <p:spPr>
          <a:xfrm>
            <a:off x="11115904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Dec</a:t>
            </a:r>
          </a:p>
        </p:txBody>
      </p:sp>
    </p:spTree>
    <p:extLst>
      <p:ext uri="{BB962C8B-B14F-4D97-AF65-F5344CB8AC3E}">
        <p14:creationId xmlns:p14="http://schemas.microsoft.com/office/powerpoint/2010/main" val="26139470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6" y="1278385"/>
            <a:ext cx="1048917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13649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/>
          <p:cNvGrpSpPr>
            <a:grpSpLocks noChangeAspect="1"/>
          </p:cNvGrpSpPr>
          <p:nvPr userDrawn="1"/>
        </p:nvGrpSpPr>
        <p:grpSpPr bwMode="gray">
          <a:xfrm>
            <a:off x="1" y="1643200"/>
            <a:ext cx="5909320" cy="3045600"/>
            <a:chOff x="3465513" y="2070100"/>
            <a:chExt cx="5260975" cy="2711450"/>
          </a:xfrm>
        </p:grpSpPr>
        <p:sp>
          <p:nvSpPr>
            <p:cNvPr id="67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65" name="Picture Placeholder 64"/>
          <p:cNvSpPr>
            <a:spLocks noGrp="1"/>
          </p:cNvSpPr>
          <p:nvPr>
            <p:ph type="pic" sz="quarter" idx="12"/>
          </p:nvPr>
        </p:nvSpPr>
        <p:spPr bwMode="gray">
          <a:xfrm>
            <a:off x="-3175" y="2"/>
            <a:ext cx="12195175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79712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842434" y="2012286"/>
            <a:ext cx="4877966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031479"/>
            <a:ext cx="4877966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17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34" y="3603487"/>
            <a:ext cx="4877966" cy="290712"/>
          </a:xfrm>
        </p:spPr>
        <p:txBody>
          <a:bodyPr bIns="0">
            <a:noAutofit/>
          </a:bodyPr>
          <a:lstStyle>
            <a:lvl1pPr algn="l">
              <a:lnSpc>
                <a:spcPts val="1699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6055201"/>
            <a:ext cx="219600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3015150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-426676" y="6200775"/>
            <a:ext cx="3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1206675" y="7019956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ctr"/>
            <a:r>
              <a:rPr lang="en-GB" sz="100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1506675" y="6266693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r"/>
            <a:r>
              <a:rPr lang="en-GB" sz="100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838200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-426676" y="6559200"/>
            <a:ext cx="3600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78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0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1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Orang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55, 98, 0</a:t>
              </a:r>
            </a:p>
          </p:txBody>
        </p:sp>
        <p:sp>
          <p:nvSpPr>
            <p:cNvPr id="82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3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ght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68, 168, 168</a:t>
              </a:r>
            </a:p>
          </p:txBody>
        </p:sp>
        <p:sp>
          <p:nvSpPr>
            <p:cNvPr id="84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5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Indigo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82, 81, 153</a:t>
              </a:r>
            </a:p>
          </p:txBody>
        </p:sp>
        <p:sp>
          <p:nvSpPr>
            <p:cNvPr id="86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7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Sk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96, 166, 218</a:t>
              </a:r>
            </a:p>
          </p:txBody>
        </p:sp>
        <p:sp>
          <p:nvSpPr>
            <p:cNvPr id="88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>
                  <a:solidFill>
                    <a:srgbClr val="333333"/>
                  </a:solidFill>
                </a:rPr>
                <a:t>Colour Guidelines</a:t>
              </a:r>
            </a:p>
          </p:txBody>
        </p:sp>
        <p:sp>
          <p:nvSpPr>
            <p:cNvPr id="89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0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Fuchsia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71, 0, 102</a:t>
              </a:r>
            </a:p>
          </p:txBody>
        </p:sp>
        <p:sp>
          <p:nvSpPr>
            <p:cNvPr id="91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2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m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08, 217, 60</a:t>
              </a:r>
            </a:p>
          </p:txBody>
        </p:sp>
        <p:sp>
          <p:nvSpPr>
            <p:cNvPr id="93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4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eaf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2, 150, 81</a:t>
              </a:r>
            </a:p>
          </p:txBody>
        </p:sp>
        <p:sp>
          <p:nvSpPr>
            <p:cNvPr id="95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6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Mid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18, 118, 118</a:t>
              </a:r>
            </a:p>
          </p:txBody>
        </p:sp>
        <p:sp>
          <p:nvSpPr>
            <p:cNvPr id="97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8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Text Colour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1, 51, 51</a:t>
              </a:r>
            </a:p>
          </p:txBody>
        </p:sp>
      </p:grp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42434" y="4381898"/>
            <a:ext cx="4878000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4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134071338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 userDrawn="1"/>
        </p:nvGrpSpPr>
        <p:grpSpPr bwMode="gray">
          <a:xfrm>
            <a:off x="0" y="1643200"/>
            <a:ext cx="11339513" cy="3055937"/>
            <a:chOff x="409575" y="3144838"/>
            <a:chExt cx="11339513" cy="3055937"/>
          </a:xfrm>
        </p:grpSpPr>
        <p:sp>
          <p:nvSpPr>
            <p:cNvPr id="51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842434" y="2116801"/>
            <a:ext cx="10313209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240705"/>
            <a:ext cx="7082733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20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01" y="3556800"/>
            <a:ext cx="10305675" cy="385233"/>
          </a:xfrm>
        </p:spPr>
        <p:txBody>
          <a:bodyPr>
            <a:noAutofit/>
          </a:bodyPr>
          <a:lstStyle>
            <a:lvl1pPr>
              <a:lnSpc>
                <a:spcPts val="2199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5242063"/>
            <a:ext cx="2196000" cy="1317138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3015150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426676" y="6200775"/>
            <a:ext cx="3600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1206675" y="7019956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ctr"/>
            <a:r>
              <a:rPr lang="en-GB" sz="100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506675" y="6266693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r"/>
            <a:r>
              <a:rPr lang="en-GB" sz="100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-426676" y="5242062"/>
            <a:ext cx="3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-1506675" y="5297119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r"/>
            <a:r>
              <a:rPr lang="en-GB" sz="100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838200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-426676" y="6559200"/>
            <a:ext cx="3600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5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Orang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55, 98, 0</a:t>
              </a:r>
            </a:p>
          </p:txBody>
        </p:sp>
        <p:sp>
          <p:nvSpPr>
            <p:cNvPr id="6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ght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68, 168, 168</a:t>
              </a:r>
            </a:p>
          </p:txBody>
        </p:sp>
        <p:sp>
          <p:nvSpPr>
            <p:cNvPr id="6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Indigo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82, 81, 153</a:t>
              </a:r>
            </a:p>
          </p:txBody>
        </p:sp>
        <p:sp>
          <p:nvSpPr>
            <p:cNvPr id="6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Sk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96, 166, 218</a:t>
              </a:r>
            </a:p>
          </p:txBody>
        </p:sp>
        <p:sp>
          <p:nvSpPr>
            <p:cNvPr id="6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>
                  <a:solidFill>
                    <a:srgbClr val="333333"/>
                  </a:solidFill>
                </a:rPr>
                <a:t>Colour Guidelines</a:t>
              </a:r>
            </a:p>
          </p:txBody>
        </p:sp>
        <p:sp>
          <p:nvSpPr>
            <p:cNvPr id="7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Fuchsia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71, 0, 102</a:t>
              </a:r>
            </a:p>
          </p:txBody>
        </p:sp>
        <p:sp>
          <p:nvSpPr>
            <p:cNvPr id="7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m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08, 217, 60</a:t>
              </a:r>
            </a:p>
          </p:txBody>
        </p:sp>
        <p:sp>
          <p:nvSpPr>
            <p:cNvPr id="7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eaf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2, 150, 81</a:t>
              </a:r>
            </a:p>
          </p:txBody>
        </p:sp>
        <p:sp>
          <p:nvSpPr>
            <p:cNvPr id="7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Mid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18, 118, 118</a:t>
              </a:r>
            </a:p>
          </p:txBody>
        </p:sp>
        <p:sp>
          <p:nvSpPr>
            <p:cNvPr id="7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Text Colour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1, 51, 51</a:t>
              </a:r>
            </a:p>
          </p:txBody>
        </p:sp>
      </p:grp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4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167642" y="4291504"/>
            <a:ext cx="298800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10749168" y="-133099"/>
            <a:ext cx="1441027" cy="1565166"/>
            <a:chOff x="5364088" y="4720073"/>
            <a:chExt cx="1441027" cy="1565166"/>
          </a:xfrm>
        </p:grpSpPr>
        <p:sp>
          <p:nvSpPr>
            <p:cNvPr id="48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9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1483516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  <p15:guide id="2" orient="horz" pos="3304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>
            <a:grpSpLocks noChangeAspect="1"/>
          </p:cNvGrpSpPr>
          <p:nvPr userDrawn="1"/>
        </p:nvGrpSpPr>
        <p:grpSpPr bwMode="gray">
          <a:xfrm>
            <a:off x="1" y="1643200"/>
            <a:ext cx="5909320" cy="3045600"/>
            <a:chOff x="3465513" y="2070100"/>
            <a:chExt cx="5260975" cy="2711450"/>
          </a:xfrm>
        </p:grpSpPr>
        <p:sp>
          <p:nvSpPr>
            <p:cNvPr id="81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5" name="Freeform 84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842434" y="2012286"/>
            <a:ext cx="4877966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031479"/>
            <a:ext cx="4877966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17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34" y="3603487"/>
            <a:ext cx="4877966" cy="290712"/>
          </a:xfrm>
        </p:spPr>
        <p:txBody>
          <a:bodyPr bIns="0">
            <a:noAutofit/>
          </a:bodyPr>
          <a:lstStyle>
            <a:lvl1pPr algn="l">
              <a:lnSpc>
                <a:spcPts val="1699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6055201"/>
            <a:ext cx="219600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3015150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-426676" y="6200775"/>
            <a:ext cx="3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1206675" y="7019956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ctr"/>
            <a:r>
              <a:rPr lang="en-GB" sz="100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-1506675" y="6266693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r"/>
            <a:r>
              <a:rPr lang="en-GB" sz="100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838200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-426676" y="6559200"/>
            <a:ext cx="3600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5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Orang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55, 98, 0</a:t>
              </a:r>
            </a:p>
          </p:txBody>
        </p:sp>
        <p:sp>
          <p:nvSpPr>
            <p:cNvPr id="6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ght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68, 168, 168</a:t>
              </a:r>
            </a:p>
          </p:txBody>
        </p:sp>
        <p:sp>
          <p:nvSpPr>
            <p:cNvPr id="6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Indigo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82, 81, 153</a:t>
              </a:r>
            </a:p>
          </p:txBody>
        </p:sp>
        <p:sp>
          <p:nvSpPr>
            <p:cNvPr id="6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Sk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96, 166, 218</a:t>
              </a:r>
            </a:p>
          </p:txBody>
        </p:sp>
        <p:sp>
          <p:nvSpPr>
            <p:cNvPr id="6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>
                  <a:solidFill>
                    <a:srgbClr val="333333"/>
                  </a:solidFill>
                </a:rPr>
                <a:t>Colour Guidelines</a:t>
              </a:r>
            </a:p>
          </p:txBody>
        </p:sp>
        <p:sp>
          <p:nvSpPr>
            <p:cNvPr id="6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Fuchsia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71, 0, 102</a:t>
              </a:r>
            </a:p>
          </p:txBody>
        </p:sp>
        <p:sp>
          <p:nvSpPr>
            <p:cNvPr id="7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m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08, 217, 60</a:t>
              </a:r>
            </a:p>
          </p:txBody>
        </p:sp>
        <p:sp>
          <p:nvSpPr>
            <p:cNvPr id="7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eaf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2, 150, 81</a:t>
              </a:r>
            </a:p>
          </p:txBody>
        </p:sp>
        <p:sp>
          <p:nvSpPr>
            <p:cNvPr id="7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Mid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18, 118, 118</a:t>
              </a:r>
            </a:p>
          </p:txBody>
        </p:sp>
        <p:sp>
          <p:nvSpPr>
            <p:cNvPr id="7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Text Colour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1, 51, 51</a:t>
              </a:r>
            </a:p>
          </p:txBody>
        </p:sp>
      </p:grpSp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4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42434" y="4381898"/>
            <a:ext cx="4878000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4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10749168" y="-133099"/>
            <a:ext cx="1441027" cy="1565166"/>
            <a:chOff x="5364088" y="4720073"/>
            <a:chExt cx="1441027" cy="1565166"/>
          </a:xfrm>
        </p:grpSpPr>
        <p:sp>
          <p:nvSpPr>
            <p:cNvPr id="4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8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  <p:sp>
        <p:nvSpPr>
          <p:cNvPr id="54" name="Picture Placeholder 53"/>
          <p:cNvSpPr>
            <a:spLocks noGrp="1"/>
          </p:cNvSpPr>
          <p:nvPr>
            <p:ph type="pic" sz="quarter" idx="12"/>
          </p:nvPr>
        </p:nvSpPr>
        <p:spPr bwMode="gray">
          <a:xfrm>
            <a:off x="-3175" y="2"/>
            <a:ext cx="12195175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79712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18443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0" y="1643200"/>
            <a:ext cx="11339513" cy="3055937"/>
            <a:chOff x="409575" y="3144838"/>
            <a:chExt cx="11339513" cy="3055937"/>
          </a:xfrm>
        </p:grpSpPr>
        <p:sp>
          <p:nvSpPr>
            <p:cNvPr id="37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842434" y="2116801"/>
            <a:ext cx="10313209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240705"/>
            <a:ext cx="7082733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20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01" y="3556800"/>
            <a:ext cx="10305675" cy="385233"/>
          </a:xfrm>
        </p:spPr>
        <p:txBody>
          <a:bodyPr>
            <a:noAutofit/>
          </a:bodyPr>
          <a:lstStyle>
            <a:lvl1pPr>
              <a:lnSpc>
                <a:spcPts val="2199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pic>
        <p:nvPicPr>
          <p:cNvPr id="13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838200" y="6291857"/>
            <a:ext cx="2196000" cy="287825"/>
          </a:xfrm>
          <a:prstGeom prst="rect">
            <a:avLst/>
          </a:prstGeom>
        </p:spPr>
      </p:pic>
      <p:grpSp>
        <p:nvGrpSpPr>
          <p:cNvPr id="44" name="Group 43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45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Orang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55, 98, 0</a:t>
              </a:r>
            </a:p>
          </p:txBody>
        </p:sp>
        <p:sp>
          <p:nvSpPr>
            <p:cNvPr id="49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ght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68, 168, 168</a:t>
              </a:r>
            </a:p>
          </p:txBody>
        </p:sp>
        <p:sp>
          <p:nvSpPr>
            <p:cNvPr id="51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Indigo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82, 81, 153</a:t>
              </a:r>
            </a:p>
          </p:txBody>
        </p:sp>
        <p:sp>
          <p:nvSpPr>
            <p:cNvPr id="53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Sk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96, 166, 218</a:t>
              </a:r>
            </a:p>
          </p:txBody>
        </p:sp>
        <p:sp>
          <p:nvSpPr>
            <p:cNvPr id="55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>
                  <a:solidFill>
                    <a:srgbClr val="333333"/>
                  </a:solidFill>
                </a:rPr>
                <a:t>Colour Guidelines</a:t>
              </a:r>
            </a:p>
          </p:txBody>
        </p:sp>
        <p:sp>
          <p:nvSpPr>
            <p:cNvPr id="56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Fuchsia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71, 0, 102</a:t>
              </a:r>
            </a:p>
          </p:txBody>
        </p:sp>
        <p:sp>
          <p:nvSpPr>
            <p:cNvPr id="58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m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08, 217, 60</a:t>
              </a:r>
            </a:p>
          </p:txBody>
        </p:sp>
        <p:sp>
          <p:nvSpPr>
            <p:cNvPr id="60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eaf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2, 150, 81</a:t>
              </a: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Mid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18, 118, 118</a:t>
              </a: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Text Colour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1, 51, 51</a:t>
              </a:r>
            </a:p>
          </p:txBody>
        </p:sp>
      </p:grp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3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167642" y="4291504"/>
            <a:ext cx="298800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42968011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>
            <a:grpSpLocks noChangeAspect="1"/>
          </p:cNvGrpSpPr>
          <p:nvPr userDrawn="1"/>
        </p:nvGrpSpPr>
        <p:grpSpPr bwMode="gray">
          <a:xfrm>
            <a:off x="1" y="1643200"/>
            <a:ext cx="5909320" cy="3045600"/>
            <a:chOff x="3465513" y="2070100"/>
            <a:chExt cx="5260975" cy="2711450"/>
          </a:xfrm>
        </p:grpSpPr>
        <p:sp>
          <p:nvSpPr>
            <p:cNvPr id="75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76" name="Freeform 75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842434" y="2012286"/>
            <a:ext cx="4877966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031479"/>
            <a:ext cx="4877966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17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34" y="3603487"/>
            <a:ext cx="4877966" cy="290712"/>
          </a:xfrm>
        </p:spPr>
        <p:txBody>
          <a:bodyPr bIns="0">
            <a:noAutofit/>
          </a:bodyPr>
          <a:lstStyle>
            <a:lvl1pPr algn="l">
              <a:lnSpc>
                <a:spcPts val="1699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pic>
        <p:nvPicPr>
          <p:cNvPr id="19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838200" y="6291857"/>
            <a:ext cx="2196000" cy="287825"/>
          </a:xfrm>
          <a:prstGeom prst="rect">
            <a:avLst/>
          </a:prstGeom>
        </p:spPr>
      </p:pic>
      <p:grpSp>
        <p:nvGrpSpPr>
          <p:cNvPr id="42" name="Group 41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4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Orang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55, 98, 0</a:t>
              </a:r>
            </a:p>
          </p:txBody>
        </p:sp>
        <p:sp>
          <p:nvSpPr>
            <p:cNvPr id="4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ght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68, 168, 168</a:t>
              </a:r>
            </a:p>
          </p:txBody>
        </p:sp>
        <p:sp>
          <p:nvSpPr>
            <p:cNvPr id="4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Indigo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82, 81, 153</a:t>
              </a:r>
            </a:p>
          </p:txBody>
        </p:sp>
        <p:sp>
          <p:nvSpPr>
            <p:cNvPr id="5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Sk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96, 166, 218</a:t>
              </a:r>
            </a:p>
          </p:txBody>
        </p:sp>
        <p:sp>
          <p:nvSpPr>
            <p:cNvPr id="5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>
                  <a:solidFill>
                    <a:srgbClr val="333333"/>
                  </a:solidFill>
                </a:rPr>
                <a:t>Colour Guidelines</a:t>
              </a:r>
            </a:p>
          </p:txBody>
        </p:sp>
        <p:sp>
          <p:nvSpPr>
            <p:cNvPr id="5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Fuchsia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71, 0, 102</a:t>
              </a:r>
            </a:p>
          </p:txBody>
        </p:sp>
        <p:sp>
          <p:nvSpPr>
            <p:cNvPr id="5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m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08, 217, 60</a:t>
              </a:r>
            </a:p>
          </p:txBody>
        </p:sp>
        <p:sp>
          <p:nvSpPr>
            <p:cNvPr id="5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eaf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2, 150, 81</a:t>
              </a:r>
            </a:p>
          </p:txBody>
        </p:sp>
        <p:sp>
          <p:nvSpPr>
            <p:cNvPr id="6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Mid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18, 118, 118</a:t>
              </a:r>
            </a:p>
          </p:txBody>
        </p:sp>
        <p:sp>
          <p:nvSpPr>
            <p:cNvPr id="6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Text Colour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1, 51, 51</a:t>
              </a:r>
            </a:p>
          </p:txBody>
        </p: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3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42434" y="4381898"/>
            <a:ext cx="4878000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4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2"/>
          </p:nvPr>
        </p:nvSpPr>
        <p:spPr bwMode="gray">
          <a:xfrm>
            <a:off x="-3175" y="2"/>
            <a:ext cx="12195175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79712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06996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 userDrawn="1"/>
        </p:nvGrpSpPr>
        <p:grpSpPr bwMode="gray">
          <a:xfrm>
            <a:off x="0" y="1643200"/>
            <a:ext cx="11339513" cy="3055937"/>
            <a:chOff x="409575" y="3144838"/>
            <a:chExt cx="11339513" cy="3055937"/>
          </a:xfrm>
        </p:grpSpPr>
        <p:sp>
          <p:nvSpPr>
            <p:cNvPr id="40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842434" y="2116801"/>
            <a:ext cx="10313209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240705"/>
            <a:ext cx="7082733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20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01" y="3556800"/>
            <a:ext cx="10305675" cy="385233"/>
          </a:xfrm>
        </p:spPr>
        <p:txBody>
          <a:bodyPr>
            <a:noAutofit/>
          </a:bodyPr>
          <a:lstStyle>
            <a:lvl1pPr>
              <a:lnSpc>
                <a:spcPts val="2199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pic>
        <p:nvPicPr>
          <p:cNvPr id="35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838201" y="6291857"/>
            <a:ext cx="2188369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Orang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55, 98, 0</a:t>
              </a: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ght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68, 168, 168</a:t>
              </a: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Indigo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82, 81, 153</a:t>
              </a: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Sk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96, 166, 218</a:t>
              </a: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>
                  <a:solidFill>
                    <a:srgbClr val="333333"/>
                  </a:solidFill>
                </a:rPr>
                <a:t>Colour Guidelines</a:t>
              </a: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Fuchsia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71, 0, 102</a:t>
              </a: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m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08, 217, 60</a:t>
              </a: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eaf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2, 150, 81</a:t>
              </a: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Mid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18, 118, 118</a:t>
              </a: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Text Colour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1, 51, 51</a:t>
              </a:r>
            </a:p>
          </p:txBody>
        </p:sp>
      </p:grp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167642" y="4291504"/>
            <a:ext cx="298800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10749168" y="-133099"/>
            <a:ext cx="1441027" cy="1565166"/>
            <a:chOff x="5364088" y="4720073"/>
            <a:chExt cx="1441027" cy="1565166"/>
          </a:xfrm>
        </p:grpSpPr>
        <p:sp>
          <p:nvSpPr>
            <p:cNvPr id="43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4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377642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>
            <a:grpSpLocks noChangeAspect="1"/>
          </p:cNvGrpSpPr>
          <p:nvPr userDrawn="1"/>
        </p:nvGrpSpPr>
        <p:grpSpPr bwMode="gray">
          <a:xfrm>
            <a:off x="1" y="1643200"/>
            <a:ext cx="5909320" cy="3045600"/>
            <a:chOff x="3465513" y="2070100"/>
            <a:chExt cx="5260975" cy="2711450"/>
          </a:xfrm>
        </p:grpSpPr>
        <p:sp>
          <p:nvSpPr>
            <p:cNvPr id="75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75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842434" y="2012286"/>
            <a:ext cx="4877966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031479"/>
            <a:ext cx="4877966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17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34" y="3603487"/>
            <a:ext cx="4877966" cy="290712"/>
          </a:xfrm>
        </p:spPr>
        <p:txBody>
          <a:bodyPr bIns="0">
            <a:noAutofit/>
          </a:bodyPr>
          <a:lstStyle>
            <a:lvl1pPr algn="l">
              <a:lnSpc>
                <a:spcPts val="1699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pic>
        <p:nvPicPr>
          <p:cNvPr id="19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838200" y="6291857"/>
            <a:ext cx="2196000" cy="287825"/>
          </a:xfrm>
          <a:prstGeom prst="rect">
            <a:avLst/>
          </a:prstGeom>
        </p:spPr>
      </p:pic>
      <p:grpSp>
        <p:nvGrpSpPr>
          <p:cNvPr id="42" name="Group 41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4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3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42434" y="4381898"/>
            <a:ext cx="4878000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4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2"/>
          </p:nvPr>
        </p:nvSpPr>
        <p:spPr bwMode="gray">
          <a:xfrm>
            <a:off x="-3175" y="2"/>
            <a:ext cx="12195175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79712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749068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Al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/>
          <p:cNvGrpSpPr>
            <a:grpSpLocks noChangeAspect="1"/>
          </p:cNvGrpSpPr>
          <p:nvPr userDrawn="1"/>
        </p:nvGrpSpPr>
        <p:grpSpPr bwMode="gray">
          <a:xfrm>
            <a:off x="1" y="1643200"/>
            <a:ext cx="5909320" cy="3045600"/>
            <a:chOff x="3465513" y="2070100"/>
            <a:chExt cx="5260975" cy="2711450"/>
          </a:xfrm>
        </p:grpSpPr>
        <p:sp>
          <p:nvSpPr>
            <p:cNvPr id="80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1" name="Freeform 80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842434" y="2012286"/>
            <a:ext cx="4877966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031479"/>
            <a:ext cx="4877966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17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34" y="3603487"/>
            <a:ext cx="4877966" cy="290712"/>
          </a:xfrm>
        </p:spPr>
        <p:txBody>
          <a:bodyPr bIns="0">
            <a:noAutofit/>
          </a:bodyPr>
          <a:lstStyle>
            <a:lvl1pPr algn="l">
              <a:lnSpc>
                <a:spcPts val="1699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pic>
        <p:nvPicPr>
          <p:cNvPr id="30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838201" y="6291857"/>
            <a:ext cx="2188369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Orang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55, 98, 0</a:t>
              </a: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ght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68, 168, 168</a:t>
              </a: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Indigo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82, 81, 153</a:t>
              </a: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Sk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96, 166, 218</a:t>
              </a: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>
                  <a:solidFill>
                    <a:srgbClr val="333333"/>
                  </a:solidFill>
                </a:rPr>
                <a:t>Colour Guidelines</a:t>
              </a: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Fuchsia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71, 0, 102</a:t>
              </a: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m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08, 217, 60</a:t>
              </a: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eaf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2, 150, 81</a:t>
              </a: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Mid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18, 118, 118</a:t>
              </a: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Text Colour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1, 51, 51</a:t>
              </a:r>
            </a:p>
          </p:txBody>
        </p:sp>
      </p:grp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42434" y="4381898"/>
            <a:ext cx="4878000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4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70" name="Picture Placeholder 69"/>
          <p:cNvSpPr>
            <a:spLocks noGrp="1"/>
          </p:cNvSpPr>
          <p:nvPr>
            <p:ph type="pic" sz="quarter" idx="12"/>
          </p:nvPr>
        </p:nvSpPr>
        <p:spPr bwMode="gray">
          <a:xfrm>
            <a:off x="-3175" y="2"/>
            <a:ext cx="12195175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79712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10749168" y="-133099"/>
            <a:ext cx="1441027" cy="1565166"/>
            <a:chOff x="5364088" y="4720073"/>
            <a:chExt cx="1441027" cy="1565166"/>
          </a:xfrm>
        </p:grpSpPr>
        <p:sp>
          <p:nvSpPr>
            <p:cNvPr id="41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2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5886678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696912" y="1201147"/>
            <a:ext cx="11199600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845575" y="1327150"/>
            <a:ext cx="10489176" cy="4752000"/>
          </a:xfrm>
        </p:spPr>
        <p:txBody>
          <a:bodyPr>
            <a:noAutofit/>
          </a:bodyPr>
          <a:lstStyle>
            <a:lvl1pPr marL="431956" marR="0" indent="-431956" algn="l" defTabSz="914286" rtl="0" eaLnBrk="1" fontAlgn="auto" latinLnBrk="0" hangingPunct="1">
              <a:lnSpc>
                <a:spcPts val="2199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55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6048379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Picture R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>
            <a:spLocks noChangeAspect="1"/>
          </p:cNvSpPr>
          <p:nvPr userDrawn="1"/>
        </p:nvSpPr>
        <p:spPr bwMode="gray">
          <a:xfrm>
            <a:off x="696912" y="1201147"/>
            <a:ext cx="11199600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845576" y="1327149"/>
            <a:ext cx="5987025" cy="4752000"/>
          </a:xfrm>
        </p:spPr>
        <p:txBody>
          <a:bodyPr>
            <a:noAutofit/>
          </a:bodyPr>
          <a:lstStyle>
            <a:lvl1pPr marL="431956" marR="0" indent="-431956" algn="l" defTabSz="914286" rtl="0" eaLnBrk="1" fontAlgn="auto" latinLnBrk="0" hangingPunct="1">
              <a:lnSpc>
                <a:spcPts val="2199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55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7296150" y="1201147"/>
            <a:ext cx="4600362" cy="4999652"/>
          </a:xfrm>
          <a:custGeom>
            <a:avLst/>
            <a:gdLst>
              <a:gd name="connsiteX0" fmla="*/ 0 w 4600362"/>
              <a:gd name="connsiteY0" fmla="*/ 0 h 4999652"/>
              <a:gd name="connsiteX1" fmla="*/ 4504373 w 4600362"/>
              <a:gd name="connsiteY1" fmla="*/ 0 h 4999652"/>
              <a:gd name="connsiteX2" fmla="*/ 4536051 w 4600362"/>
              <a:gd name="connsiteY2" fmla="*/ 4129 h 4999652"/>
              <a:gd name="connsiteX3" fmla="*/ 4600362 w 4600362"/>
              <a:gd name="connsiteY3" fmla="*/ 96109 h 4999652"/>
              <a:gd name="connsiteX4" fmla="*/ 4600362 w 4600362"/>
              <a:gd name="connsiteY4" fmla="*/ 335164 h 4999652"/>
              <a:gd name="connsiteX5" fmla="*/ 4600362 w 4600362"/>
              <a:gd name="connsiteY5" fmla="*/ 370349 h 4999652"/>
              <a:gd name="connsiteX6" fmla="*/ 4600362 w 4600362"/>
              <a:gd name="connsiteY6" fmla="*/ 379203 h 4999652"/>
              <a:gd name="connsiteX7" fmla="*/ 4600362 w 4600362"/>
              <a:gd name="connsiteY7" fmla="*/ 400047 h 4999652"/>
              <a:gd name="connsiteX8" fmla="*/ 4600362 w 4600362"/>
              <a:gd name="connsiteY8" fmla="*/ 400231 h 4999652"/>
              <a:gd name="connsiteX9" fmla="*/ 4600362 w 4600362"/>
              <a:gd name="connsiteY9" fmla="*/ 471201 h 4999652"/>
              <a:gd name="connsiteX10" fmla="*/ 4600362 w 4600362"/>
              <a:gd name="connsiteY10" fmla="*/ 475720 h 4999652"/>
              <a:gd name="connsiteX11" fmla="*/ 4600362 w 4600362"/>
              <a:gd name="connsiteY11" fmla="*/ 508691 h 4999652"/>
              <a:gd name="connsiteX12" fmla="*/ 4600362 w 4600362"/>
              <a:gd name="connsiteY12" fmla="*/ 554483 h 4999652"/>
              <a:gd name="connsiteX13" fmla="*/ 4600362 w 4600362"/>
              <a:gd name="connsiteY13" fmla="*/ 563014 h 4999652"/>
              <a:gd name="connsiteX14" fmla="*/ 4600362 w 4600362"/>
              <a:gd name="connsiteY14" fmla="*/ 609404 h 4999652"/>
              <a:gd name="connsiteX15" fmla="*/ 4600362 w 4600362"/>
              <a:gd name="connsiteY15" fmla="*/ 662758 h 4999652"/>
              <a:gd name="connsiteX16" fmla="*/ 4600362 w 4600362"/>
              <a:gd name="connsiteY16" fmla="*/ 674287 h 4999652"/>
              <a:gd name="connsiteX17" fmla="*/ 4600362 w 4600362"/>
              <a:gd name="connsiteY17" fmla="*/ 749960 h 4999652"/>
              <a:gd name="connsiteX18" fmla="*/ 4600362 w 4600362"/>
              <a:gd name="connsiteY18" fmla="*/ 775784 h 4999652"/>
              <a:gd name="connsiteX19" fmla="*/ 4600362 w 4600362"/>
              <a:gd name="connsiteY19" fmla="*/ 837254 h 4999652"/>
              <a:gd name="connsiteX20" fmla="*/ 4600362 w 4600362"/>
              <a:gd name="connsiteY20" fmla="*/ 902920 h 4999652"/>
              <a:gd name="connsiteX21" fmla="*/ 4600362 w 4600362"/>
              <a:gd name="connsiteY21" fmla="*/ 936998 h 4999652"/>
              <a:gd name="connsiteX22" fmla="*/ 4600362 w 4600362"/>
              <a:gd name="connsiteY22" fmla="*/ 1044998 h 4999652"/>
              <a:gd name="connsiteX23" fmla="*/ 4600362 w 4600362"/>
              <a:gd name="connsiteY23" fmla="*/ 1050024 h 4999652"/>
              <a:gd name="connsiteX24" fmla="*/ 4600362 w 4600362"/>
              <a:gd name="connsiteY24" fmla="*/ 1177160 h 4999652"/>
              <a:gd name="connsiteX25" fmla="*/ 4600362 w 4600362"/>
              <a:gd name="connsiteY25" fmla="*/ 1202846 h 4999652"/>
              <a:gd name="connsiteX26" fmla="*/ 4600362 w 4600362"/>
              <a:gd name="connsiteY26" fmla="*/ 1319238 h 4999652"/>
              <a:gd name="connsiteX27" fmla="*/ 4600362 w 4600362"/>
              <a:gd name="connsiteY27" fmla="*/ 1377295 h 4999652"/>
              <a:gd name="connsiteX28" fmla="*/ 4600362 w 4600362"/>
              <a:gd name="connsiteY28" fmla="*/ 1477086 h 4999652"/>
              <a:gd name="connsiteX29" fmla="*/ 4600362 w 4600362"/>
              <a:gd name="connsiteY29" fmla="*/ 1569176 h 4999652"/>
              <a:gd name="connsiteX30" fmla="*/ 4600362 w 4600362"/>
              <a:gd name="connsiteY30" fmla="*/ 1651535 h 4999652"/>
              <a:gd name="connsiteX31" fmla="*/ 4600362 w 4600362"/>
              <a:gd name="connsiteY31" fmla="*/ 1779317 h 4999652"/>
              <a:gd name="connsiteX32" fmla="*/ 4600362 w 4600362"/>
              <a:gd name="connsiteY32" fmla="*/ 1843416 h 4999652"/>
              <a:gd name="connsiteX33" fmla="*/ 4600362 w 4600362"/>
              <a:gd name="connsiteY33" fmla="*/ 2008550 h 4999652"/>
              <a:gd name="connsiteX34" fmla="*/ 4600362 w 4600362"/>
              <a:gd name="connsiteY34" fmla="*/ 2053557 h 4999652"/>
              <a:gd name="connsiteX35" fmla="*/ 4600362 w 4600362"/>
              <a:gd name="connsiteY35" fmla="*/ 2257704 h 4999652"/>
              <a:gd name="connsiteX36" fmla="*/ 4600362 w 4600362"/>
              <a:gd name="connsiteY36" fmla="*/ 2282790 h 4999652"/>
              <a:gd name="connsiteX37" fmla="*/ 4600362 w 4600362"/>
              <a:gd name="connsiteY37" fmla="*/ 2527609 h 4999652"/>
              <a:gd name="connsiteX38" fmla="*/ 4600362 w 4600362"/>
              <a:gd name="connsiteY38" fmla="*/ 2531944 h 4999652"/>
              <a:gd name="connsiteX39" fmla="*/ 4600362 w 4600362"/>
              <a:gd name="connsiteY39" fmla="*/ 2801850 h 4999652"/>
              <a:gd name="connsiteX40" fmla="*/ 4600362 w 4600362"/>
              <a:gd name="connsiteY40" fmla="*/ 2819096 h 4999652"/>
              <a:gd name="connsiteX41" fmla="*/ 4600362 w 4600362"/>
              <a:gd name="connsiteY41" fmla="*/ 3093336 h 4999652"/>
              <a:gd name="connsiteX42" fmla="*/ 4600362 w 4600362"/>
              <a:gd name="connsiteY42" fmla="*/ 3132994 h 4999652"/>
              <a:gd name="connsiteX43" fmla="*/ 4600362 w 4600362"/>
              <a:gd name="connsiteY43" fmla="*/ 3407235 h 4999652"/>
              <a:gd name="connsiteX44" fmla="*/ 4600362 w 4600362"/>
              <a:gd name="connsiteY44" fmla="*/ 3470134 h 4999652"/>
              <a:gd name="connsiteX45" fmla="*/ 4600362 w 4600362"/>
              <a:gd name="connsiteY45" fmla="*/ 3744374 h 4999652"/>
              <a:gd name="connsiteX46" fmla="*/ 4600362 w 4600362"/>
              <a:gd name="connsiteY46" fmla="*/ 3831345 h 4999652"/>
              <a:gd name="connsiteX47" fmla="*/ 4600362 w 4600362"/>
              <a:gd name="connsiteY47" fmla="*/ 4105585 h 4999652"/>
              <a:gd name="connsiteX48" fmla="*/ 4600362 w 4600362"/>
              <a:gd name="connsiteY48" fmla="*/ 4217458 h 4999652"/>
              <a:gd name="connsiteX49" fmla="*/ 4600362 w 4600362"/>
              <a:gd name="connsiteY49" fmla="*/ 4491698 h 4999652"/>
              <a:gd name="connsiteX50" fmla="*/ 4600362 w 4600362"/>
              <a:gd name="connsiteY50" fmla="*/ 4629302 h 4999652"/>
              <a:gd name="connsiteX51" fmla="*/ 4600362 w 4600362"/>
              <a:gd name="connsiteY51" fmla="*/ 4903542 h 4999652"/>
              <a:gd name="connsiteX52" fmla="*/ 4504365 w 4600362"/>
              <a:gd name="connsiteY52" fmla="*/ 4999652 h 4999652"/>
              <a:gd name="connsiteX53" fmla="*/ 144766 w 4600362"/>
              <a:gd name="connsiteY53" fmla="*/ 4999652 h 4999652"/>
              <a:gd name="connsiteX54" fmla="*/ 0 w 4600362"/>
              <a:gd name="connsiteY54" fmla="*/ 4999652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600362" h="4999652">
                <a:moveTo>
                  <a:pt x="0" y="0"/>
                </a:moveTo>
                <a:lnTo>
                  <a:pt x="4504373" y="0"/>
                </a:lnTo>
                <a:lnTo>
                  <a:pt x="4536051" y="4129"/>
                </a:lnTo>
                <a:cubicBezTo>
                  <a:pt x="4600362" y="22525"/>
                  <a:pt x="4600362" y="96109"/>
                  <a:pt x="4600362" y="96109"/>
                </a:cubicBezTo>
                <a:cubicBezTo>
                  <a:pt x="4600362" y="96109"/>
                  <a:pt x="4600362" y="96109"/>
                  <a:pt x="4600362" y="335164"/>
                </a:cubicBezTo>
                <a:lnTo>
                  <a:pt x="4600362" y="370349"/>
                </a:lnTo>
                <a:cubicBezTo>
                  <a:pt x="4600362" y="370349"/>
                  <a:pt x="4600362" y="370349"/>
                  <a:pt x="4600362" y="379203"/>
                </a:cubicBezTo>
                <a:lnTo>
                  <a:pt x="4600362" y="400047"/>
                </a:lnTo>
                <a:lnTo>
                  <a:pt x="4600362" y="400231"/>
                </a:lnTo>
                <a:cubicBezTo>
                  <a:pt x="4600362" y="415172"/>
                  <a:pt x="4600362" y="437584"/>
                  <a:pt x="4600362" y="471201"/>
                </a:cubicBezTo>
                <a:lnTo>
                  <a:pt x="4600362" y="475720"/>
                </a:lnTo>
                <a:lnTo>
                  <a:pt x="4600362" y="508691"/>
                </a:lnTo>
                <a:cubicBezTo>
                  <a:pt x="4600362" y="522526"/>
                  <a:pt x="4600362" y="537743"/>
                  <a:pt x="4600362" y="554483"/>
                </a:cubicBezTo>
                <a:lnTo>
                  <a:pt x="4600362" y="563014"/>
                </a:lnTo>
                <a:lnTo>
                  <a:pt x="4600362" y="609404"/>
                </a:lnTo>
                <a:lnTo>
                  <a:pt x="4600362" y="662758"/>
                </a:lnTo>
                <a:lnTo>
                  <a:pt x="4600362" y="674287"/>
                </a:lnTo>
                <a:cubicBezTo>
                  <a:pt x="4600362" y="697667"/>
                  <a:pt x="4600362" y="722845"/>
                  <a:pt x="4600362" y="749960"/>
                </a:cubicBezTo>
                <a:lnTo>
                  <a:pt x="4600362" y="775784"/>
                </a:lnTo>
                <a:lnTo>
                  <a:pt x="4600362" y="837254"/>
                </a:lnTo>
                <a:lnTo>
                  <a:pt x="4600362" y="902920"/>
                </a:lnTo>
                <a:lnTo>
                  <a:pt x="4600362" y="936998"/>
                </a:lnTo>
                <a:lnTo>
                  <a:pt x="4600362" y="1044998"/>
                </a:lnTo>
                <a:lnTo>
                  <a:pt x="4600362" y="1050024"/>
                </a:lnTo>
                <a:cubicBezTo>
                  <a:pt x="4600362" y="1090005"/>
                  <a:pt x="4600362" y="1132337"/>
                  <a:pt x="4600362" y="1177160"/>
                </a:cubicBezTo>
                <a:lnTo>
                  <a:pt x="4600362" y="1202846"/>
                </a:lnTo>
                <a:lnTo>
                  <a:pt x="4600362" y="1319238"/>
                </a:lnTo>
                <a:lnTo>
                  <a:pt x="4600362" y="1377295"/>
                </a:lnTo>
                <a:lnTo>
                  <a:pt x="4600362" y="1477086"/>
                </a:lnTo>
                <a:lnTo>
                  <a:pt x="4600362" y="1569176"/>
                </a:lnTo>
                <a:lnTo>
                  <a:pt x="4600362" y="1651535"/>
                </a:lnTo>
                <a:lnTo>
                  <a:pt x="4600362" y="1779317"/>
                </a:lnTo>
                <a:lnTo>
                  <a:pt x="4600362" y="1843416"/>
                </a:lnTo>
                <a:lnTo>
                  <a:pt x="4600362" y="2008550"/>
                </a:lnTo>
                <a:lnTo>
                  <a:pt x="4600362" y="2053557"/>
                </a:lnTo>
                <a:lnTo>
                  <a:pt x="4600362" y="2257704"/>
                </a:lnTo>
                <a:lnTo>
                  <a:pt x="4600362" y="2282790"/>
                </a:lnTo>
                <a:lnTo>
                  <a:pt x="4600362" y="2527609"/>
                </a:lnTo>
                <a:lnTo>
                  <a:pt x="4600362" y="2531944"/>
                </a:lnTo>
                <a:cubicBezTo>
                  <a:pt x="4600362" y="2618408"/>
                  <a:pt x="4600362" y="2708330"/>
                  <a:pt x="4600362" y="2801850"/>
                </a:cubicBezTo>
                <a:lnTo>
                  <a:pt x="4600362" y="2819096"/>
                </a:lnTo>
                <a:lnTo>
                  <a:pt x="4600362" y="3093336"/>
                </a:lnTo>
                <a:lnTo>
                  <a:pt x="4600362" y="3132994"/>
                </a:lnTo>
                <a:lnTo>
                  <a:pt x="4600362" y="3407235"/>
                </a:lnTo>
                <a:lnTo>
                  <a:pt x="4600362" y="3470134"/>
                </a:lnTo>
                <a:lnTo>
                  <a:pt x="4600362" y="3744374"/>
                </a:lnTo>
                <a:lnTo>
                  <a:pt x="4600362" y="3831345"/>
                </a:lnTo>
                <a:lnTo>
                  <a:pt x="4600362" y="4105585"/>
                </a:lnTo>
                <a:lnTo>
                  <a:pt x="4600362" y="4217458"/>
                </a:lnTo>
                <a:lnTo>
                  <a:pt x="4600362" y="4491698"/>
                </a:lnTo>
                <a:lnTo>
                  <a:pt x="4600362" y="4629302"/>
                </a:lnTo>
                <a:lnTo>
                  <a:pt x="4600362" y="4903542"/>
                </a:lnTo>
                <a:cubicBezTo>
                  <a:pt x="4600362" y="4999652"/>
                  <a:pt x="4504365" y="4999652"/>
                  <a:pt x="4504365" y="4999652"/>
                </a:cubicBezTo>
                <a:cubicBezTo>
                  <a:pt x="4504365" y="4999652"/>
                  <a:pt x="4504365" y="4999652"/>
                  <a:pt x="144766" y="4999652"/>
                </a:cubicBezTo>
                <a:lnTo>
                  <a:pt x="0" y="4999652"/>
                </a:lnTo>
                <a:close/>
              </a:path>
            </a:pathLst>
          </a:custGeom>
          <a:noFill/>
        </p:spPr>
        <p:txBody>
          <a:bodyPr wrap="square" tIns="107990">
            <a:noAutofit/>
          </a:bodyPr>
          <a:lstStyle/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7625644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308">
          <p15:clr>
            <a:srgbClr val="FBAE40"/>
          </p15:clr>
        </p15:guide>
        <p15:guide id="2" pos="4596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9"/>
          <p:cNvSpPr>
            <a:spLocks noChangeAspect="1"/>
          </p:cNvSpPr>
          <p:nvPr userDrawn="1"/>
        </p:nvSpPr>
        <p:spPr bwMode="gray">
          <a:xfrm>
            <a:off x="0" y="1695450"/>
            <a:ext cx="11350800" cy="2382290"/>
          </a:xfrm>
          <a:custGeom>
            <a:avLst/>
            <a:gdLst>
              <a:gd name="T0" fmla="*/ 0 w 2680"/>
              <a:gd name="T1" fmla="*/ 560 h 560"/>
              <a:gd name="T2" fmla="*/ 2648 w 2680"/>
              <a:gd name="T3" fmla="*/ 560 h 560"/>
              <a:gd name="T4" fmla="*/ 2680 w 2680"/>
              <a:gd name="T5" fmla="*/ 528 h 560"/>
              <a:gd name="T6" fmla="*/ 2680 w 2680"/>
              <a:gd name="T7" fmla="*/ 32 h 560"/>
              <a:gd name="T8" fmla="*/ 2648 w 2680"/>
              <a:gd name="T9" fmla="*/ 0 h 560"/>
              <a:gd name="T10" fmla="*/ 0 w 2680"/>
              <a:gd name="T11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0" h="560">
                <a:moveTo>
                  <a:pt x="0" y="560"/>
                </a:moveTo>
                <a:cubicBezTo>
                  <a:pt x="2648" y="560"/>
                  <a:pt x="2648" y="560"/>
                  <a:pt x="2648" y="560"/>
                </a:cubicBezTo>
                <a:cubicBezTo>
                  <a:pt x="2648" y="560"/>
                  <a:pt x="2680" y="560"/>
                  <a:pt x="2680" y="528"/>
                </a:cubicBezTo>
                <a:cubicBezTo>
                  <a:pt x="2680" y="32"/>
                  <a:pt x="2680" y="32"/>
                  <a:pt x="2680" y="32"/>
                </a:cubicBezTo>
                <a:cubicBezTo>
                  <a:pt x="2680" y="32"/>
                  <a:pt x="2680" y="0"/>
                  <a:pt x="264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842434" y="1695452"/>
            <a:ext cx="10313209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Orang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55, 98, 0</a:t>
              </a: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ght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68, 168, 168</a:t>
              </a:r>
            </a:p>
          </p:txBody>
        </p:sp>
        <p:sp>
          <p:nvSpPr>
            <p:cNvPr id="16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Indigo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82, 81, 153</a:t>
              </a:r>
            </a:p>
          </p:txBody>
        </p:sp>
        <p:sp>
          <p:nvSpPr>
            <p:cNvPr id="18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Sk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96, 166, 218</a:t>
              </a:r>
            </a:p>
          </p:txBody>
        </p:sp>
        <p:sp>
          <p:nvSpPr>
            <p:cNvPr id="20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>
                  <a:solidFill>
                    <a:srgbClr val="333333"/>
                  </a:solidFill>
                </a:rPr>
                <a:t>Colour Guidelines</a:t>
              </a:r>
            </a:p>
          </p:txBody>
        </p:sp>
        <p:sp>
          <p:nvSpPr>
            <p:cNvPr id="21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Fuchsia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71, 0, 102</a:t>
              </a:r>
            </a:p>
          </p:txBody>
        </p:sp>
        <p:sp>
          <p:nvSpPr>
            <p:cNvPr id="23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m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08, 217, 60</a:t>
              </a:r>
            </a:p>
          </p:txBody>
        </p:sp>
        <p:sp>
          <p:nvSpPr>
            <p:cNvPr id="25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eaf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2, 150, 81</a:t>
              </a:r>
            </a:p>
          </p:txBody>
        </p:sp>
        <p:sp>
          <p:nvSpPr>
            <p:cNvPr id="27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Mid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18, 118, 118</a:t>
              </a:r>
            </a:p>
          </p:txBody>
        </p:sp>
        <p:sp>
          <p:nvSpPr>
            <p:cNvPr id="29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0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Text Colour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1, 51, 51</a:t>
              </a: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3433" y="6358070"/>
            <a:ext cx="1183250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581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7"/>
          <p:cNvSpPr>
            <a:spLocks noGrp="1"/>
          </p:cNvSpPr>
          <p:nvPr>
            <p:ph type="pic" sz="quarter" idx="16"/>
          </p:nvPr>
        </p:nvSpPr>
        <p:spPr bwMode="gray">
          <a:xfrm>
            <a:off x="696912" y="1696719"/>
            <a:ext cx="11199600" cy="4504080"/>
          </a:xfrm>
          <a:custGeom>
            <a:avLst/>
            <a:gdLst>
              <a:gd name="connsiteX0" fmla="*/ 95997 w 11199600"/>
              <a:gd name="connsiteY0" fmla="*/ 0 h 4504080"/>
              <a:gd name="connsiteX1" fmla="*/ 11103603 w 11199600"/>
              <a:gd name="connsiteY1" fmla="*/ 0 h 4504080"/>
              <a:gd name="connsiteX2" fmla="*/ 11199600 w 11199600"/>
              <a:gd name="connsiteY2" fmla="*/ 96110 h 4504080"/>
              <a:gd name="connsiteX3" fmla="*/ 11199600 w 11199600"/>
              <a:gd name="connsiteY3" fmla="*/ 335165 h 4504080"/>
              <a:gd name="connsiteX4" fmla="*/ 11199600 w 11199600"/>
              <a:gd name="connsiteY4" fmla="*/ 370350 h 4504080"/>
              <a:gd name="connsiteX5" fmla="*/ 11199600 w 11199600"/>
              <a:gd name="connsiteY5" fmla="*/ 379204 h 4504080"/>
              <a:gd name="connsiteX6" fmla="*/ 11199600 w 11199600"/>
              <a:gd name="connsiteY6" fmla="*/ 400048 h 4504080"/>
              <a:gd name="connsiteX7" fmla="*/ 11199600 w 11199600"/>
              <a:gd name="connsiteY7" fmla="*/ 400232 h 4504080"/>
              <a:gd name="connsiteX8" fmla="*/ 11199600 w 11199600"/>
              <a:gd name="connsiteY8" fmla="*/ 471202 h 4504080"/>
              <a:gd name="connsiteX9" fmla="*/ 11199600 w 11199600"/>
              <a:gd name="connsiteY9" fmla="*/ 475721 h 4504080"/>
              <a:gd name="connsiteX10" fmla="*/ 11199600 w 11199600"/>
              <a:gd name="connsiteY10" fmla="*/ 508692 h 4504080"/>
              <a:gd name="connsiteX11" fmla="*/ 11199600 w 11199600"/>
              <a:gd name="connsiteY11" fmla="*/ 554484 h 4504080"/>
              <a:gd name="connsiteX12" fmla="*/ 11199600 w 11199600"/>
              <a:gd name="connsiteY12" fmla="*/ 563015 h 4504080"/>
              <a:gd name="connsiteX13" fmla="*/ 11199600 w 11199600"/>
              <a:gd name="connsiteY13" fmla="*/ 609405 h 4504080"/>
              <a:gd name="connsiteX14" fmla="*/ 11199600 w 11199600"/>
              <a:gd name="connsiteY14" fmla="*/ 662759 h 4504080"/>
              <a:gd name="connsiteX15" fmla="*/ 11199600 w 11199600"/>
              <a:gd name="connsiteY15" fmla="*/ 674288 h 4504080"/>
              <a:gd name="connsiteX16" fmla="*/ 11199600 w 11199600"/>
              <a:gd name="connsiteY16" fmla="*/ 749961 h 4504080"/>
              <a:gd name="connsiteX17" fmla="*/ 11199600 w 11199600"/>
              <a:gd name="connsiteY17" fmla="*/ 775785 h 4504080"/>
              <a:gd name="connsiteX18" fmla="*/ 11199600 w 11199600"/>
              <a:gd name="connsiteY18" fmla="*/ 837255 h 4504080"/>
              <a:gd name="connsiteX19" fmla="*/ 11199600 w 11199600"/>
              <a:gd name="connsiteY19" fmla="*/ 902921 h 4504080"/>
              <a:gd name="connsiteX20" fmla="*/ 11199600 w 11199600"/>
              <a:gd name="connsiteY20" fmla="*/ 936999 h 4504080"/>
              <a:gd name="connsiteX21" fmla="*/ 11199600 w 11199600"/>
              <a:gd name="connsiteY21" fmla="*/ 1044999 h 4504080"/>
              <a:gd name="connsiteX22" fmla="*/ 11199600 w 11199600"/>
              <a:gd name="connsiteY22" fmla="*/ 1050025 h 4504080"/>
              <a:gd name="connsiteX23" fmla="*/ 11199600 w 11199600"/>
              <a:gd name="connsiteY23" fmla="*/ 1177161 h 4504080"/>
              <a:gd name="connsiteX24" fmla="*/ 11199600 w 11199600"/>
              <a:gd name="connsiteY24" fmla="*/ 1202847 h 4504080"/>
              <a:gd name="connsiteX25" fmla="*/ 11199600 w 11199600"/>
              <a:gd name="connsiteY25" fmla="*/ 1319239 h 4504080"/>
              <a:gd name="connsiteX26" fmla="*/ 11199600 w 11199600"/>
              <a:gd name="connsiteY26" fmla="*/ 1377296 h 4504080"/>
              <a:gd name="connsiteX27" fmla="*/ 11199600 w 11199600"/>
              <a:gd name="connsiteY27" fmla="*/ 1477087 h 4504080"/>
              <a:gd name="connsiteX28" fmla="*/ 11199600 w 11199600"/>
              <a:gd name="connsiteY28" fmla="*/ 1569177 h 4504080"/>
              <a:gd name="connsiteX29" fmla="*/ 11199600 w 11199600"/>
              <a:gd name="connsiteY29" fmla="*/ 1626118 h 4504080"/>
              <a:gd name="connsiteX30" fmla="*/ 11199600 w 11199600"/>
              <a:gd name="connsiteY30" fmla="*/ 1651536 h 4504080"/>
              <a:gd name="connsiteX31" fmla="*/ 11199600 w 11199600"/>
              <a:gd name="connsiteY31" fmla="*/ 1762133 h 4504080"/>
              <a:gd name="connsiteX32" fmla="*/ 11199600 w 11199600"/>
              <a:gd name="connsiteY32" fmla="*/ 1779318 h 4504080"/>
              <a:gd name="connsiteX33" fmla="*/ 11199600 w 11199600"/>
              <a:gd name="connsiteY33" fmla="*/ 1787219 h 4504080"/>
              <a:gd name="connsiteX34" fmla="*/ 11199600 w 11199600"/>
              <a:gd name="connsiteY34" fmla="*/ 1843417 h 4504080"/>
              <a:gd name="connsiteX35" fmla="*/ 11199600 w 11199600"/>
              <a:gd name="connsiteY35" fmla="*/ 1984894 h 4504080"/>
              <a:gd name="connsiteX36" fmla="*/ 11199600 w 11199600"/>
              <a:gd name="connsiteY36" fmla="*/ 2032038 h 4504080"/>
              <a:gd name="connsiteX37" fmla="*/ 11199600 w 11199600"/>
              <a:gd name="connsiteY37" fmla="*/ 2036373 h 4504080"/>
              <a:gd name="connsiteX38" fmla="*/ 11199600 w 11199600"/>
              <a:gd name="connsiteY38" fmla="*/ 2306279 h 4504080"/>
              <a:gd name="connsiteX39" fmla="*/ 11199600 w 11199600"/>
              <a:gd name="connsiteY39" fmla="*/ 2323525 h 4504080"/>
              <a:gd name="connsiteX40" fmla="*/ 11199600 w 11199600"/>
              <a:gd name="connsiteY40" fmla="*/ 2597765 h 4504080"/>
              <a:gd name="connsiteX41" fmla="*/ 11199600 w 11199600"/>
              <a:gd name="connsiteY41" fmla="*/ 2637423 h 4504080"/>
              <a:gd name="connsiteX42" fmla="*/ 11199600 w 11199600"/>
              <a:gd name="connsiteY42" fmla="*/ 2911664 h 4504080"/>
              <a:gd name="connsiteX43" fmla="*/ 11199600 w 11199600"/>
              <a:gd name="connsiteY43" fmla="*/ 2974563 h 4504080"/>
              <a:gd name="connsiteX44" fmla="*/ 11199600 w 11199600"/>
              <a:gd name="connsiteY44" fmla="*/ 3248803 h 4504080"/>
              <a:gd name="connsiteX45" fmla="*/ 11199600 w 11199600"/>
              <a:gd name="connsiteY45" fmla="*/ 3335774 h 4504080"/>
              <a:gd name="connsiteX46" fmla="*/ 11199600 w 11199600"/>
              <a:gd name="connsiteY46" fmla="*/ 3610014 h 4504080"/>
              <a:gd name="connsiteX47" fmla="*/ 11199600 w 11199600"/>
              <a:gd name="connsiteY47" fmla="*/ 3721887 h 4504080"/>
              <a:gd name="connsiteX48" fmla="*/ 11199600 w 11199600"/>
              <a:gd name="connsiteY48" fmla="*/ 3996127 h 4504080"/>
              <a:gd name="connsiteX49" fmla="*/ 11199600 w 11199600"/>
              <a:gd name="connsiteY49" fmla="*/ 4133731 h 4504080"/>
              <a:gd name="connsiteX50" fmla="*/ 11199600 w 11199600"/>
              <a:gd name="connsiteY50" fmla="*/ 4407971 h 4504080"/>
              <a:gd name="connsiteX51" fmla="*/ 11118603 w 11199600"/>
              <a:gd name="connsiteY51" fmla="*/ 4502580 h 4504080"/>
              <a:gd name="connsiteX52" fmla="*/ 11103613 w 11199600"/>
              <a:gd name="connsiteY52" fmla="*/ 4504080 h 4504080"/>
              <a:gd name="connsiteX53" fmla="*/ 95989 w 11199600"/>
              <a:gd name="connsiteY53" fmla="*/ 4504080 h 4504080"/>
              <a:gd name="connsiteX54" fmla="*/ 64311 w 11199600"/>
              <a:gd name="connsiteY54" fmla="*/ 4499952 h 4504080"/>
              <a:gd name="connsiteX55" fmla="*/ 0 w 11199600"/>
              <a:gd name="connsiteY55" fmla="*/ 4407971 h 4504080"/>
              <a:gd name="connsiteX56" fmla="*/ 0 w 11199600"/>
              <a:gd name="connsiteY56" fmla="*/ 4404236 h 4504080"/>
              <a:gd name="connsiteX57" fmla="*/ 0 w 11199600"/>
              <a:gd name="connsiteY57" fmla="*/ 4395365 h 4504080"/>
              <a:gd name="connsiteX58" fmla="*/ 0 w 11199600"/>
              <a:gd name="connsiteY58" fmla="*/ 4378089 h 4504080"/>
              <a:gd name="connsiteX59" fmla="*/ 0 w 11199600"/>
              <a:gd name="connsiteY59" fmla="*/ 4349608 h 4504080"/>
              <a:gd name="connsiteX60" fmla="*/ 0 w 11199600"/>
              <a:gd name="connsiteY60" fmla="*/ 4307120 h 4504080"/>
              <a:gd name="connsiteX61" fmla="*/ 0 w 11199600"/>
              <a:gd name="connsiteY61" fmla="*/ 4247823 h 4504080"/>
              <a:gd name="connsiteX62" fmla="*/ 0 w 11199600"/>
              <a:gd name="connsiteY62" fmla="*/ 4168916 h 4504080"/>
              <a:gd name="connsiteX63" fmla="*/ 0 w 11199600"/>
              <a:gd name="connsiteY63" fmla="*/ 4133731 h 4504080"/>
              <a:gd name="connsiteX64" fmla="*/ 0 w 11199600"/>
              <a:gd name="connsiteY64" fmla="*/ 4132625 h 4504080"/>
              <a:gd name="connsiteX65" fmla="*/ 0 w 11199600"/>
              <a:gd name="connsiteY65" fmla="*/ 4124877 h 4504080"/>
              <a:gd name="connsiteX66" fmla="*/ 0 w 11199600"/>
              <a:gd name="connsiteY66" fmla="*/ 4104034 h 4504080"/>
              <a:gd name="connsiteX67" fmla="*/ 0 w 11199600"/>
              <a:gd name="connsiteY67" fmla="*/ 4103849 h 4504080"/>
              <a:gd name="connsiteX68" fmla="*/ 0 w 11199600"/>
              <a:gd name="connsiteY68" fmla="*/ 4062900 h 4504080"/>
              <a:gd name="connsiteX69" fmla="*/ 0 w 11199600"/>
              <a:gd name="connsiteY69" fmla="*/ 4032880 h 4504080"/>
              <a:gd name="connsiteX70" fmla="*/ 0 w 11199600"/>
              <a:gd name="connsiteY70" fmla="*/ 4028361 h 4504080"/>
              <a:gd name="connsiteX71" fmla="*/ 0 w 11199600"/>
              <a:gd name="connsiteY71" fmla="*/ 3995389 h 4504080"/>
              <a:gd name="connsiteX72" fmla="*/ 0 w 11199600"/>
              <a:gd name="connsiteY72" fmla="*/ 3949598 h 4504080"/>
              <a:gd name="connsiteX73" fmla="*/ 0 w 11199600"/>
              <a:gd name="connsiteY73" fmla="*/ 3941067 h 4504080"/>
              <a:gd name="connsiteX74" fmla="*/ 0 w 11199600"/>
              <a:gd name="connsiteY74" fmla="*/ 3894676 h 4504080"/>
              <a:gd name="connsiteX75" fmla="*/ 0 w 11199600"/>
              <a:gd name="connsiteY75" fmla="*/ 3841322 h 4504080"/>
              <a:gd name="connsiteX76" fmla="*/ 0 w 11199600"/>
              <a:gd name="connsiteY76" fmla="*/ 3829794 h 4504080"/>
              <a:gd name="connsiteX77" fmla="*/ 0 w 11199600"/>
              <a:gd name="connsiteY77" fmla="*/ 3754121 h 4504080"/>
              <a:gd name="connsiteX78" fmla="*/ 0 w 11199600"/>
              <a:gd name="connsiteY78" fmla="*/ 3728297 h 4504080"/>
              <a:gd name="connsiteX79" fmla="*/ 0 w 11199600"/>
              <a:gd name="connsiteY79" fmla="*/ 3666827 h 4504080"/>
              <a:gd name="connsiteX80" fmla="*/ 0 w 11199600"/>
              <a:gd name="connsiteY80" fmla="*/ 3601160 h 4504080"/>
              <a:gd name="connsiteX81" fmla="*/ 0 w 11199600"/>
              <a:gd name="connsiteY81" fmla="*/ 3567082 h 4504080"/>
              <a:gd name="connsiteX82" fmla="*/ 0 w 11199600"/>
              <a:gd name="connsiteY82" fmla="*/ 3459083 h 4504080"/>
              <a:gd name="connsiteX83" fmla="*/ 0 w 11199600"/>
              <a:gd name="connsiteY83" fmla="*/ 3454057 h 4504080"/>
              <a:gd name="connsiteX84" fmla="*/ 0 w 11199600"/>
              <a:gd name="connsiteY84" fmla="*/ 3326920 h 4504080"/>
              <a:gd name="connsiteX85" fmla="*/ 0 w 11199600"/>
              <a:gd name="connsiteY85" fmla="*/ 3301235 h 4504080"/>
              <a:gd name="connsiteX86" fmla="*/ 0 w 11199600"/>
              <a:gd name="connsiteY86" fmla="*/ 3184843 h 4504080"/>
              <a:gd name="connsiteX87" fmla="*/ 0 w 11199600"/>
              <a:gd name="connsiteY87" fmla="*/ 3126785 h 4504080"/>
              <a:gd name="connsiteX88" fmla="*/ 0 w 11199600"/>
              <a:gd name="connsiteY88" fmla="*/ 3026995 h 4504080"/>
              <a:gd name="connsiteX89" fmla="*/ 0 w 11199600"/>
              <a:gd name="connsiteY89" fmla="*/ 2934905 h 4504080"/>
              <a:gd name="connsiteX90" fmla="*/ 0 w 11199600"/>
              <a:gd name="connsiteY90" fmla="*/ 2852545 h 4504080"/>
              <a:gd name="connsiteX91" fmla="*/ 0 w 11199600"/>
              <a:gd name="connsiteY91" fmla="*/ 2724763 h 4504080"/>
              <a:gd name="connsiteX92" fmla="*/ 0 w 11199600"/>
              <a:gd name="connsiteY92" fmla="*/ 2660665 h 4504080"/>
              <a:gd name="connsiteX93" fmla="*/ 0 w 11199600"/>
              <a:gd name="connsiteY93" fmla="*/ 2495530 h 4504080"/>
              <a:gd name="connsiteX94" fmla="*/ 0 w 11199600"/>
              <a:gd name="connsiteY94" fmla="*/ 2450523 h 4504080"/>
              <a:gd name="connsiteX95" fmla="*/ 0 w 11199600"/>
              <a:gd name="connsiteY95" fmla="*/ 2246376 h 4504080"/>
              <a:gd name="connsiteX96" fmla="*/ 0 w 11199600"/>
              <a:gd name="connsiteY96" fmla="*/ 2221290 h 4504080"/>
              <a:gd name="connsiteX97" fmla="*/ 0 w 11199600"/>
              <a:gd name="connsiteY97" fmla="*/ 1984894 h 4504080"/>
              <a:gd name="connsiteX98" fmla="*/ 0 w 11199600"/>
              <a:gd name="connsiteY98" fmla="*/ 1976471 h 4504080"/>
              <a:gd name="connsiteX99" fmla="*/ 0 w 11199600"/>
              <a:gd name="connsiteY99" fmla="*/ 1972136 h 4504080"/>
              <a:gd name="connsiteX100" fmla="*/ 0 w 11199600"/>
              <a:gd name="connsiteY100" fmla="*/ 1906316 h 4504080"/>
              <a:gd name="connsiteX101" fmla="*/ 0 w 11199600"/>
              <a:gd name="connsiteY101" fmla="*/ 1866658 h 4504080"/>
              <a:gd name="connsiteX102" fmla="*/ 0 w 11199600"/>
              <a:gd name="connsiteY102" fmla="*/ 1702231 h 4504080"/>
              <a:gd name="connsiteX103" fmla="*/ 0 w 11199600"/>
              <a:gd name="connsiteY103" fmla="*/ 1684984 h 4504080"/>
              <a:gd name="connsiteX104" fmla="*/ 0 w 11199600"/>
              <a:gd name="connsiteY104" fmla="*/ 1626118 h 4504080"/>
              <a:gd name="connsiteX105" fmla="*/ 0 w 11199600"/>
              <a:gd name="connsiteY105" fmla="*/ 1592418 h 4504080"/>
              <a:gd name="connsiteX106" fmla="*/ 0 w 11199600"/>
              <a:gd name="connsiteY106" fmla="*/ 1529519 h 4504080"/>
              <a:gd name="connsiteX107" fmla="*/ 0 w 11199600"/>
              <a:gd name="connsiteY107" fmla="*/ 1255278 h 4504080"/>
              <a:gd name="connsiteX108" fmla="*/ 0 w 11199600"/>
              <a:gd name="connsiteY108" fmla="*/ 1168307 h 4504080"/>
              <a:gd name="connsiteX109" fmla="*/ 0 w 11199600"/>
              <a:gd name="connsiteY109" fmla="*/ 894067 h 4504080"/>
              <a:gd name="connsiteX110" fmla="*/ 0 w 11199600"/>
              <a:gd name="connsiteY110" fmla="*/ 782195 h 4504080"/>
              <a:gd name="connsiteX111" fmla="*/ 0 w 11199600"/>
              <a:gd name="connsiteY111" fmla="*/ 507955 h 4504080"/>
              <a:gd name="connsiteX112" fmla="*/ 0 w 11199600"/>
              <a:gd name="connsiteY112" fmla="*/ 370350 h 4504080"/>
              <a:gd name="connsiteX113" fmla="*/ 0 w 11199600"/>
              <a:gd name="connsiteY113" fmla="*/ 96110 h 4504080"/>
              <a:gd name="connsiteX114" fmla="*/ 95997 w 11199600"/>
              <a:gd name="connsiteY114" fmla="*/ 0 h 450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1199600" h="4504080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26118"/>
                </a:lnTo>
                <a:lnTo>
                  <a:pt x="11199600" y="1651536"/>
                </a:lnTo>
                <a:lnTo>
                  <a:pt x="11199600" y="1762133"/>
                </a:lnTo>
                <a:lnTo>
                  <a:pt x="11199600" y="1779318"/>
                </a:lnTo>
                <a:lnTo>
                  <a:pt x="11199600" y="1787219"/>
                </a:lnTo>
                <a:lnTo>
                  <a:pt x="11199600" y="1843417"/>
                </a:lnTo>
                <a:lnTo>
                  <a:pt x="11199600" y="1984894"/>
                </a:lnTo>
                <a:lnTo>
                  <a:pt x="11199600" y="2032038"/>
                </a:lnTo>
                <a:lnTo>
                  <a:pt x="11199600" y="2036373"/>
                </a:lnTo>
                <a:cubicBezTo>
                  <a:pt x="11199600" y="2122837"/>
                  <a:pt x="11199600" y="2212759"/>
                  <a:pt x="11199600" y="2306279"/>
                </a:cubicBezTo>
                <a:lnTo>
                  <a:pt x="11199600" y="2323525"/>
                </a:lnTo>
                <a:lnTo>
                  <a:pt x="11199600" y="2597765"/>
                </a:lnTo>
                <a:lnTo>
                  <a:pt x="11199600" y="2637423"/>
                </a:lnTo>
                <a:lnTo>
                  <a:pt x="11199600" y="2911664"/>
                </a:lnTo>
                <a:lnTo>
                  <a:pt x="11199600" y="2974563"/>
                </a:lnTo>
                <a:lnTo>
                  <a:pt x="11199600" y="3248803"/>
                </a:lnTo>
                <a:lnTo>
                  <a:pt x="11199600" y="3335774"/>
                </a:lnTo>
                <a:lnTo>
                  <a:pt x="11199600" y="3610014"/>
                </a:lnTo>
                <a:lnTo>
                  <a:pt x="11199600" y="3721887"/>
                </a:lnTo>
                <a:lnTo>
                  <a:pt x="11199600" y="3996127"/>
                </a:lnTo>
                <a:lnTo>
                  <a:pt x="11199600" y="4133731"/>
                </a:lnTo>
                <a:lnTo>
                  <a:pt x="11199600" y="4407971"/>
                </a:lnTo>
                <a:cubicBezTo>
                  <a:pt x="11199600" y="4480054"/>
                  <a:pt x="11145602" y="4498074"/>
                  <a:pt x="11118603" y="4502580"/>
                </a:cubicBezTo>
                <a:lnTo>
                  <a:pt x="11103613" y="4504080"/>
                </a:lnTo>
                <a:lnTo>
                  <a:pt x="95989" y="4504080"/>
                </a:lnTo>
                <a:lnTo>
                  <a:pt x="64311" y="4499952"/>
                </a:lnTo>
                <a:cubicBezTo>
                  <a:pt x="0" y="4481555"/>
                  <a:pt x="0" y="4407971"/>
                  <a:pt x="0" y="4407971"/>
                </a:cubicBezTo>
                <a:lnTo>
                  <a:pt x="0" y="4404236"/>
                </a:lnTo>
                <a:lnTo>
                  <a:pt x="0" y="4395365"/>
                </a:lnTo>
                <a:lnTo>
                  <a:pt x="0" y="4378089"/>
                </a:lnTo>
                <a:lnTo>
                  <a:pt x="0" y="4349608"/>
                </a:lnTo>
                <a:lnTo>
                  <a:pt x="0" y="4307120"/>
                </a:lnTo>
                <a:lnTo>
                  <a:pt x="0" y="4247823"/>
                </a:lnTo>
                <a:lnTo>
                  <a:pt x="0" y="4168916"/>
                </a:lnTo>
                <a:lnTo>
                  <a:pt x="0" y="4133731"/>
                </a:lnTo>
                <a:lnTo>
                  <a:pt x="0" y="4132625"/>
                </a:lnTo>
                <a:lnTo>
                  <a:pt x="0" y="4124877"/>
                </a:lnTo>
                <a:lnTo>
                  <a:pt x="0" y="4104034"/>
                </a:lnTo>
                <a:lnTo>
                  <a:pt x="0" y="4103849"/>
                </a:lnTo>
                <a:lnTo>
                  <a:pt x="0" y="4062900"/>
                </a:lnTo>
                <a:lnTo>
                  <a:pt x="0" y="4032880"/>
                </a:lnTo>
                <a:lnTo>
                  <a:pt x="0" y="4028361"/>
                </a:lnTo>
                <a:lnTo>
                  <a:pt x="0" y="3995389"/>
                </a:lnTo>
                <a:lnTo>
                  <a:pt x="0" y="3949598"/>
                </a:lnTo>
                <a:lnTo>
                  <a:pt x="0" y="3941067"/>
                </a:lnTo>
                <a:lnTo>
                  <a:pt x="0" y="3894676"/>
                </a:lnTo>
                <a:lnTo>
                  <a:pt x="0" y="3841322"/>
                </a:lnTo>
                <a:lnTo>
                  <a:pt x="0" y="3829794"/>
                </a:lnTo>
                <a:lnTo>
                  <a:pt x="0" y="3754121"/>
                </a:lnTo>
                <a:lnTo>
                  <a:pt x="0" y="3728297"/>
                </a:lnTo>
                <a:lnTo>
                  <a:pt x="0" y="3666827"/>
                </a:lnTo>
                <a:lnTo>
                  <a:pt x="0" y="3601160"/>
                </a:lnTo>
                <a:lnTo>
                  <a:pt x="0" y="3567082"/>
                </a:lnTo>
                <a:lnTo>
                  <a:pt x="0" y="3459083"/>
                </a:lnTo>
                <a:lnTo>
                  <a:pt x="0" y="3454057"/>
                </a:lnTo>
                <a:lnTo>
                  <a:pt x="0" y="3326920"/>
                </a:lnTo>
                <a:lnTo>
                  <a:pt x="0" y="3301235"/>
                </a:lnTo>
                <a:lnTo>
                  <a:pt x="0" y="3184843"/>
                </a:lnTo>
                <a:lnTo>
                  <a:pt x="0" y="3126785"/>
                </a:lnTo>
                <a:lnTo>
                  <a:pt x="0" y="3026995"/>
                </a:lnTo>
                <a:lnTo>
                  <a:pt x="0" y="2934905"/>
                </a:lnTo>
                <a:lnTo>
                  <a:pt x="0" y="2852545"/>
                </a:lnTo>
                <a:lnTo>
                  <a:pt x="0" y="2724763"/>
                </a:lnTo>
                <a:lnTo>
                  <a:pt x="0" y="2660665"/>
                </a:lnTo>
                <a:lnTo>
                  <a:pt x="0" y="2495530"/>
                </a:lnTo>
                <a:lnTo>
                  <a:pt x="0" y="2450523"/>
                </a:lnTo>
                <a:lnTo>
                  <a:pt x="0" y="2246376"/>
                </a:lnTo>
                <a:lnTo>
                  <a:pt x="0" y="2221290"/>
                </a:lnTo>
                <a:lnTo>
                  <a:pt x="0" y="1984894"/>
                </a:lnTo>
                <a:lnTo>
                  <a:pt x="0" y="1976471"/>
                </a:lnTo>
                <a:lnTo>
                  <a:pt x="0" y="197213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702231"/>
                </a:lnTo>
                <a:lnTo>
                  <a:pt x="0" y="1684984"/>
                </a:lnTo>
                <a:lnTo>
                  <a:pt x="0" y="162611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39676" tIns="35996" rIns="35996" bIns="35996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838200" y="257726"/>
            <a:ext cx="11059319" cy="11798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4600"/>
              </a:lnSpc>
              <a:defRPr sz="4600"/>
            </a:lvl1pPr>
          </a:lstStyle>
          <a:p>
            <a:r>
              <a:rPr lang="en-US" noProof="0" smtClean="0"/>
              <a:t>Click to edit </a:t>
            </a:r>
            <a:br>
              <a:rPr lang="en-US" noProof="0" smtClean="0"/>
            </a:br>
            <a:r>
              <a:rPr lang="en-US" noProof="0" smtClean="0"/>
              <a:t>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Orang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55, 98, 0</a:t>
              </a: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ght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68, 168, 168</a:t>
              </a:r>
            </a:p>
          </p:txBody>
        </p:sp>
        <p:sp>
          <p:nvSpPr>
            <p:cNvPr id="1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Indigo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82, 81, 153</a:t>
              </a:r>
            </a:p>
          </p:txBody>
        </p:sp>
        <p:sp>
          <p:nvSpPr>
            <p:cNvPr id="1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Sk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96, 166, 218</a:t>
              </a:r>
            </a:p>
          </p:txBody>
        </p:sp>
        <p:sp>
          <p:nvSpPr>
            <p:cNvPr id="1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>
                  <a:solidFill>
                    <a:srgbClr val="333333"/>
                  </a:solidFill>
                </a:rPr>
                <a:t>Colour Guidelines</a:t>
              </a:r>
            </a:p>
          </p:txBody>
        </p:sp>
        <p:sp>
          <p:nvSpPr>
            <p:cNvPr id="2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Fuchsia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71, 0, 102</a:t>
              </a:r>
            </a:p>
          </p:txBody>
        </p:sp>
        <p:sp>
          <p:nvSpPr>
            <p:cNvPr id="2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m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08, 217, 60</a:t>
              </a:r>
            </a:p>
          </p:txBody>
        </p:sp>
        <p:sp>
          <p:nvSpPr>
            <p:cNvPr id="2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eaf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2, 150, 81</a:t>
              </a:r>
            </a:p>
          </p:txBody>
        </p:sp>
        <p:sp>
          <p:nvSpPr>
            <p:cNvPr id="2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Mid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18, 118, 118</a:t>
              </a:r>
            </a:p>
          </p:txBody>
        </p:sp>
        <p:sp>
          <p:nvSpPr>
            <p:cNvPr id="2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Text Colour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1, 51, 51</a:t>
              </a:r>
            </a:p>
          </p:txBody>
        </p: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3433" y="6358070"/>
            <a:ext cx="1183250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930564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2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001" y="1278384"/>
            <a:ext cx="5058750" cy="4921200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278384"/>
            <a:ext cx="5058000" cy="49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811197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001" y="1795636"/>
            <a:ext cx="5058750" cy="4403948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795636"/>
            <a:ext cx="5058000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845575" y="1277982"/>
            <a:ext cx="5059925" cy="436017"/>
          </a:xfrm>
        </p:spPr>
        <p:txBody>
          <a:bodyPr>
            <a:noAutofit/>
          </a:bodyPr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274826" y="1277982"/>
            <a:ext cx="5059925" cy="436017"/>
          </a:xfrm>
        </p:spPr>
        <p:txBody>
          <a:bodyPr>
            <a:noAutofit/>
          </a:bodyPr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26852168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001" y="1278000"/>
            <a:ext cx="5058750" cy="4929584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795636"/>
            <a:ext cx="5058000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845575" y="1277982"/>
            <a:ext cx="5059925" cy="436017"/>
          </a:xfrm>
        </p:spPr>
        <p:txBody>
          <a:bodyPr>
            <a:noAutofit/>
          </a:bodyPr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29000071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001" y="1795636"/>
            <a:ext cx="5058750" cy="4403948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278000"/>
            <a:ext cx="5058000" cy="49295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274826" y="1277982"/>
            <a:ext cx="5059925" cy="436017"/>
          </a:xfrm>
        </p:spPr>
        <p:txBody>
          <a:bodyPr>
            <a:noAutofit/>
          </a:bodyPr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1564765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3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751" y="1278001"/>
            <a:ext cx="5058000" cy="233017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4" name="Text Placeholder 2"/>
          <p:cNvSpPr>
            <a:spLocks noGrp="1"/>
          </p:cNvSpPr>
          <p:nvPr>
            <p:ph idx="28"/>
          </p:nvPr>
        </p:nvSpPr>
        <p:spPr bwMode="gray">
          <a:xfrm>
            <a:off x="845575" y="1278001"/>
            <a:ext cx="5058000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5" name="Content Placeholder 3"/>
          <p:cNvSpPr>
            <a:spLocks noGrp="1"/>
          </p:cNvSpPr>
          <p:nvPr>
            <p:ph sz="half" idx="29"/>
          </p:nvPr>
        </p:nvSpPr>
        <p:spPr bwMode="gray">
          <a:xfrm>
            <a:off x="6276751" y="3877592"/>
            <a:ext cx="5058000" cy="233017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idx="30"/>
          </p:nvPr>
        </p:nvSpPr>
        <p:spPr bwMode="gray">
          <a:xfrm>
            <a:off x="845575" y="3877592"/>
            <a:ext cx="5058000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054542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  <p15:guide id="3" orient="horz" pos="2274">
          <p15:clr>
            <a:srgbClr val="FBAE40"/>
          </p15:clr>
        </p15:guide>
        <p15:guide id="4" orient="horz" pos="244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 userDrawn="1"/>
        </p:nvGrpSpPr>
        <p:grpSpPr bwMode="gray">
          <a:xfrm>
            <a:off x="0" y="1643200"/>
            <a:ext cx="11339513" cy="3055937"/>
            <a:chOff x="409575" y="3144838"/>
            <a:chExt cx="11339513" cy="3055937"/>
          </a:xfrm>
        </p:grpSpPr>
        <p:sp>
          <p:nvSpPr>
            <p:cNvPr id="40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842434" y="2116801"/>
            <a:ext cx="10313209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240705"/>
            <a:ext cx="7082733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20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01" y="3556800"/>
            <a:ext cx="10305675" cy="385233"/>
          </a:xfrm>
        </p:spPr>
        <p:txBody>
          <a:bodyPr>
            <a:noAutofit/>
          </a:bodyPr>
          <a:lstStyle>
            <a:lvl1pPr>
              <a:lnSpc>
                <a:spcPts val="2199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pic>
        <p:nvPicPr>
          <p:cNvPr id="35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838201" y="6291857"/>
            <a:ext cx="2188369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167642" y="4291504"/>
            <a:ext cx="298800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10749168" y="-133099"/>
            <a:ext cx="1441027" cy="1565166"/>
            <a:chOff x="5364088" y="4720073"/>
            <a:chExt cx="1441027" cy="1565166"/>
          </a:xfrm>
        </p:grpSpPr>
        <p:sp>
          <p:nvSpPr>
            <p:cNvPr id="43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4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102959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846907" y="1278384"/>
            <a:ext cx="3265200" cy="23292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4458228" y="1278384"/>
            <a:ext cx="3265200" cy="23292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8069550" y="1278384"/>
            <a:ext cx="3265200" cy="23292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846908" y="3884251"/>
            <a:ext cx="3265200" cy="23292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4458229" y="3884251"/>
            <a:ext cx="3265200" cy="23292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8069550" y="3884251"/>
            <a:ext cx="3265200" cy="23292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423082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91">
          <p15:clr>
            <a:srgbClr val="FBAE40"/>
          </p15:clr>
        </p15:guide>
        <p15:guide id="2" pos="2808">
          <p15:clr>
            <a:srgbClr val="FBAE40"/>
          </p15:clr>
        </p15:guide>
        <p15:guide id="3" pos="4866">
          <p15:clr>
            <a:srgbClr val="FBAE40"/>
          </p15:clr>
        </p15:guide>
        <p15:guide id="4" pos="5082">
          <p15:clr>
            <a:srgbClr val="FBAE40"/>
          </p15:clr>
        </p15:guide>
        <p15:guide id="5" orient="horz" pos="2274">
          <p15:clr>
            <a:srgbClr val="FBAE40"/>
          </p15:clr>
        </p15:guide>
        <p15:guide id="6" orient="horz" pos="2442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846907" y="1795637"/>
            <a:ext cx="3265200" cy="269698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4458228" y="1795637"/>
            <a:ext cx="3265200" cy="269698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8069550" y="1795637"/>
            <a:ext cx="3265200" cy="269698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846908" y="4760735"/>
            <a:ext cx="3265200" cy="144004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4458229" y="4760735"/>
            <a:ext cx="3265200" cy="144004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8069550" y="4760735"/>
            <a:ext cx="3265200" cy="144004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845574" y="1277982"/>
            <a:ext cx="3265200" cy="436017"/>
          </a:xfrm>
        </p:spPr>
        <p:txBody>
          <a:bodyPr>
            <a:noAutofit/>
          </a:bodyPr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58228" y="1277982"/>
            <a:ext cx="3265200" cy="436017"/>
          </a:xfrm>
        </p:spPr>
        <p:txBody>
          <a:bodyPr/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8069550" y="1277982"/>
            <a:ext cx="3265200" cy="436017"/>
          </a:xfrm>
        </p:spPr>
        <p:txBody>
          <a:bodyPr/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8194688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08">
          <p15:clr>
            <a:srgbClr val="FBAE40"/>
          </p15:clr>
        </p15:guide>
        <p15:guide id="2" pos="4866">
          <p15:clr>
            <a:srgbClr val="FBAE40"/>
          </p15:clr>
        </p15:guide>
        <p15:guide id="3" pos="5082">
          <p15:clr>
            <a:srgbClr val="FBAE40"/>
          </p15:clr>
        </p15:guide>
        <p15:guide id="4" orient="horz" pos="2830">
          <p15:clr>
            <a:srgbClr val="FBAE40"/>
          </p15:clr>
        </p15:guide>
        <p15:guide id="5" orient="horz" pos="2998">
          <p15:clr>
            <a:srgbClr val="FBAE40"/>
          </p15:clr>
        </p15:guide>
        <p15:guide id="6" pos="2592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lit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845575" y="1279981"/>
            <a:ext cx="5058000" cy="324000"/>
          </a:xfrm>
        </p:spPr>
        <p:txBody>
          <a:bodyPr>
            <a:noAutofit/>
          </a:bodyPr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845575" y="1754561"/>
            <a:ext cx="5058000" cy="1854000"/>
          </a:xfrm>
        </p:spPr>
        <p:txBody>
          <a:bodyPr/>
          <a:lstStyle>
            <a:lvl3pPr>
              <a:lnSpc>
                <a:spcPts val="2199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45575" y="3877591"/>
            <a:ext cx="5058000" cy="324000"/>
          </a:xfrm>
        </p:spPr>
        <p:txBody>
          <a:bodyPr>
            <a:noAutofit/>
          </a:bodyPr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845575" y="4346776"/>
            <a:ext cx="5058000" cy="1854000"/>
          </a:xfrm>
        </p:spPr>
        <p:txBody>
          <a:bodyPr/>
          <a:lstStyle>
            <a:lvl3pPr>
              <a:lnSpc>
                <a:spcPts val="2199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845575" y="1682898"/>
            <a:ext cx="5058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845575" y="4278810"/>
            <a:ext cx="5058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6276751" y="1279981"/>
            <a:ext cx="5058000" cy="324000"/>
          </a:xfrm>
        </p:spPr>
        <p:txBody>
          <a:bodyPr>
            <a:noAutofit/>
          </a:bodyPr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276751" y="1754561"/>
            <a:ext cx="5058000" cy="1854000"/>
          </a:xfrm>
        </p:spPr>
        <p:txBody>
          <a:bodyPr/>
          <a:lstStyle>
            <a:lvl3pPr>
              <a:lnSpc>
                <a:spcPts val="2199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276751" y="3877591"/>
            <a:ext cx="5058000" cy="324000"/>
          </a:xfrm>
        </p:spPr>
        <p:txBody>
          <a:bodyPr>
            <a:noAutofit/>
          </a:bodyPr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276751" y="4346776"/>
            <a:ext cx="5058000" cy="1854000"/>
          </a:xfrm>
        </p:spPr>
        <p:txBody>
          <a:bodyPr/>
          <a:lstStyle>
            <a:lvl3pPr>
              <a:lnSpc>
                <a:spcPts val="2199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>
            <a:off x="6276751" y="1682898"/>
            <a:ext cx="5058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6276751" y="4278810"/>
            <a:ext cx="5058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125604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53">
          <p15:clr>
            <a:srgbClr val="FBAE40"/>
          </p15:clr>
        </p15:guide>
        <p15:guide id="3" orient="horz" pos="2274">
          <p15:clr>
            <a:srgbClr val="FBAE40"/>
          </p15:clr>
        </p15:guide>
        <p15:guide id="4" orient="horz" pos="2442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845575" y="1278384"/>
            <a:ext cx="32652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845575" y="1757279"/>
            <a:ext cx="3265200" cy="1850305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45575" y="3878568"/>
            <a:ext cx="32652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845575" y="4346776"/>
            <a:ext cx="32652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845575" y="1685616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845575" y="4278810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8069550" y="1278384"/>
            <a:ext cx="32652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1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069550" y="1757279"/>
            <a:ext cx="3265200" cy="1850305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069550" y="3878568"/>
            <a:ext cx="32652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3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069550" y="4346776"/>
            <a:ext cx="32652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44" name="Straight Connector 43"/>
          <p:cNvCxnSpPr/>
          <p:nvPr userDrawn="1"/>
        </p:nvCxnSpPr>
        <p:spPr bwMode="gray">
          <a:xfrm>
            <a:off x="8069550" y="1685616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 bwMode="gray">
          <a:xfrm>
            <a:off x="8069550" y="4278810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4457562" y="1278384"/>
            <a:ext cx="32652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7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4457562" y="1757279"/>
            <a:ext cx="3265200" cy="1850305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4457562" y="3878568"/>
            <a:ext cx="32652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9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4457562" y="4346776"/>
            <a:ext cx="32652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0" name="Straight Connector 49"/>
          <p:cNvCxnSpPr/>
          <p:nvPr userDrawn="1"/>
        </p:nvCxnSpPr>
        <p:spPr bwMode="gray">
          <a:xfrm>
            <a:off x="4457562" y="1685616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4457562" y="4278810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34301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92">
          <p15:clr>
            <a:srgbClr val="FBAE40"/>
          </p15:clr>
        </p15:guide>
        <p15:guide id="2" pos="5082">
          <p15:clr>
            <a:srgbClr val="FBAE40"/>
          </p15:clr>
        </p15:guide>
        <p15:guide id="3" pos="2803">
          <p15:clr>
            <a:srgbClr val="FBAE40"/>
          </p15:clr>
        </p15:guide>
        <p15:guide id="4" pos="4866">
          <p15:clr>
            <a:srgbClr val="FBAE40"/>
          </p15:clr>
        </p15:guide>
        <p15:guide id="5" orient="horz" pos="2274">
          <p15:clr>
            <a:srgbClr val="FBAE40"/>
          </p15:clr>
        </p15:guide>
        <p15:guide id="6" orient="horz" pos="2442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845574" y="1278384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845574" y="1757279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45574" y="3878568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845574" y="4346776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845574" y="1685616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845574" y="4278810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89966" y="1278384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2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3489966" y="1757279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3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3489966" y="3878568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4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3489966" y="4346776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5" name="Straight Connector 54"/>
          <p:cNvCxnSpPr/>
          <p:nvPr userDrawn="1"/>
        </p:nvCxnSpPr>
        <p:spPr bwMode="gray">
          <a:xfrm>
            <a:off x="3489966" y="1685616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 bwMode="gray">
          <a:xfrm>
            <a:off x="3489966" y="4278810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6134358" y="1278384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8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6134358" y="1757279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6134358" y="3878568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0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6134358" y="4346776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1" name="Straight Connector 60"/>
          <p:cNvCxnSpPr/>
          <p:nvPr userDrawn="1"/>
        </p:nvCxnSpPr>
        <p:spPr bwMode="gray">
          <a:xfrm>
            <a:off x="6134358" y="1685616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 bwMode="gray">
          <a:xfrm>
            <a:off x="6134358" y="4278810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2"/>
          <p:cNvSpPr>
            <a:spLocks noGrp="1"/>
          </p:cNvSpPr>
          <p:nvPr>
            <p:ph idx="30" hasCustomPrompt="1"/>
          </p:nvPr>
        </p:nvSpPr>
        <p:spPr bwMode="gray">
          <a:xfrm>
            <a:off x="8778750" y="1278384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4" name="Content Placeholder 2"/>
          <p:cNvSpPr>
            <a:spLocks noGrp="1"/>
          </p:cNvSpPr>
          <p:nvPr>
            <p:ph idx="31" hasCustomPrompt="1"/>
          </p:nvPr>
        </p:nvSpPr>
        <p:spPr bwMode="gray">
          <a:xfrm>
            <a:off x="8778750" y="1757279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65" name="Content Placeholder 2"/>
          <p:cNvSpPr>
            <a:spLocks noGrp="1"/>
          </p:cNvSpPr>
          <p:nvPr>
            <p:ph idx="32" hasCustomPrompt="1"/>
          </p:nvPr>
        </p:nvSpPr>
        <p:spPr bwMode="gray">
          <a:xfrm>
            <a:off x="8778750" y="3878568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6" name="Content Placeholder 2"/>
          <p:cNvSpPr>
            <a:spLocks noGrp="1"/>
          </p:cNvSpPr>
          <p:nvPr>
            <p:ph idx="33" hasCustomPrompt="1"/>
          </p:nvPr>
        </p:nvSpPr>
        <p:spPr bwMode="gray">
          <a:xfrm>
            <a:off x="8778750" y="4346776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7" name="Straight Connector 66"/>
          <p:cNvCxnSpPr/>
          <p:nvPr userDrawn="1"/>
        </p:nvCxnSpPr>
        <p:spPr bwMode="gray">
          <a:xfrm>
            <a:off x="8778750" y="1685616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 userDrawn="1"/>
        </p:nvCxnSpPr>
        <p:spPr bwMode="gray">
          <a:xfrm>
            <a:off x="8778750" y="4278810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658198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149">
          <p15:clr>
            <a:srgbClr val="FBAE40"/>
          </p15:clr>
        </p15:guide>
        <p15:guide id="2" pos="5480">
          <p15:clr>
            <a:srgbClr val="FBAE40"/>
          </p15:clr>
        </p15:guide>
        <p15:guide id="3" pos="3864">
          <p15:clr>
            <a:srgbClr val="FBAE40"/>
          </p15:clr>
        </p15:guide>
        <p15:guide id="4" pos="2196">
          <p15:clr>
            <a:srgbClr val="FBAE40"/>
          </p15:clr>
        </p15:guide>
        <p15:guide id="5" pos="3809">
          <p15:clr>
            <a:srgbClr val="FBAE40"/>
          </p15:clr>
        </p15:guide>
        <p15:guide id="6" pos="5528">
          <p15:clr>
            <a:srgbClr val="FBAE40"/>
          </p15:clr>
        </p15:guide>
        <p15:guide id="7" orient="horz" pos="2274">
          <p15:clr>
            <a:srgbClr val="FBAE40"/>
          </p15:clr>
        </p15:guide>
        <p15:guide id="8" orient="horz" pos="2442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547528" y="1270001"/>
            <a:ext cx="6787224" cy="49784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 bwMode="gray">
          <a:xfrm>
            <a:off x="693739" y="280733"/>
            <a:ext cx="3443287" cy="5920066"/>
          </a:xfrm>
          <a:custGeom>
            <a:avLst/>
            <a:gdLst>
              <a:gd name="connsiteX0" fmla="*/ 95997 w 3443287"/>
              <a:gd name="connsiteY0" fmla="*/ 0 h 5920066"/>
              <a:gd name="connsiteX1" fmla="*/ 3443287 w 3443287"/>
              <a:gd name="connsiteY1" fmla="*/ 0 h 5920066"/>
              <a:gd name="connsiteX2" fmla="*/ 3443287 w 3443287"/>
              <a:gd name="connsiteY2" fmla="*/ 5920066 h 5920066"/>
              <a:gd name="connsiteX3" fmla="*/ 95989 w 3443287"/>
              <a:gd name="connsiteY3" fmla="*/ 5920066 h 5920066"/>
              <a:gd name="connsiteX4" fmla="*/ 64311 w 3443287"/>
              <a:gd name="connsiteY4" fmla="*/ 5915938 h 5920066"/>
              <a:gd name="connsiteX5" fmla="*/ 0 w 3443287"/>
              <a:gd name="connsiteY5" fmla="*/ 5823957 h 5920066"/>
              <a:gd name="connsiteX6" fmla="*/ 0 w 3443287"/>
              <a:gd name="connsiteY6" fmla="*/ 5820222 h 5920066"/>
              <a:gd name="connsiteX7" fmla="*/ 0 w 3443287"/>
              <a:gd name="connsiteY7" fmla="*/ 5811351 h 5920066"/>
              <a:gd name="connsiteX8" fmla="*/ 0 w 3443287"/>
              <a:gd name="connsiteY8" fmla="*/ 5794075 h 5920066"/>
              <a:gd name="connsiteX9" fmla="*/ 0 w 3443287"/>
              <a:gd name="connsiteY9" fmla="*/ 5765594 h 5920066"/>
              <a:gd name="connsiteX10" fmla="*/ 0 w 3443287"/>
              <a:gd name="connsiteY10" fmla="*/ 5723106 h 5920066"/>
              <a:gd name="connsiteX11" fmla="*/ 0 w 3443287"/>
              <a:gd name="connsiteY11" fmla="*/ 5663809 h 5920066"/>
              <a:gd name="connsiteX12" fmla="*/ 0 w 3443287"/>
              <a:gd name="connsiteY12" fmla="*/ 5584902 h 5920066"/>
              <a:gd name="connsiteX13" fmla="*/ 0 w 3443287"/>
              <a:gd name="connsiteY13" fmla="*/ 5549717 h 5920066"/>
              <a:gd name="connsiteX14" fmla="*/ 0 w 3443287"/>
              <a:gd name="connsiteY14" fmla="*/ 5548611 h 5920066"/>
              <a:gd name="connsiteX15" fmla="*/ 0 w 3443287"/>
              <a:gd name="connsiteY15" fmla="*/ 5540863 h 5920066"/>
              <a:gd name="connsiteX16" fmla="*/ 0 w 3443287"/>
              <a:gd name="connsiteY16" fmla="*/ 5520020 h 5920066"/>
              <a:gd name="connsiteX17" fmla="*/ 0 w 3443287"/>
              <a:gd name="connsiteY17" fmla="*/ 5519835 h 5920066"/>
              <a:gd name="connsiteX18" fmla="*/ 0 w 3443287"/>
              <a:gd name="connsiteY18" fmla="*/ 5478886 h 5920066"/>
              <a:gd name="connsiteX19" fmla="*/ 0 w 3443287"/>
              <a:gd name="connsiteY19" fmla="*/ 5448866 h 5920066"/>
              <a:gd name="connsiteX20" fmla="*/ 0 w 3443287"/>
              <a:gd name="connsiteY20" fmla="*/ 5444347 h 5920066"/>
              <a:gd name="connsiteX21" fmla="*/ 0 w 3443287"/>
              <a:gd name="connsiteY21" fmla="*/ 5411375 h 5920066"/>
              <a:gd name="connsiteX22" fmla="*/ 0 w 3443287"/>
              <a:gd name="connsiteY22" fmla="*/ 5365584 h 5920066"/>
              <a:gd name="connsiteX23" fmla="*/ 0 w 3443287"/>
              <a:gd name="connsiteY23" fmla="*/ 5357053 h 5920066"/>
              <a:gd name="connsiteX24" fmla="*/ 0 w 3443287"/>
              <a:gd name="connsiteY24" fmla="*/ 5310662 h 5920066"/>
              <a:gd name="connsiteX25" fmla="*/ 0 w 3443287"/>
              <a:gd name="connsiteY25" fmla="*/ 5257308 h 5920066"/>
              <a:gd name="connsiteX26" fmla="*/ 0 w 3443287"/>
              <a:gd name="connsiteY26" fmla="*/ 5245780 h 5920066"/>
              <a:gd name="connsiteX27" fmla="*/ 0 w 3443287"/>
              <a:gd name="connsiteY27" fmla="*/ 5170107 h 5920066"/>
              <a:gd name="connsiteX28" fmla="*/ 0 w 3443287"/>
              <a:gd name="connsiteY28" fmla="*/ 5144283 h 5920066"/>
              <a:gd name="connsiteX29" fmla="*/ 0 w 3443287"/>
              <a:gd name="connsiteY29" fmla="*/ 5082813 h 5920066"/>
              <a:gd name="connsiteX30" fmla="*/ 0 w 3443287"/>
              <a:gd name="connsiteY30" fmla="*/ 5017146 h 5920066"/>
              <a:gd name="connsiteX31" fmla="*/ 0 w 3443287"/>
              <a:gd name="connsiteY31" fmla="*/ 4983068 h 5920066"/>
              <a:gd name="connsiteX32" fmla="*/ 0 w 3443287"/>
              <a:gd name="connsiteY32" fmla="*/ 4903543 h 5920066"/>
              <a:gd name="connsiteX33" fmla="*/ 0 w 3443287"/>
              <a:gd name="connsiteY33" fmla="*/ 4899808 h 5920066"/>
              <a:gd name="connsiteX34" fmla="*/ 0 w 3443287"/>
              <a:gd name="connsiteY34" fmla="*/ 4890937 h 5920066"/>
              <a:gd name="connsiteX35" fmla="*/ 0 w 3443287"/>
              <a:gd name="connsiteY35" fmla="*/ 4875069 h 5920066"/>
              <a:gd name="connsiteX36" fmla="*/ 0 w 3443287"/>
              <a:gd name="connsiteY36" fmla="*/ 4873661 h 5920066"/>
              <a:gd name="connsiteX37" fmla="*/ 0 w 3443287"/>
              <a:gd name="connsiteY37" fmla="*/ 4870043 h 5920066"/>
              <a:gd name="connsiteX38" fmla="*/ 0 w 3443287"/>
              <a:gd name="connsiteY38" fmla="*/ 4845180 h 5920066"/>
              <a:gd name="connsiteX39" fmla="*/ 0 w 3443287"/>
              <a:gd name="connsiteY39" fmla="*/ 4802692 h 5920066"/>
              <a:gd name="connsiteX40" fmla="*/ 0 w 3443287"/>
              <a:gd name="connsiteY40" fmla="*/ 4743395 h 5920066"/>
              <a:gd name="connsiteX41" fmla="*/ 0 w 3443287"/>
              <a:gd name="connsiteY41" fmla="*/ 4742906 h 5920066"/>
              <a:gd name="connsiteX42" fmla="*/ 0 w 3443287"/>
              <a:gd name="connsiteY42" fmla="*/ 4717221 h 5920066"/>
              <a:gd name="connsiteX43" fmla="*/ 0 w 3443287"/>
              <a:gd name="connsiteY43" fmla="*/ 4664488 h 5920066"/>
              <a:gd name="connsiteX44" fmla="*/ 0 w 3443287"/>
              <a:gd name="connsiteY44" fmla="*/ 4629303 h 5920066"/>
              <a:gd name="connsiteX45" fmla="*/ 0 w 3443287"/>
              <a:gd name="connsiteY45" fmla="*/ 4628197 h 5920066"/>
              <a:gd name="connsiteX46" fmla="*/ 0 w 3443287"/>
              <a:gd name="connsiteY46" fmla="*/ 4620449 h 5920066"/>
              <a:gd name="connsiteX47" fmla="*/ 0 w 3443287"/>
              <a:gd name="connsiteY47" fmla="*/ 4600829 h 5920066"/>
              <a:gd name="connsiteX48" fmla="*/ 0 w 3443287"/>
              <a:gd name="connsiteY48" fmla="*/ 4599606 h 5920066"/>
              <a:gd name="connsiteX49" fmla="*/ 0 w 3443287"/>
              <a:gd name="connsiteY49" fmla="*/ 4599421 h 5920066"/>
              <a:gd name="connsiteX50" fmla="*/ 0 w 3443287"/>
              <a:gd name="connsiteY50" fmla="*/ 4558472 h 5920066"/>
              <a:gd name="connsiteX51" fmla="*/ 0 w 3443287"/>
              <a:gd name="connsiteY51" fmla="*/ 4542771 h 5920066"/>
              <a:gd name="connsiteX52" fmla="*/ 0 w 3443287"/>
              <a:gd name="connsiteY52" fmla="*/ 4528452 h 5920066"/>
              <a:gd name="connsiteX53" fmla="*/ 0 w 3443287"/>
              <a:gd name="connsiteY53" fmla="*/ 4523933 h 5920066"/>
              <a:gd name="connsiteX54" fmla="*/ 0 w 3443287"/>
              <a:gd name="connsiteY54" fmla="*/ 4490961 h 5920066"/>
              <a:gd name="connsiteX55" fmla="*/ 0 w 3443287"/>
              <a:gd name="connsiteY55" fmla="*/ 4445170 h 5920066"/>
              <a:gd name="connsiteX56" fmla="*/ 0 w 3443287"/>
              <a:gd name="connsiteY56" fmla="*/ 4442981 h 5920066"/>
              <a:gd name="connsiteX57" fmla="*/ 0 w 3443287"/>
              <a:gd name="connsiteY57" fmla="*/ 4436639 h 5920066"/>
              <a:gd name="connsiteX58" fmla="*/ 0 w 3443287"/>
              <a:gd name="connsiteY58" fmla="*/ 4390248 h 5920066"/>
              <a:gd name="connsiteX59" fmla="*/ 0 w 3443287"/>
              <a:gd name="connsiteY59" fmla="*/ 4350891 h 5920066"/>
              <a:gd name="connsiteX60" fmla="*/ 0 w 3443287"/>
              <a:gd name="connsiteY60" fmla="*/ 4336894 h 5920066"/>
              <a:gd name="connsiteX61" fmla="*/ 0 w 3443287"/>
              <a:gd name="connsiteY61" fmla="*/ 4325366 h 5920066"/>
              <a:gd name="connsiteX62" fmla="*/ 0 w 3443287"/>
              <a:gd name="connsiteY62" fmla="*/ 4268531 h 5920066"/>
              <a:gd name="connsiteX63" fmla="*/ 0 w 3443287"/>
              <a:gd name="connsiteY63" fmla="*/ 4249693 h 5920066"/>
              <a:gd name="connsiteX64" fmla="*/ 0 w 3443287"/>
              <a:gd name="connsiteY64" fmla="*/ 4223869 h 5920066"/>
              <a:gd name="connsiteX65" fmla="*/ 0 w 3443287"/>
              <a:gd name="connsiteY65" fmla="*/ 4162399 h 5920066"/>
              <a:gd name="connsiteX66" fmla="*/ 0 w 3443287"/>
              <a:gd name="connsiteY66" fmla="*/ 4140749 h 5920066"/>
              <a:gd name="connsiteX67" fmla="*/ 0 w 3443287"/>
              <a:gd name="connsiteY67" fmla="*/ 4096732 h 5920066"/>
              <a:gd name="connsiteX68" fmla="*/ 0 w 3443287"/>
              <a:gd name="connsiteY68" fmla="*/ 4076651 h 5920066"/>
              <a:gd name="connsiteX69" fmla="*/ 0 w 3443287"/>
              <a:gd name="connsiteY69" fmla="*/ 4062654 h 5920066"/>
              <a:gd name="connsiteX70" fmla="*/ 0 w 3443287"/>
              <a:gd name="connsiteY70" fmla="*/ 3954655 h 5920066"/>
              <a:gd name="connsiteX71" fmla="*/ 0 w 3443287"/>
              <a:gd name="connsiteY71" fmla="*/ 3949629 h 5920066"/>
              <a:gd name="connsiteX72" fmla="*/ 0 w 3443287"/>
              <a:gd name="connsiteY72" fmla="*/ 3911516 h 5920066"/>
              <a:gd name="connsiteX73" fmla="*/ 0 w 3443287"/>
              <a:gd name="connsiteY73" fmla="*/ 3866509 h 5920066"/>
              <a:gd name="connsiteX74" fmla="*/ 0 w 3443287"/>
              <a:gd name="connsiteY74" fmla="*/ 3822492 h 5920066"/>
              <a:gd name="connsiteX75" fmla="*/ 0 w 3443287"/>
              <a:gd name="connsiteY75" fmla="*/ 3796807 h 5920066"/>
              <a:gd name="connsiteX76" fmla="*/ 0 w 3443287"/>
              <a:gd name="connsiteY76" fmla="*/ 3680415 h 5920066"/>
              <a:gd name="connsiteX77" fmla="*/ 0 w 3443287"/>
              <a:gd name="connsiteY77" fmla="*/ 3662362 h 5920066"/>
              <a:gd name="connsiteX78" fmla="*/ 0 w 3443287"/>
              <a:gd name="connsiteY78" fmla="*/ 3637276 h 5920066"/>
              <a:gd name="connsiteX79" fmla="*/ 0 w 3443287"/>
              <a:gd name="connsiteY79" fmla="*/ 3622357 h 5920066"/>
              <a:gd name="connsiteX80" fmla="*/ 0 w 3443287"/>
              <a:gd name="connsiteY80" fmla="*/ 3522567 h 5920066"/>
              <a:gd name="connsiteX81" fmla="*/ 0 w 3443287"/>
              <a:gd name="connsiteY81" fmla="*/ 3430477 h 5920066"/>
              <a:gd name="connsiteX82" fmla="*/ 0 w 3443287"/>
              <a:gd name="connsiteY82" fmla="*/ 3392457 h 5920066"/>
              <a:gd name="connsiteX83" fmla="*/ 0 w 3443287"/>
              <a:gd name="connsiteY83" fmla="*/ 3388122 h 5920066"/>
              <a:gd name="connsiteX84" fmla="*/ 0 w 3443287"/>
              <a:gd name="connsiteY84" fmla="*/ 3348117 h 5920066"/>
              <a:gd name="connsiteX85" fmla="*/ 0 w 3443287"/>
              <a:gd name="connsiteY85" fmla="*/ 3220335 h 5920066"/>
              <a:gd name="connsiteX86" fmla="*/ 0 w 3443287"/>
              <a:gd name="connsiteY86" fmla="*/ 3156237 h 5920066"/>
              <a:gd name="connsiteX87" fmla="*/ 0 w 3443287"/>
              <a:gd name="connsiteY87" fmla="*/ 3118217 h 5920066"/>
              <a:gd name="connsiteX88" fmla="*/ 0 w 3443287"/>
              <a:gd name="connsiteY88" fmla="*/ 3100970 h 5920066"/>
              <a:gd name="connsiteX89" fmla="*/ 0 w 3443287"/>
              <a:gd name="connsiteY89" fmla="*/ 2991102 h 5920066"/>
              <a:gd name="connsiteX90" fmla="*/ 0 w 3443287"/>
              <a:gd name="connsiteY90" fmla="*/ 2946095 h 5920066"/>
              <a:gd name="connsiteX91" fmla="*/ 0 w 3443287"/>
              <a:gd name="connsiteY91" fmla="*/ 2826730 h 5920066"/>
              <a:gd name="connsiteX92" fmla="*/ 0 w 3443287"/>
              <a:gd name="connsiteY92" fmla="*/ 2787072 h 5920066"/>
              <a:gd name="connsiteX93" fmla="*/ 0 w 3443287"/>
              <a:gd name="connsiteY93" fmla="*/ 2741948 h 5920066"/>
              <a:gd name="connsiteX94" fmla="*/ 0 w 3443287"/>
              <a:gd name="connsiteY94" fmla="*/ 2716862 h 5920066"/>
              <a:gd name="connsiteX95" fmla="*/ 0 w 3443287"/>
              <a:gd name="connsiteY95" fmla="*/ 2512832 h 5920066"/>
              <a:gd name="connsiteX96" fmla="*/ 0 w 3443287"/>
              <a:gd name="connsiteY96" fmla="*/ 2472043 h 5920066"/>
              <a:gd name="connsiteX97" fmla="*/ 0 w 3443287"/>
              <a:gd name="connsiteY97" fmla="*/ 2467708 h 5920066"/>
              <a:gd name="connsiteX98" fmla="*/ 0 w 3443287"/>
              <a:gd name="connsiteY98" fmla="*/ 2449933 h 5920066"/>
              <a:gd name="connsiteX99" fmla="*/ 0 w 3443287"/>
              <a:gd name="connsiteY99" fmla="*/ 2197803 h 5920066"/>
              <a:gd name="connsiteX100" fmla="*/ 0 w 3443287"/>
              <a:gd name="connsiteY100" fmla="*/ 2180556 h 5920066"/>
              <a:gd name="connsiteX101" fmla="*/ 0 w 3443287"/>
              <a:gd name="connsiteY101" fmla="*/ 2175692 h 5920066"/>
              <a:gd name="connsiteX102" fmla="*/ 0 w 3443287"/>
              <a:gd name="connsiteY102" fmla="*/ 2088721 h 5920066"/>
              <a:gd name="connsiteX103" fmla="*/ 0 w 3443287"/>
              <a:gd name="connsiteY103" fmla="*/ 1906316 h 5920066"/>
              <a:gd name="connsiteX104" fmla="*/ 0 w 3443287"/>
              <a:gd name="connsiteY104" fmla="*/ 1866658 h 5920066"/>
              <a:gd name="connsiteX105" fmla="*/ 0 w 3443287"/>
              <a:gd name="connsiteY105" fmla="*/ 1814481 h 5920066"/>
              <a:gd name="connsiteX106" fmla="*/ 0 w 3443287"/>
              <a:gd name="connsiteY106" fmla="*/ 1702609 h 5920066"/>
              <a:gd name="connsiteX107" fmla="*/ 0 w 3443287"/>
              <a:gd name="connsiteY107" fmla="*/ 1592418 h 5920066"/>
              <a:gd name="connsiteX108" fmla="*/ 0 w 3443287"/>
              <a:gd name="connsiteY108" fmla="*/ 1529519 h 5920066"/>
              <a:gd name="connsiteX109" fmla="*/ 0 w 3443287"/>
              <a:gd name="connsiteY109" fmla="*/ 1428369 h 5920066"/>
              <a:gd name="connsiteX110" fmla="*/ 0 w 3443287"/>
              <a:gd name="connsiteY110" fmla="*/ 1290764 h 5920066"/>
              <a:gd name="connsiteX111" fmla="*/ 0 w 3443287"/>
              <a:gd name="connsiteY111" fmla="*/ 1255278 h 5920066"/>
              <a:gd name="connsiteX112" fmla="*/ 0 w 3443287"/>
              <a:gd name="connsiteY112" fmla="*/ 1168307 h 5920066"/>
              <a:gd name="connsiteX113" fmla="*/ 0 w 3443287"/>
              <a:gd name="connsiteY113" fmla="*/ 1016524 h 5920066"/>
              <a:gd name="connsiteX114" fmla="*/ 0 w 3443287"/>
              <a:gd name="connsiteY114" fmla="*/ 894067 h 5920066"/>
              <a:gd name="connsiteX115" fmla="*/ 0 w 3443287"/>
              <a:gd name="connsiteY115" fmla="*/ 782195 h 5920066"/>
              <a:gd name="connsiteX116" fmla="*/ 0 w 3443287"/>
              <a:gd name="connsiteY116" fmla="*/ 507955 h 5920066"/>
              <a:gd name="connsiteX117" fmla="*/ 0 w 3443287"/>
              <a:gd name="connsiteY117" fmla="*/ 370350 h 5920066"/>
              <a:gd name="connsiteX118" fmla="*/ 0 w 3443287"/>
              <a:gd name="connsiteY118" fmla="*/ 96110 h 5920066"/>
              <a:gd name="connsiteX119" fmla="*/ 95997 w 3443287"/>
              <a:gd name="connsiteY119" fmla="*/ 0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3443287" h="5920066">
                <a:moveTo>
                  <a:pt x="95997" y="0"/>
                </a:moveTo>
                <a:lnTo>
                  <a:pt x="3443287" y="0"/>
                </a:lnTo>
                <a:lnTo>
                  <a:pt x="3443287" y="5920066"/>
                </a:lnTo>
                <a:lnTo>
                  <a:pt x="95989" y="5920066"/>
                </a:lnTo>
                <a:lnTo>
                  <a:pt x="64311" y="5915938"/>
                </a:lnTo>
                <a:cubicBezTo>
                  <a:pt x="0" y="5897541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59964" tIns="359964">
            <a:noAutofit/>
          </a:bodyPr>
          <a:lstStyle>
            <a:lvl1pPr algn="ctr">
              <a:defRPr sz="1400" b="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7528" y="280734"/>
            <a:ext cx="6787223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287849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54">
          <p15:clr>
            <a:srgbClr val="FBAE40"/>
          </p15:clr>
        </p15:guide>
        <p15:guide id="2" pos="2610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838200" y="1270001"/>
            <a:ext cx="6786000" cy="49784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8454232" y="280733"/>
            <a:ext cx="3442280" cy="5920066"/>
          </a:xfrm>
          <a:custGeom>
            <a:avLst/>
            <a:gdLst>
              <a:gd name="connsiteX0" fmla="*/ 0 w 3442280"/>
              <a:gd name="connsiteY0" fmla="*/ 0 h 5920066"/>
              <a:gd name="connsiteX1" fmla="*/ 3346283 w 3442280"/>
              <a:gd name="connsiteY1" fmla="*/ 0 h 5920066"/>
              <a:gd name="connsiteX2" fmla="*/ 3442280 w 3442280"/>
              <a:gd name="connsiteY2" fmla="*/ 96110 h 5920066"/>
              <a:gd name="connsiteX3" fmla="*/ 3442280 w 3442280"/>
              <a:gd name="connsiteY3" fmla="*/ 335165 h 5920066"/>
              <a:gd name="connsiteX4" fmla="*/ 3442280 w 3442280"/>
              <a:gd name="connsiteY4" fmla="*/ 370350 h 5920066"/>
              <a:gd name="connsiteX5" fmla="*/ 3442280 w 3442280"/>
              <a:gd name="connsiteY5" fmla="*/ 379204 h 5920066"/>
              <a:gd name="connsiteX6" fmla="*/ 3442280 w 3442280"/>
              <a:gd name="connsiteY6" fmla="*/ 400048 h 5920066"/>
              <a:gd name="connsiteX7" fmla="*/ 3442280 w 3442280"/>
              <a:gd name="connsiteY7" fmla="*/ 400232 h 5920066"/>
              <a:gd name="connsiteX8" fmla="*/ 3442280 w 3442280"/>
              <a:gd name="connsiteY8" fmla="*/ 471202 h 5920066"/>
              <a:gd name="connsiteX9" fmla="*/ 3442280 w 3442280"/>
              <a:gd name="connsiteY9" fmla="*/ 475721 h 5920066"/>
              <a:gd name="connsiteX10" fmla="*/ 3442280 w 3442280"/>
              <a:gd name="connsiteY10" fmla="*/ 508692 h 5920066"/>
              <a:gd name="connsiteX11" fmla="*/ 3442280 w 3442280"/>
              <a:gd name="connsiteY11" fmla="*/ 554484 h 5920066"/>
              <a:gd name="connsiteX12" fmla="*/ 3442280 w 3442280"/>
              <a:gd name="connsiteY12" fmla="*/ 563015 h 5920066"/>
              <a:gd name="connsiteX13" fmla="*/ 3442280 w 3442280"/>
              <a:gd name="connsiteY13" fmla="*/ 609405 h 5920066"/>
              <a:gd name="connsiteX14" fmla="*/ 3442280 w 3442280"/>
              <a:gd name="connsiteY14" fmla="*/ 662759 h 5920066"/>
              <a:gd name="connsiteX15" fmla="*/ 3442280 w 3442280"/>
              <a:gd name="connsiteY15" fmla="*/ 674288 h 5920066"/>
              <a:gd name="connsiteX16" fmla="*/ 3442280 w 3442280"/>
              <a:gd name="connsiteY16" fmla="*/ 749961 h 5920066"/>
              <a:gd name="connsiteX17" fmla="*/ 3442280 w 3442280"/>
              <a:gd name="connsiteY17" fmla="*/ 775785 h 5920066"/>
              <a:gd name="connsiteX18" fmla="*/ 3442280 w 3442280"/>
              <a:gd name="connsiteY18" fmla="*/ 837255 h 5920066"/>
              <a:gd name="connsiteX19" fmla="*/ 3442280 w 3442280"/>
              <a:gd name="connsiteY19" fmla="*/ 902921 h 5920066"/>
              <a:gd name="connsiteX20" fmla="*/ 3442280 w 3442280"/>
              <a:gd name="connsiteY20" fmla="*/ 936999 h 5920066"/>
              <a:gd name="connsiteX21" fmla="*/ 3442280 w 3442280"/>
              <a:gd name="connsiteY21" fmla="*/ 1016524 h 5920066"/>
              <a:gd name="connsiteX22" fmla="*/ 3442280 w 3442280"/>
              <a:gd name="connsiteY22" fmla="*/ 1029131 h 5920066"/>
              <a:gd name="connsiteX23" fmla="*/ 3442280 w 3442280"/>
              <a:gd name="connsiteY23" fmla="*/ 1044999 h 5920066"/>
              <a:gd name="connsiteX24" fmla="*/ 3442280 w 3442280"/>
              <a:gd name="connsiteY24" fmla="*/ 1046406 h 5920066"/>
              <a:gd name="connsiteX25" fmla="*/ 3442280 w 3442280"/>
              <a:gd name="connsiteY25" fmla="*/ 1050025 h 5920066"/>
              <a:gd name="connsiteX26" fmla="*/ 3442280 w 3442280"/>
              <a:gd name="connsiteY26" fmla="*/ 1074887 h 5920066"/>
              <a:gd name="connsiteX27" fmla="*/ 3442280 w 3442280"/>
              <a:gd name="connsiteY27" fmla="*/ 1176672 h 5920066"/>
              <a:gd name="connsiteX28" fmla="*/ 3442280 w 3442280"/>
              <a:gd name="connsiteY28" fmla="*/ 1177161 h 5920066"/>
              <a:gd name="connsiteX29" fmla="*/ 3442280 w 3442280"/>
              <a:gd name="connsiteY29" fmla="*/ 1202847 h 5920066"/>
              <a:gd name="connsiteX30" fmla="*/ 3442280 w 3442280"/>
              <a:gd name="connsiteY30" fmla="*/ 1255579 h 5920066"/>
              <a:gd name="connsiteX31" fmla="*/ 3442280 w 3442280"/>
              <a:gd name="connsiteY31" fmla="*/ 1290764 h 5920066"/>
              <a:gd name="connsiteX32" fmla="*/ 3442280 w 3442280"/>
              <a:gd name="connsiteY32" fmla="*/ 1299618 h 5920066"/>
              <a:gd name="connsiteX33" fmla="*/ 3442280 w 3442280"/>
              <a:gd name="connsiteY33" fmla="*/ 1319239 h 5920066"/>
              <a:gd name="connsiteX34" fmla="*/ 3442280 w 3442280"/>
              <a:gd name="connsiteY34" fmla="*/ 1320462 h 5920066"/>
              <a:gd name="connsiteX35" fmla="*/ 3442280 w 3442280"/>
              <a:gd name="connsiteY35" fmla="*/ 1320646 h 5920066"/>
              <a:gd name="connsiteX36" fmla="*/ 3442280 w 3442280"/>
              <a:gd name="connsiteY36" fmla="*/ 1349128 h 5920066"/>
              <a:gd name="connsiteX37" fmla="*/ 3442280 w 3442280"/>
              <a:gd name="connsiteY37" fmla="*/ 1377296 h 5920066"/>
              <a:gd name="connsiteX38" fmla="*/ 3442280 w 3442280"/>
              <a:gd name="connsiteY38" fmla="*/ 1391616 h 5920066"/>
              <a:gd name="connsiteX39" fmla="*/ 3442280 w 3442280"/>
              <a:gd name="connsiteY39" fmla="*/ 1396135 h 5920066"/>
              <a:gd name="connsiteX40" fmla="*/ 3442280 w 3442280"/>
              <a:gd name="connsiteY40" fmla="*/ 1429106 h 5920066"/>
              <a:gd name="connsiteX41" fmla="*/ 3442280 w 3442280"/>
              <a:gd name="connsiteY41" fmla="*/ 1474898 h 5920066"/>
              <a:gd name="connsiteX42" fmla="*/ 3442280 w 3442280"/>
              <a:gd name="connsiteY42" fmla="*/ 1477087 h 5920066"/>
              <a:gd name="connsiteX43" fmla="*/ 3442280 w 3442280"/>
              <a:gd name="connsiteY43" fmla="*/ 1483429 h 5920066"/>
              <a:gd name="connsiteX44" fmla="*/ 3442280 w 3442280"/>
              <a:gd name="connsiteY44" fmla="*/ 1529819 h 5920066"/>
              <a:gd name="connsiteX45" fmla="*/ 3442280 w 3442280"/>
              <a:gd name="connsiteY45" fmla="*/ 1569177 h 5920066"/>
              <a:gd name="connsiteX46" fmla="*/ 3442280 w 3442280"/>
              <a:gd name="connsiteY46" fmla="*/ 1583173 h 5920066"/>
              <a:gd name="connsiteX47" fmla="*/ 3442280 w 3442280"/>
              <a:gd name="connsiteY47" fmla="*/ 1594702 h 5920066"/>
              <a:gd name="connsiteX48" fmla="*/ 3442280 w 3442280"/>
              <a:gd name="connsiteY48" fmla="*/ 1651536 h 5920066"/>
              <a:gd name="connsiteX49" fmla="*/ 3442280 w 3442280"/>
              <a:gd name="connsiteY49" fmla="*/ 1670375 h 5920066"/>
              <a:gd name="connsiteX50" fmla="*/ 3442280 w 3442280"/>
              <a:gd name="connsiteY50" fmla="*/ 1696199 h 5920066"/>
              <a:gd name="connsiteX51" fmla="*/ 3442280 w 3442280"/>
              <a:gd name="connsiteY51" fmla="*/ 1757669 h 5920066"/>
              <a:gd name="connsiteX52" fmla="*/ 3442280 w 3442280"/>
              <a:gd name="connsiteY52" fmla="*/ 1779318 h 5920066"/>
              <a:gd name="connsiteX53" fmla="*/ 3442280 w 3442280"/>
              <a:gd name="connsiteY53" fmla="*/ 1823335 h 5920066"/>
              <a:gd name="connsiteX54" fmla="*/ 3442280 w 3442280"/>
              <a:gd name="connsiteY54" fmla="*/ 1843417 h 5920066"/>
              <a:gd name="connsiteX55" fmla="*/ 3442280 w 3442280"/>
              <a:gd name="connsiteY55" fmla="*/ 1857413 h 5920066"/>
              <a:gd name="connsiteX56" fmla="*/ 3442280 w 3442280"/>
              <a:gd name="connsiteY56" fmla="*/ 1965413 h 5920066"/>
              <a:gd name="connsiteX57" fmla="*/ 3442280 w 3442280"/>
              <a:gd name="connsiteY57" fmla="*/ 1970439 h 5920066"/>
              <a:gd name="connsiteX58" fmla="*/ 3442280 w 3442280"/>
              <a:gd name="connsiteY58" fmla="*/ 2008551 h 5920066"/>
              <a:gd name="connsiteX59" fmla="*/ 3442280 w 3442280"/>
              <a:gd name="connsiteY59" fmla="*/ 2053558 h 5920066"/>
              <a:gd name="connsiteX60" fmla="*/ 3442280 w 3442280"/>
              <a:gd name="connsiteY60" fmla="*/ 2097575 h 5920066"/>
              <a:gd name="connsiteX61" fmla="*/ 3442280 w 3442280"/>
              <a:gd name="connsiteY61" fmla="*/ 2123261 h 5920066"/>
              <a:gd name="connsiteX62" fmla="*/ 3442280 w 3442280"/>
              <a:gd name="connsiteY62" fmla="*/ 2239653 h 5920066"/>
              <a:gd name="connsiteX63" fmla="*/ 3442280 w 3442280"/>
              <a:gd name="connsiteY63" fmla="*/ 2257705 h 5920066"/>
              <a:gd name="connsiteX64" fmla="*/ 3442280 w 3442280"/>
              <a:gd name="connsiteY64" fmla="*/ 2282791 h 5920066"/>
              <a:gd name="connsiteX65" fmla="*/ 3442280 w 3442280"/>
              <a:gd name="connsiteY65" fmla="*/ 2297710 h 5920066"/>
              <a:gd name="connsiteX66" fmla="*/ 3442280 w 3442280"/>
              <a:gd name="connsiteY66" fmla="*/ 2397501 h 5920066"/>
              <a:gd name="connsiteX67" fmla="*/ 3442280 w 3442280"/>
              <a:gd name="connsiteY67" fmla="*/ 2489591 h 5920066"/>
              <a:gd name="connsiteX68" fmla="*/ 3442280 w 3442280"/>
              <a:gd name="connsiteY68" fmla="*/ 2527610 h 5920066"/>
              <a:gd name="connsiteX69" fmla="*/ 3442280 w 3442280"/>
              <a:gd name="connsiteY69" fmla="*/ 2531945 h 5920066"/>
              <a:gd name="connsiteX70" fmla="*/ 3442280 w 3442280"/>
              <a:gd name="connsiteY70" fmla="*/ 2571950 h 5920066"/>
              <a:gd name="connsiteX71" fmla="*/ 3442280 w 3442280"/>
              <a:gd name="connsiteY71" fmla="*/ 2699732 h 5920066"/>
              <a:gd name="connsiteX72" fmla="*/ 3442280 w 3442280"/>
              <a:gd name="connsiteY72" fmla="*/ 2763831 h 5920066"/>
              <a:gd name="connsiteX73" fmla="*/ 3442280 w 3442280"/>
              <a:gd name="connsiteY73" fmla="*/ 2801851 h 5920066"/>
              <a:gd name="connsiteX74" fmla="*/ 3442280 w 3442280"/>
              <a:gd name="connsiteY74" fmla="*/ 2819097 h 5920066"/>
              <a:gd name="connsiteX75" fmla="*/ 3442280 w 3442280"/>
              <a:gd name="connsiteY75" fmla="*/ 2928965 h 5920066"/>
              <a:gd name="connsiteX76" fmla="*/ 3442280 w 3442280"/>
              <a:gd name="connsiteY76" fmla="*/ 2973972 h 5920066"/>
              <a:gd name="connsiteX77" fmla="*/ 3442280 w 3442280"/>
              <a:gd name="connsiteY77" fmla="*/ 3093337 h 5920066"/>
              <a:gd name="connsiteX78" fmla="*/ 3442280 w 3442280"/>
              <a:gd name="connsiteY78" fmla="*/ 3132995 h 5920066"/>
              <a:gd name="connsiteX79" fmla="*/ 3442280 w 3442280"/>
              <a:gd name="connsiteY79" fmla="*/ 3178119 h 5920066"/>
              <a:gd name="connsiteX80" fmla="*/ 3442280 w 3442280"/>
              <a:gd name="connsiteY80" fmla="*/ 3203205 h 5920066"/>
              <a:gd name="connsiteX81" fmla="*/ 3442280 w 3442280"/>
              <a:gd name="connsiteY81" fmla="*/ 3407236 h 5920066"/>
              <a:gd name="connsiteX82" fmla="*/ 3442280 w 3442280"/>
              <a:gd name="connsiteY82" fmla="*/ 3448024 h 5920066"/>
              <a:gd name="connsiteX83" fmla="*/ 3442280 w 3442280"/>
              <a:gd name="connsiteY83" fmla="*/ 3452359 h 5920066"/>
              <a:gd name="connsiteX84" fmla="*/ 3442280 w 3442280"/>
              <a:gd name="connsiteY84" fmla="*/ 3470135 h 5920066"/>
              <a:gd name="connsiteX85" fmla="*/ 3442280 w 3442280"/>
              <a:gd name="connsiteY85" fmla="*/ 3722265 h 5920066"/>
              <a:gd name="connsiteX86" fmla="*/ 3442280 w 3442280"/>
              <a:gd name="connsiteY86" fmla="*/ 3739511 h 5920066"/>
              <a:gd name="connsiteX87" fmla="*/ 3442280 w 3442280"/>
              <a:gd name="connsiteY87" fmla="*/ 3744375 h 5920066"/>
              <a:gd name="connsiteX88" fmla="*/ 3442280 w 3442280"/>
              <a:gd name="connsiteY88" fmla="*/ 3831346 h 5920066"/>
              <a:gd name="connsiteX89" fmla="*/ 3442280 w 3442280"/>
              <a:gd name="connsiteY89" fmla="*/ 4013751 h 5920066"/>
              <a:gd name="connsiteX90" fmla="*/ 3442280 w 3442280"/>
              <a:gd name="connsiteY90" fmla="*/ 4053409 h 5920066"/>
              <a:gd name="connsiteX91" fmla="*/ 3442280 w 3442280"/>
              <a:gd name="connsiteY91" fmla="*/ 4105586 h 5920066"/>
              <a:gd name="connsiteX92" fmla="*/ 3442280 w 3442280"/>
              <a:gd name="connsiteY92" fmla="*/ 4217459 h 5920066"/>
              <a:gd name="connsiteX93" fmla="*/ 3442280 w 3442280"/>
              <a:gd name="connsiteY93" fmla="*/ 4327650 h 5920066"/>
              <a:gd name="connsiteX94" fmla="*/ 3442280 w 3442280"/>
              <a:gd name="connsiteY94" fmla="*/ 4390549 h 5920066"/>
              <a:gd name="connsiteX95" fmla="*/ 3442280 w 3442280"/>
              <a:gd name="connsiteY95" fmla="*/ 4491699 h 5920066"/>
              <a:gd name="connsiteX96" fmla="*/ 3442280 w 3442280"/>
              <a:gd name="connsiteY96" fmla="*/ 4629303 h 5920066"/>
              <a:gd name="connsiteX97" fmla="*/ 3442280 w 3442280"/>
              <a:gd name="connsiteY97" fmla="*/ 4664789 h 5920066"/>
              <a:gd name="connsiteX98" fmla="*/ 3442280 w 3442280"/>
              <a:gd name="connsiteY98" fmla="*/ 4751760 h 5920066"/>
              <a:gd name="connsiteX99" fmla="*/ 3442280 w 3442280"/>
              <a:gd name="connsiteY99" fmla="*/ 4903543 h 5920066"/>
              <a:gd name="connsiteX100" fmla="*/ 3442280 w 3442280"/>
              <a:gd name="connsiteY100" fmla="*/ 5026000 h 5920066"/>
              <a:gd name="connsiteX101" fmla="*/ 3442280 w 3442280"/>
              <a:gd name="connsiteY101" fmla="*/ 5137873 h 5920066"/>
              <a:gd name="connsiteX102" fmla="*/ 3442280 w 3442280"/>
              <a:gd name="connsiteY102" fmla="*/ 5412113 h 5920066"/>
              <a:gd name="connsiteX103" fmla="*/ 3442280 w 3442280"/>
              <a:gd name="connsiteY103" fmla="*/ 5549717 h 5920066"/>
              <a:gd name="connsiteX104" fmla="*/ 3442280 w 3442280"/>
              <a:gd name="connsiteY104" fmla="*/ 5823957 h 5920066"/>
              <a:gd name="connsiteX105" fmla="*/ 3361283 w 3442280"/>
              <a:gd name="connsiteY105" fmla="*/ 5918566 h 5920066"/>
              <a:gd name="connsiteX106" fmla="*/ 3346294 w 3442280"/>
              <a:gd name="connsiteY106" fmla="*/ 5920066 h 5920066"/>
              <a:gd name="connsiteX107" fmla="*/ 0 w 3442280"/>
              <a:gd name="connsiteY107" fmla="*/ 5920066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442280" h="5920066">
                <a:moveTo>
                  <a:pt x="0" y="0"/>
                </a:moveTo>
                <a:lnTo>
                  <a:pt x="3346283" y="0"/>
                </a:lnTo>
                <a:cubicBezTo>
                  <a:pt x="3442280" y="0"/>
                  <a:pt x="3442280" y="96110"/>
                  <a:pt x="3442280" y="96110"/>
                </a:cubicBezTo>
                <a:cubicBezTo>
                  <a:pt x="3442280" y="96110"/>
                  <a:pt x="3442280" y="96110"/>
                  <a:pt x="3442280" y="335165"/>
                </a:cubicBezTo>
                <a:lnTo>
                  <a:pt x="3442280" y="370350"/>
                </a:lnTo>
                <a:cubicBezTo>
                  <a:pt x="3442280" y="370350"/>
                  <a:pt x="3442280" y="370350"/>
                  <a:pt x="3442280" y="379204"/>
                </a:cubicBezTo>
                <a:lnTo>
                  <a:pt x="3442280" y="400048"/>
                </a:lnTo>
                <a:lnTo>
                  <a:pt x="3442280" y="400232"/>
                </a:lnTo>
                <a:cubicBezTo>
                  <a:pt x="3442280" y="415173"/>
                  <a:pt x="3442280" y="437585"/>
                  <a:pt x="3442280" y="471202"/>
                </a:cubicBezTo>
                <a:lnTo>
                  <a:pt x="3442280" y="475721"/>
                </a:lnTo>
                <a:lnTo>
                  <a:pt x="3442280" y="508692"/>
                </a:lnTo>
                <a:cubicBezTo>
                  <a:pt x="3442280" y="522527"/>
                  <a:pt x="3442280" y="537744"/>
                  <a:pt x="3442280" y="554484"/>
                </a:cubicBezTo>
                <a:lnTo>
                  <a:pt x="3442280" y="563015"/>
                </a:lnTo>
                <a:lnTo>
                  <a:pt x="3442280" y="609405"/>
                </a:lnTo>
                <a:lnTo>
                  <a:pt x="3442280" y="662759"/>
                </a:lnTo>
                <a:lnTo>
                  <a:pt x="3442280" y="674288"/>
                </a:lnTo>
                <a:cubicBezTo>
                  <a:pt x="3442280" y="697668"/>
                  <a:pt x="3442280" y="722846"/>
                  <a:pt x="3442280" y="749961"/>
                </a:cubicBezTo>
                <a:lnTo>
                  <a:pt x="3442280" y="775785"/>
                </a:lnTo>
                <a:lnTo>
                  <a:pt x="3442280" y="837255"/>
                </a:lnTo>
                <a:lnTo>
                  <a:pt x="3442280" y="902921"/>
                </a:lnTo>
                <a:lnTo>
                  <a:pt x="3442280" y="936999"/>
                </a:lnTo>
                <a:lnTo>
                  <a:pt x="3442280" y="1016524"/>
                </a:lnTo>
                <a:cubicBezTo>
                  <a:pt x="3442280" y="1016524"/>
                  <a:pt x="3442280" y="1016524"/>
                  <a:pt x="3442280" y="1029131"/>
                </a:cubicBezTo>
                <a:lnTo>
                  <a:pt x="3442280" y="1044999"/>
                </a:lnTo>
                <a:lnTo>
                  <a:pt x="3442280" y="1046406"/>
                </a:lnTo>
                <a:lnTo>
                  <a:pt x="3442280" y="1050025"/>
                </a:lnTo>
                <a:lnTo>
                  <a:pt x="3442280" y="1074887"/>
                </a:lnTo>
                <a:cubicBezTo>
                  <a:pt x="3442280" y="1098232"/>
                  <a:pt x="3442280" y="1130916"/>
                  <a:pt x="3442280" y="1176672"/>
                </a:cubicBezTo>
                <a:lnTo>
                  <a:pt x="3442280" y="1177161"/>
                </a:lnTo>
                <a:lnTo>
                  <a:pt x="3442280" y="1202847"/>
                </a:lnTo>
                <a:lnTo>
                  <a:pt x="3442280" y="1255579"/>
                </a:lnTo>
                <a:lnTo>
                  <a:pt x="3442280" y="1290764"/>
                </a:lnTo>
                <a:cubicBezTo>
                  <a:pt x="3442280" y="1290764"/>
                  <a:pt x="3442280" y="1290764"/>
                  <a:pt x="3442280" y="1299618"/>
                </a:cubicBezTo>
                <a:lnTo>
                  <a:pt x="3442280" y="1319239"/>
                </a:lnTo>
                <a:lnTo>
                  <a:pt x="3442280" y="1320462"/>
                </a:lnTo>
                <a:lnTo>
                  <a:pt x="3442280" y="1320646"/>
                </a:lnTo>
                <a:cubicBezTo>
                  <a:pt x="3442280" y="1328117"/>
                  <a:pt x="3442280" y="1337455"/>
                  <a:pt x="3442280" y="1349128"/>
                </a:cubicBezTo>
                <a:lnTo>
                  <a:pt x="3442280" y="1377296"/>
                </a:lnTo>
                <a:lnTo>
                  <a:pt x="3442280" y="1391616"/>
                </a:lnTo>
                <a:lnTo>
                  <a:pt x="3442280" y="1396135"/>
                </a:lnTo>
                <a:lnTo>
                  <a:pt x="3442280" y="1429106"/>
                </a:lnTo>
                <a:cubicBezTo>
                  <a:pt x="3442280" y="1442941"/>
                  <a:pt x="3442280" y="1458158"/>
                  <a:pt x="3442280" y="1474898"/>
                </a:cubicBezTo>
                <a:lnTo>
                  <a:pt x="3442280" y="1477087"/>
                </a:lnTo>
                <a:lnTo>
                  <a:pt x="3442280" y="1483429"/>
                </a:lnTo>
                <a:lnTo>
                  <a:pt x="3442280" y="1529819"/>
                </a:lnTo>
                <a:lnTo>
                  <a:pt x="3442280" y="1569177"/>
                </a:lnTo>
                <a:lnTo>
                  <a:pt x="3442280" y="1583173"/>
                </a:lnTo>
                <a:lnTo>
                  <a:pt x="3442280" y="1594702"/>
                </a:lnTo>
                <a:lnTo>
                  <a:pt x="3442280" y="1651536"/>
                </a:lnTo>
                <a:lnTo>
                  <a:pt x="3442280" y="1670375"/>
                </a:lnTo>
                <a:lnTo>
                  <a:pt x="3442280" y="1696199"/>
                </a:lnTo>
                <a:lnTo>
                  <a:pt x="3442280" y="1757669"/>
                </a:lnTo>
                <a:lnTo>
                  <a:pt x="3442280" y="1779318"/>
                </a:lnTo>
                <a:lnTo>
                  <a:pt x="3442280" y="1823335"/>
                </a:lnTo>
                <a:lnTo>
                  <a:pt x="3442280" y="1843417"/>
                </a:lnTo>
                <a:lnTo>
                  <a:pt x="3442280" y="1857413"/>
                </a:lnTo>
                <a:lnTo>
                  <a:pt x="3442280" y="1965413"/>
                </a:lnTo>
                <a:lnTo>
                  <a:pt x="3442280" y="1970439"/>
                </a:lnTo>
                <a:lnTo>
                  <a:pt x="3442280" y="2008551"/>
                </a:lnTo>
                <a:lnTo>
                  <a:pt x="3442280" y="2053558"/>
                </a:lnTo>
                <a:lnTo>
                  <a:pt x="3442280" y="2097575"/>
                </a:lnTo>
                <a:lnTo>
                  <a:pt x="3442280" y="2123261"/>
                </a:lnTo>
                <a:lnTo>
                  <a:pt x="3442280" y="2239653"/>
                </a:lnTo>
                <a:lnTo>
                  <a:pt x="3442280" y="2257705"/>
                </a:lnTo>
                <a:lnTo>
                  <a:pt x="3442280" y="2282791"/>
                </a:lnTo>
                <a:lnTo>
                  <a:pt x="3442280" y="2297710"/>
                </a:lnTo>
                <a:lnTo>
                  <a:pt x="3442280" y="2397501"/>
                </a:lnTo>
                <a:lnTo>
                  <a:pt x="3442280" y="2489591"/>
                </a:lnTo>
                <a:lnTo>
                  <a:pt x="3442280" y="2527610"/>
                </a:lnTo>
                <a:lnTo>
                  <a:pt x="3442280" y="2531945"/>
                </a:lnTo>
                <a:lnTo>
                  <a:pt x="3442280" y="2571950"/>
                </a:lnTo>
                <a:lnTo>
                  <a:pt x="3442280" y="2699732"/>
                </a:lnTo>
                <a:lnTo>
                  <a:pt x="3442280" y="2763831"/>
                </a:lnTo>
                <a:lnTo>
                  <a:pt x="3442280" y="2801851"/>
                </a:lnTo>
                <a:lnTo>
                  <a:pt x="3442280" y="2819097"/>
                </a:lnTo>
                <a:lnTo>
                  <a:pt x="3442280" y="2928965"/>
                </a:lnTo>
                <a:lnTo>
                  <a:pt x="3442280" y="2973972"/>
                </a:lnTo>
                <a:lnTo>
                  <a:pt x="3442280" y="3093337"/>
                </a:lnTo>
                <a:lnTo>
                  <a:pt x="3442280" y="3132995"/>
                </a:lnTo>
                <a:lnTo>
                  <a:pt x="3442280" y="3178119"/>
                </a:lnTo>
                <a:lnTo>
                  <a:pt x="3442280" y="3203205"/>
                </a:lnTo>
                <a:lnTo>
                  <a:pt x="3442280" y="3407236"/>
                </a:lnTo>
                <a:lnTo>
                  <a:pt x="3442280" y="3448024"/>
                </a:lnTo>
                <a:lnTo>
                  <a:pt x="3442280" y="3452359"/>
                </a:lnTo>
                <a:lnTo>
                  <a:pt x="3442280" y="3470135"/>
                </a:lnTo>
                <a:lnTo>
                  <a:pt x="3442280" y="3722265"/>
                </a:lnTo>
                <a:lnTo>
                  <a:pt x="3442280" y="3739511"/>
                </a:lnTo>
                <a:lnTo>
                  <a:pt x="3442280" y="3744375"/>
                </a:lnTo>
                <a:lnTo>
                  <a:pt x="3442280" y="3831346"/>
                </a:lnTo>
                <a:lnTo>
                  <a:pt x="3442280" y="4013751"/>
                </a:lnTo>
                <a:lnTo>
                  <a:pt x="3442280" y="4053409"/>
                </a:lnTo>
                <a:lnTo>
                  <a:pt x="3442280" y="4105586"/>
                </a:lnTo>
                <a:lnTo>
                  <a:pt x="3442280" y="4217459"/>
                </a:lnTo>
                <a:lnTo>
                  <a:pt x="3442280" y="4327650"/>
                </a:lnTo>
                <a:lnTo>
                  <a:pt x="3442280" y="4390549"/>
                </a:lnTo>
                <a:lnTo>
                  <a:pt x="3442280" y="4491699"/>
                </a:lnTo>
                <a:lnTo>
                  <a:pt x="3442280" y="4629303"/>
                </a:lnTo>
                <a:lnTo>
                  <a:pt x="3442280" y="4664789"/>
                </a:lnTo>
                <a:lnTo>
                  <a:pt x="3442280" y="4751760"/>
                </a:lnTo>
                <a:lnTo>
                  <a:pt x="3442280" y="4903543"/>
                </a:lnTo>
                <a:lnTo>
                  <a:pt x="3442280" y="5026000"/>
                </a:lnTo>
                <a:lnTo>
                  <a:pt x="3442280" y="5137873"/>
                </a:lnTo>
                <a:lnTo>
                  <a:pt x="3442280" y="5412113"/>
                </a:lnTo>
                <a:lnTo>
                  <a:pt x="3442280" y="5549717"/>
                </a:lnTo>
                <a:lnTo>
                  <a:pt x="3442280" y="5823957"/>
                </a:lnTo>
                <a:cubicBezTo>
                  <a:pt x="3442280" y="5896040"/>
                  <a:pt x="3388282" y="5914060"/>
                  <a:pt x="3361283" y="5918566"/>
                </a:cubicBezTo>
                <a:lnTo>
                  <a:pt x="3346294" y="5920066"/>
                </a:lnTo>
                <a:lnTo>
                  <a:pt x="0" y="5920066"/>
                </a:ln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59964" tIns="359964">
            <a:noAutofit/>
          </a:bodyPr>
          <a:lstStyle>
            <a:lvl1pPr algn="ctr">
              <a:defRPr sz="1400" b="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45576" y="280734"/>
            <a:ext cx="677862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40031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806">
          <p15:clr>
            <a:srgbClr val="FBAE40"/>
          </p15:clr>
        </p15:guide>
        <p15:guide id="2" pos="5322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696912" y="1201147"/>
            <a:ext cx="11199600" cy="4999652"/>
          </a:xfrm>
          <a:custGeom>
            <a:avLst/>
            <a:gdLst>
              <a:gd name="connsiteX0" fmla="*/ 95997 w 11199600"/>
              <a:gd name="connsiteY0" fmla="*/ 0 h 4999652"/>
              <a:gd name="connsiteX1" fmla="*/ 11103603 w 11199600"/>
              <a:gd name="connsiteY1" fmla="*/ 0 h 4999652"/>
              <a:gd name="connsiteX2" fmla="*/ 11199600 w 11199600"/>
              <a:gd name="connsiteY2" fmla="*/ 96110 h 4999652"/>
              <a:gd name="connsiteX3" fmla="*/ 11199600 w 11199600"/>
              <a:gd name="connsiteY3" fmla="*/ 335165 h 4999652"/>
              <a:gd name="connsiteX4" fmla="*/ 11199600 w 11199600"/>
              <a:gd name="connsiteY4" fmla="*/ 370350 h 4999652"/>
              <a:gd name="connsiteX5" fmla="*/ 11199600 w 11199600"/>
              <a:gd name="connsiteY5" fmla="*/ 379204 h 4999652"/>
              <a:gd name="connsiteX6" fmla="*/ 11199600 w 11199600"/>
              <a:gd name="connsiteY6" fmla="*/ 400048 h 4999652"/>
              <a:gd name="connsiteX7" fmla="*/ 11199600 w 11199600"/>
              <a:gd name="connsiteY7" fmla="*/ 400232 h 4999652"/>
              <a:gd name="connsiteX8" fmla="*/ 11199600 w 11199600"/>
              <a:gd name="connsiteY8" fmla="*/ 471202 h 4999652"/>
              <a:gd name="connsiteX9" fmla="*/ 11199600 w 11199600"/>
              <a:gd name="connsiteY9" fmla="*/ 475721 h 4999652"/>
              <a:gd name="connsiteX10" fmla="*/ 11199600 w 11199600"/>
              <a:gd name="connsiteY10" fmla="*/ 508692 h 4999652"/>
              <a:gd name="connsiteX11" fmla="*/ 11199600 w 11199600"/>
              <a:gd name="connsiteY11" fmla="*/ 554484 h 4999652"/>
              <a:gd name="connsiteX12" fmla="*/ 11199600 w 11199600"/>
              <a:gd name="connsiteY12" fmla="*/ 563015 h 4999652"/>
              <a:gd name="connsiteX13" fmla="*/ 11199600 w 11199600"/>
              <a:gd name="connsiteY13" fmla="*/ 609405 h 4999652"/>
              <a:gd name="connsiteX14" fmla="*/ 11199600 w 11199600"/>
              <a:gd name="connsiteY14" fmla="*/ 662759 h 4999652"/>
              <a:gd name="connsiteX15" fmla="*/ 11199600 w 11199600"/>
              <a:gd name="connsiteY15" fmla="*/ 674288 h 4999652"/>
              <a:gd name="connsiteX16" fmla="*/ 11199600 w 11199600"/>
              <a:gd name="connsiteY16" fmla="*/ 749961 h 4999652"/>
              <a:gd name="connsiteX17" fmla="*/ 11199600 w 11199600"/>
              <a:gd name="connsiteY17" fmla="*/ 775785 h 4999652"/>
              <a:gd name="connsiteX18" fmla="*/ 11199600 w 11199600"/>
              <a:gd name="connsiteY18" fmla="*/ 837255 h 4999652"/>
              <a:gd name="connsiteX19" fmla="*/ 11199600 w 11199600"/>
              <a:gd name="connsiteY19" fmla="*/ 902921 h 4999652"/>
              <a:gd name="connsiteX20" fmla="*/ 11199600 w 11199600"/>
              <a:gd name="connsiteY20" fmla="*/ 936999 h 4999652"/>
              <a:gd name="connsiteX21" fmla="*/ 11199600 w 11199600"/>
              <a:gd name="connsiteY21" fmla="*/ 1016524 h 4999652"/>
              <a:gd name="connsiteX22" fmla="*/ 11199600 w 11199600"/>
              <a:gd name="connsiteY22" fmla="*/ 1029131 h 4999652"/>
              <a:gd name="connsiteX23" fmla="*/ 11199600 w 11199600"/>
              <a:gd name="connsiteY23" fmla="*/ 1044999 h 4999652"/>
              <a:gd name="connsiteX24" fmla="*/ 11199600 w 11199600"/>
              <a:gd name="connsiteY24" fmla="*/ 1046406 h 4999652"/>
              <a:gd name="connsiteX25" fmla="*/ 11199600 w 11199600"/>
              <a:gd name="connsiteY25" fmla="*/ 1050025 h 4999652"/>
              <a:gd name="connsiteX26" fmla="*/ 11199600 w 11199600"/>
              <a:gd name="connsiteY26" fmla="*/ 1074887 h 4999652"/>
              <a:gd name="connsiteX27" fmla="*/ 11199600 w 11199600"/>
              <a:gd name="connsiteY27" fmla="*/ 1176672 h 4999652"/>
              <a:gd name="connsiteX28" fmla="*/ 11199600 w 11199600"/>
              <a:gd name="connsiteY28" fmla="*/ 1177161 h 4999652"/>
              <a:gd name="connsiteX29" fmla="*/ 11199600 w 11199600"/>
              <a:gd name="connsiteY29" fmla="*/ 1202847 h 4999652"/>
              <a:gd name="connsiteX30" fmla="*/ 11199600 w 11199600"/>
              <a:gd name="connsiteY30" fmla="*/ 1208224 h 4999652"/>
              <a:gd name="connsiteX31" fmla="*/ 11199600 w 11199600"/>
              <a:gd name="connsiteY31" fmla="*/ 1255579 h 4999652"/>
              <a:gd name="connsiteX32" fmla="*/ 11199600 w 11199600"/>
              <a:gd name="connsiteY32" fmla="*/ 1290764 h 4999652"/>
              <a:gd name="connsiteX33" fmla="*/ 11199600 w 11199600"/>
              <a:gd name="connsiteY33" fmla="*/ 1299618 h 4999652"/>
              <a:gd name="connsiteX34" fmla="*/ 11199600 w 11199600"/>
              <a:gd name="connsiteY34" fmla="*/ 1319238 h 4999652"/>
              <a:gd name="connsiteX35" fmla="*/ 11199600 w 11199600"/>
              <a:gd name="connsiteY35" fmla="*/ 1319239 h 4999652"/>
              <a:gd name="connsiteX36" fmla="*/ 11199600 w 11199600"/>
              <a:gd name="connsiteY36" fmla="*/ 1320462 h 4999652"/>
              <a:gd name="connsiteX37" fmla="*/ 11199600 w 11199600"/>
              <a:gd name="connsiteY37" fmla="*/ 1320646 h 4999652"/>
              <a:gd name="connsiteX38" fmla="*/ 11199600 w 11199600"/>
              <a:gd name="connsiteY38" fmla="*/ 1337290 h 4999652"/>
              <a:gd name="connsiteX39" fmla="*/ 11199600 w 11199600"/>
              <a:gd name="connsiteY39" fmla="*/ 1349128 h 4999652"/>
              <a:gd name="connsiteX40" fmla="*/ 11199600 w 11199600"/>
              <a:gd name="connsiteY40" fmla="*/ 1362376 h 4999652"/>
              <a:gd name="connsiteX41" fmla="*/ 11199600 w 11199600"/>
              <a:gd name="connsiteY41" fmla="*/ 1377295 h 4999652"/>
              <a:gd name="connsiteX42" fmla="*/ 11199600 w 11199600"/>
              <a:gd name="connsiteY42" fmla="*/ 1377296 h 4999652"/>
              <a:gd name="connsiteX43" fmla="*/ 11199600 w 11199600"/>
              <a:gd name="connsiteY43" fmla="*/ 1391616 h 4999652"/>
              <a:gd name="connsiteX44" fmla="*/ 11199600 w 11199600"/>
              <a:gd name="connsiteY44" fmla="*/ 1396135 h 4999652"/>
              <a:gd name="connsiteX45" fmla="*/ 11199600 w 11199600"/>
              <a:gd name="connsiteY45" fmla="*/ 1429106 h 4999652"/>
              <a:gd name="connsiteX46" fmla="*/ 11199600 w 11199600"/>
              <a:gd name="connsiteY46" fmla="*/ 1474898 h 4999652"/>
              <a:gd name="connsiteX47" fmla="*/ 11199600 w 11199600"/>
              <a:gd name="connsiteY47" fmla="*/ 1477086 h 4999652"/>
              <a:gd name="connsiteX48" fmla="*/ 11199600 w 11199600"/>
              <a:gd name="connsiteY48" fmla="*/ 1477087 h 4999652"/>
              <a:gd name="connsiteX49" fmla="*/ 11199600 w 11199600"/>
              <a:gd name="connsiteY49" fmla="*/ 1483429 h 4999652"/>
              <a:gd name="connsiteX50" fmla="*/ 11199600 w 11199600"/>
              <a:gd name="connsiteY50" fmla="*/ 1529819 h 4999652"/>
              <a:gd name="connsiteX51" fmla="*/ 11199600 w 11199600"/>
              <a:gd name="connsiteY51" fmla="*/ 1569176 h 4999652"/>
              <a:gd name="connsiteX52" fmla="*/ 11199600 w 11199600"/>
              <a:gd name="connsiteY52" fmla="*/ 1569177 h 4999652"/>
              <a:gd name="connsiteX53" fmla="*/ 11199600 w 11199600"/>
              <a:gd name="connsiteY53" fmla="*/ 1583173 h 4999652"/>
              <a:gd name="connsiteX54" fmla="*/ 11199600 w 11199600"/>
              <a:gd name="connsiteY54" fmla="*/ 1594702 h 4999652"/>
              <a:gd name="connsiteX55" fmla="*/ 11199600 w 11199600"/>
              <a:gd name="connsiteY55" fmla="*/ 1607195 h 4999652"/>
              <a:gd name="connsiteX56" fmla="*/ 11199600 w 11199600"/>
              <a:gd name="connsiteY56" fmla="*/ 1611530 h 4999652"/>
              <a:gd name="connsiteX57" fmla="*/ 11199600 w 11199600"/>
              <a:gd name="connsiteY57" fmla="*/ 1651535 h 4999652"/>
              <a:gd name="connsiteX58" fmla="*/ 11199600 w 11199600"/>
              <a:gd name="connsiteY58" fmla="*/ 1651536 h 4999652"/>
              <a:gd name="connsiteX59" fmla="*/ 11199600 w 11199600"/>
              <a:gd name="connsiteY59" fmla="*/ 1670375 h 4999652"/>
              <a:gd name="connsiteX60" fmla="*/ 11199600 w 11199600"/>
              <a:gd name="connsiteY60" fmla="*/ 1696199 h 4999652"/>
              <a:gd name="connsiteX61" fmla="*/ 11199600 w 11199600"/>
              <a:gd name="connsiteY61" fmla="*/ 1757669 h 4999652"/>
              <a:gd name="connsiteX62" fmla="*/ 11199600 w 11199600"/>
              <a:gd name="connsiteY62" fmla="*/ 1779317 h 4999652"/>
              <a:gd name="connsiteX63" fmla="*/ 11199600 w 11199600"/>
              <a:gd name="connsiteY63" fmla="*/ 1779318 h 4999652"/>
              <a:gd name="connsiteX64" fmla="*/ 11199600 w 11199600"/>
              <a:gd name="connsiteY64" fmla="*/ 1823335 h 4999652"/>
              <a:gd name="connsiteX65" fmla="*/ 11199600 w 11199600"/>
              <a:gd name="connsiteY65" fmla="*/ 1843416 h 4999652"/>
              <a:gd name="connsiteX66" fmla="*/ 11199600 w 11199600"/>
              <a:gd name="connsiteY66" fmla="*/ 1843417 h 4999652"/>
              <a:gd name="connsiteX67" fmla="*/ 11199600 w 11199600"/>
              <a:gd name="connsiteY67" fmla="*/ 1857413 h 4999652"/>
              <a:gd name="connsiteX68" fmla="*/ 11199600 w 11199600"/>
              <a:gd name="connsiteY68" fmla="*/ 1881436 h 4999652"/>
              <a:gd name="connsiteX69" fmla="*/ 11199600 w 11199600"/>
              <a:gd name="connsiteY69" fmla="*/ 1898682 h 4999652"/>
              <a:gd name="connsiteX70" fmla="*/ 11199600 w 11199600"/>
              <a:gd name="connsiteY70" fmla="*/ 1965413 h 4999652"/>
              <a:gd name="connsiteX71" fmla="*/ 11199600 w 11199600"/>
              <a:gd name="connsiteY71" fmla="*/ 1970439 h 4999652"/>
              <a:gd name="connsiteX72" fmla="*/ 11199600 w 11199600"/>
              <a:gd name="connsiteY72" fmla="*/ 2008550 h 4999652"/>
              <a:gd name="connsiteX73" fmla="*/ 11199600 w 11199600"/>
              <a:gd name="connsiteY73" fmla="*/ 2008551 h 4999652"/>
              <a:gd name="connsiteX74" fmla="*/ 11199600 w 11199600"/>
              <a:gd name="connsiteY74" fmla="*/ 2053557 h 4999652"/>
              <a:gd name="connsiteX75" fmla="*/ 11199600 w 11199600"/>
              <a:gd name="connsiteY75" fmla="*/ 2053558 h 4999652"/>
              <a:gd name="connsiteX76" fmla="*/ 11199600 w 11199600"/>
              <a:gd name="connsiteY76" fmla="*/ 2097575 h 4999652"/>
              <a:gd name="connsiteX77" fmla="*/ 11199600 w 11199600"/>
              <a:gd name="connsiteY77" fmla="*/ 2123261 h 4999652"/>
              <a:gd name="connsiteX78" fmla="*/ 11199600 w 11199600"/>
              <a:gd name="connsiteY78" fmla="*/ 2172922 h 4999652"/>
              <a:gd name="connsiteX79" fmla="*/ 11199600 w 11199600"/>
              <a:gd name="connsiteY79" fmla="*/ 2212580 h 4999652"/>
              <a:gd name="connsiteX80" fmla="*/ 11199600 w 11199600"/>
              <a:gd name="connsiteY80" fmla="*/ 2239653 h 4999652"/>
              <a:gd name="connsiteX81" fmla="*/ 11199600 w 11199600"/>
              <a:gd name="connsiteY81" fmla="*/ 2257704 h 4999652"/>
              <a:gd name="connsiteX82" fmla="*/ 11199600 w 11199600"/>
              <a:gd name="connsiteY82" fmla="*/ 2257705 h 4999652"/>
              <a:gd name="connsiteX83" fmla="*/ 11199600 w 11199600"/>
              <a:gd name="connsiteY83" fmla="*/ 2282790 h 4999652"/>
              <a:gd name="connsiteX84" fmla="*/ 11199600 w 11199600"/>
              <a:gd name="connsiteY84" fmla="*/ 2282791 h 4999652"/>
              <a:gd name="connsiteX85" fmla="*/ 11199600 w 11199600"/>
              <a:gd name="connsiteY85" fmla="*/ 2297710 h 4999652"/>
              <a:gd name="connsiteX86" fmla="*/ 11199600 w 11199600"/>
              <a:gd name="connsiteY86" fmla="*/ 2397501 h 4999652"/>
              <a:gd name="connsiteX87" fmla="*/ 11199600 w 11199600"/>
              <a:gd name="connsiteY87" fmla="*/ 2486821 h 4999652"/>
              <a:gd name="connsiteX88" fmla="*/ 11199600 w 11199600"/>
              <a:gd name="connsiteY88" fmla="*/ 2489591 h 4999652"/>
              <a:gd name="connsiteX89" fmla="*/ 11199600 w 11199600"/>
              <a:gd name="connsiteY89" fmla="*/ 2527609 h 4999652"/>
              <a:gd name="connsiteX90" fmla="*/ 11199600 w 11199600"/>
              <a:gd name="connsiteY90" fmla="*/ 2527610 h 4999652"/>
              <a:gd name="connsiteX91" fmla="*/ 11199600 w 11199600"/>
              <a:gd name="connsiteY91" fmla="*/ 2531944 h 4999652"/>
              <a:gd name="connsiteX92" fmla="*/ 11199600 w 11199600"/>
              <a:gd name="connsiteY92" fmla="*/ 2531945 h 4999652"/>
              <a:gd name="connsiteX93" fmla="*/ 11199600 w 11199600"/>
              <a:gd name="connsiteY93" fmla="*/ 2549720 h 4999652"/>
              <a:gd name="connsiteX94" fmla="*/ 11199600 w 11199600"/>
              <a:gd name="connsiteY94" fmla="*/ 2571950 h 4999652"/>
              <a:gd name="connsiteX95" fmla="*/ 11199600 w 11199600"/>
              <a:gd name="connsiteY95" fmla="*/ 2699732 h 4999652"/>
              <a:gd name="connsiteX96" fmla="*/ 11199600 w 11199600"/>
              <a:gd name="connsiteY96" fmla="*/ 2763831 h 4999652"/>
              <a:gd name="connsiteX97" fmla="*/ 11199600 w 11199600"/>
              <a:gd name="connsiteY97" fmla="*/ 2790282 h 4999652"/>
              <a:gd name="connsiteX98" fmla="*/ 11199600 w 11199600"/>
              <a:gd name="connsiteY98" fmla="*/ 2801850 h 4999652"/>
              <a:gd name="connsiteX99" fmla="*/ 11199600 w 11199600"/>
              <a:gd name="connsiteY99" fmla="*/ 2819096 h 4999652"/>
              <a:gd name="connsiteX100" fmla="*/ 11199600 w 11199600"/>
              <a:gd name="connsiteY100" fmla="*/ 2823960 h 4999652"/>
              <a:gd name="connsiteX101" fmla="*/ 11199600 w 11199600"/>
              <a:gd name="connsiteY101" fmla="*/ 2910931 h 4999652"/>
              <a:gd name="connsiteX102" fmla="*/ 11199600 w 11199600"/>
              <a:gd name="connsiteY102" fmla="*/ 3093336 h 4999652"/>
              <a:gd name="connsiteX103" fmla="*/ 11199600 w 11199600"/>
              <a:gd name="connsiteY103" fmla="*/ 3132994 h 4999652"/>
              <a:gd name="connsiteX104" fmla="*/ 11199600 w 11199600"/>
              <a:gd name="connsiteY104" fmla="*/ 3185171 h 4999652"/>
              <a:gd name="connsiteX105" fmla="*/ 11199600 w 11199600"/>
              <a:gd name="connsiteY105" fmla="*/ 3297044 h 4999652"/>
              <a:gd name="connsiteX106" fmla="*/ 11199600 w 11199600"/>
              <a:gd name="connsiteY106" fmla="*/ 3407235 h 4999652"/>
              <a:gd name="connsiteX107" fmla="*/ 11199600 w 11199600"/>
              <a:gd name="connsiteY107" fmla="*/ 3470134 h 4999652"/>
              <a:gd name="connsiteX108" fmla="*/ 11199600 w 11199600"/>
              <a:gd name="connsiteY108" fmla="*/ 3571284 h 4999652"/>
              <a:gd name="connsiteX109" fmla="*/ 11199600 w 11199600"/>
              <a:gd name="connsiteY109" fmla="*/ 3708888 h 4999652"/>
              <a:gd name="connsiteX110" fmla="*/ 11199600 w 11199600"/>
              <a:gd name="connsiteY110" fmla="*/ 3744374 h 4999652"/>
              <a:gd name="connsiteX111" fmla="*/ 11199600 w 11199600"/>
              <a:gd name="connsiteY111" fmla="*/ 3831345 h 4999652"/>
              <a:gd name="connsiteX112" fmla="*/ 11199600 w 11199600"/>
              <a:gd name="connsiteY112" fmla="*/ 3983128 h 4999652"/>
              <a:gd name="connsiteX113" fmla="*/ 11199600 w 11199600"/>
              <a:gd name="connsiteY113" fmla="*/ 4105585 h 4999652"/>
              <a:gd name="connsiteX114" fmla="*/ 11199600 w 11199600"/>
              <a:gd name="connsiteY114" fmla="*/ 4217458 h 4999652"/>
              <a:gd name="connsiteX115" fmla="*/ 11199600 w 11199600"/>
              <a:gd name="connsiteY115" fmla="*/ 4491698 h 4999652"/>
              <a:gd name="connsiteX116" fmla="*/ 11199600 w 11199600"/>
              <a:gd name="connsiteY116" fmla="*/ 4629302 h 4999652"/>
              <a:gd name="connsiteX117" fmla="*/ 11199600 w 11199600"/>
              <a:gd name="connsiteY117" fmla="*/ 4903542 h 4999652"/>
              <a:gd name="connsiteX118" fmla="*/ 11103603 w 11199600"/>
              <a:gd name="connsiteY118" fmla="*/ 4999652 h 4999652"/>
              <a:gd name="connsiteX119" fmla="*/ 95997 w 11199600"/>
              <a:gd name="connsiteY119" fmla="*/ 4999652 h 4999652"/>
              <a:gd name="connsiteX120" fmla="*/ 0 w 11199600"/>
              <a:gd name="connsiteY120" fmla="*/ 4903542 h 4999652"/>
              <a:gd name="connsiteX121" fmla="*/ 0 w 11199600"/>
              <a:gd name="connsiteY121" fmla="*/ 4899807 h 4999652"/>
              <a:gd name="connsiteX122" fmla="*/ 0 w 11199600"/>
              <a:gd name="connsiteY122" fmla="*/ 4890936 h 4999652"/>
              <a:gd name="connsiteX123" fmla="*/ 0 w 11199600"/>
              <a:gd name="connsiteY123" fmla="*/ 4873660 h 4999652"/>
              <a:gd name="connsiteX124" fmla="*/ 0 w 11199600"/>
              <a:gd name="connsiteY124" fmla="*/ 4845179 h 4999652"/>
              <a:gd name="connsiteX125" fmla="*/ 0 w 11199600"/>
              <a:gd name="connsiteY125" fmla="*/ 4802691 h 4999652"/>
              <a:gd name="connsiteX126" fmla="*/ 0 w 11199600"/>
              <a:gd name="connsiteY126" fmla="*/ 4743394 h 4999652"/>
              <a:gd name="connsiteX127" fmla="*/ 0 w 11199600"/>
              <a:gd name="connsiteY127" fmla="*/ 4664487 h 4999652"/>
              <a:gd name="connsiteX128" fmla="*/ 0 w 11199600"/>
              <a:gd name="connsiteY128" fmla="*/ 4629302 h 4999652"/>
              <a:gd name="connsiteX129" fmla="*/ 0 w 11199600"/>
              <a:gd name="connsiteY129" fmla="*/ 4628196 h 4999652"/>
              <a:gd name="connsiteX130" fmla="*/ 0 w 11199600"/>
              <a:gd name="connsiteY130" fmla="*/ 4620448 h 4999652"/>
              <a:gd name="connsiteX131" fmla="*/ 0 w 11199600"/>
              <a:gd name="connsiteY131" fmla="*/ 4599605 h 4999652"/>
              <a:gd name="connsiteX132" fmla="*/ 0 w 11199600"/>
              <a:gd name="connsiteY132" fmla="*/ 4599420 h 4999652"/>
              <a:gd name="connsiteX133" fmla="*/ 0 w 11199600"/>
              <a:gd name="connsiteY133" fmla="*/ 4558471 h 4999652"/>
              <a:gd name="connsiteX134" fmla="*/ 0 w 11199600"/>
              <a:gd name="connsiteY134" fmla="*/ 4528451 h 4999652"/>
              <a:gd name="connsiteX135" fmla="*/ 0 w 11199600"/>
              <a:gd name="connsiteY135" fmla="*/ 4523932 h 4999652"/>
              <a:gd name="connsiteX136" fmla="*/ 0 w 11199600"/>
              <a:gd name="connsiteY136" fmla="*/ 4490960 h 4999652"/>
              <a:gd name="connsiteX137" fmla="*/ 0 w 11199600"/>
              <a:gd name="connsiteY137" fmla="*/ 4445169 h 4999652"/>
              <a:gd name="connsiteX138" fmla="*/ 0 w 11199600"/>
              <a:gd name="connsiteY138" fmla="*/ 4436638 h 4999652"/>
              <a:gd name="connsiteX139" fmla="*/ 0 w 11199600"/>
              <a:gd name="connsiteY139" fmla="*/ 4390247 h 4999652"/>
              <a:gd name="connsiteX140" fmla="*/ 0 w 11199600"/>
              <a:gd name="connsiteY140" fmla="*/ 4336893 h 4999652"/>
              <a:gd name="connsiteX141" fmla="*/ 0 w 11199600"/>
              <a:gd name="connsiteY141" fmla="*/ 4325365 h 4999652"/>
              <a:gd name="connsiteX142" fmla="*/ 0 w 11199600"/>
              <a:gd name="connsiteY142" fmla="*/ 4249692 h 4999652"/>
              <a:gd name="connsiteX143" fmla="*/ 0 w 11199600"/>
              <a:gd name="connsiteY143" fmla="*/ 4223868 h 4999652"/>
              <a:gd name="connsiteX144" fmla="*/ 0 w 11199600"/>
              <a:gd name="connsiteY144" fmla="*/ 4162398 h 4999652"/>
              <a:gd name="connsiteX145" fmla="*/ 0 w 11199600"/>
              <a:gd name="connsiteY145" fmla="*/ 4096731 h 4999652"/>
              <a:gd name="connsiteX146" fmla="*/ 0 w 11199600"/>
              <a:gd name="connsiteY146" fmla="*/ 4062653 h 4999652"/>
              <a:gd name="connsiteX147" fmla="*/ 0 w 11199600"/>
              <a:gd name="connsiteY147" fmla="*/ 3983128 h 4999652"/>
              <a:gd name="connsiteX148" fmla="*/ 0 w 11199600"/>
              <a:gd name="connsiteY148" fmla="*/ 3979393 h 4999652"/>
              <a:gd name="connsiteX149" fmla="*/ 0 w 11199600"/>
              <a:gd name="connsiteY149" fmla="*/ 3970522 h 4999652"/>
              <a:gd name="connsiteX150" fmla="*/ 0 w 11199600"/>
              <a:gd name="connsiteY150" fmla="*/ 3954654 h 4999652"/>
              <a:gd name="connsiteX151" fmla="*/ 0 w 11199600"/>
              <a:gd name="connsiteY151" fmla="*/ 3953246 h 4999652"/>
              <a:gd name="connsiteX152" fmla="*/ 0 w 11199600"/>
              <a:gd name="connsiteY152" fmla="*/ 3949628 h 4999652"/>
              <a:gd name="connsiteX153" fmla="*/ 0 w 11199600"/>
              <a:gd name="connsiteY153" fmla="*/ 3924765 h 4999652"/>
              <a:gd name="connsiteX154" fmla="*/ 0 w 11199600"/>
              <a:gd name="connsiteY154" fmla="*/ 3882277 h 4999652"/>
              <a:gd name="connsiteX155" fmla="*/ 0 w 11199600"/>
              <a:gd name="connsiteY155" fmla="*/ 3822980 h 4999652"/>
              <a:gd name="connsiteX156" fmla="*/ 0 w 11199600"/>
              <a:gd name="connsiteY156" fmla="*/ 3822491 h 4999652"/>
              <a:gd name="connsiteX157" fmla="*/ 0 w 11199600"/>
              <a:gd name="connsiteY157" fmla="*/ 3796806 h 4999652"/>
              <a:gd name="connsiteX158" fmla="*/ 0 w 11199600"/>
              <a:gd name="connsiteY158" fmla="*/ 3744073 h 4999652"/>
              <a:gd name="connsiteX159" fmla="*/ 0 w 11199600"/>
              <a:gd name="connsiteY159" fmla="*/ 3708888 h 4999652"/>
              <a:gd name="connsiteX160" fmla="*/ 0 w 11199600"/>
              <a:gd name="connsiteY160" fmla="*/ 3707782 h 4999652"/>
              <a:gd name="connsiteX161" fmla="*/ 0 w 11199600"/>
              <a:gd name="connsiteY161" fmla="*/ 3700034 h 4999652"/>
              <a:gd name="connsiteX162" fmla="*/ 0 w 11199600"/>
              <a:gd name="connsiteY162" fmla="*/ 3680414 h 4999652"/>
              <a:gd name="connsiteX163" fmla="*/ 0 w 11199600"/>
              <a:gd name="connsiteY163" fmla="*/ 3679191 h 4999652"/>
              <a:gd name="connsiteX164" fmla="*/ 0 w 11199600"/>
              <a:gd name="connsiteY164" fmla="*/ 3679006 h 4999652"/>
              <a:gd name="connsiteX165" fmla="*/ 0 w 11199600"/>
              <a:gd name="connsiteY165" fmla="*/ 3638057 h 4999652"/>
              <a:gd name="connsiteX166" fmla="*/ 0 w 11199600"/>
              <a:gd name="connsiteY166" fmla="*/ 3622356 h 4999652"/>
              <a:gd name="connsiteX167" fmla="*/ 0 w 11199600"/>
              <a:gd name="connsiteY167" fmla="*/ 3608037 h 4999652"/>
              <a:gd name="connsiteX168" fmla="*/ 0 w 11199600"/>
              <a:gd name="connsiteY168" fmla="*/ 3603518 h 4999652"/>
              <a:gd name="connsiteX169" fmla="*/ 0 w 11199600"/>
              <a:gd name="connsiteY169" fmla="*/ 3570546 h 4999652"/>
              <a:gd name="connsiteX170" fmla="*/ 0 w 11199600"/>
              <a:gd name="connsiteY170" fmla="*/ 3524755 h 4999652"/>
              <a:gd name="connsiteX171" fmla="*/ 0 w 11199600"/>
              <a:gd name="connsiteY171" fmla="*/ 3522566 h 4999652"/>
              <a:gd name="connsiteX172" fmla="*/ 0 w 11199600"/>
              <a:gd name="connsiteY172" fmla="*/ 3516224 h 4999652"/>
              <a:gd name="connsiteX173" fmla="*/ 0 w 11199600"/>
              <a:gd name="connsiteY173" fmla="*/ 3469833 h 4999652"/>
              <a:gd name="connsiteX174" fmla="*/ 0 w 11199600"/>
              <a:gd name="connsiteY174" fmla="*/ 3430476 h 4999652"/>
              <a:gd name="connsiteX175" fmla="*/ 0 w 11199600"/>
              <a:gd name="connsiteY175" fmla="*/ 3416479 h 4999652"/>
              <a:gd name="connsiteX176" fmla="*/ 0 w 11199600"/>
              <a:gd name="connsiteY176" fmla="*/ 3404951 h 4999652"/>
              <a:gd name="connsiteX177" fmla="*/ 0 w 11199600"/>
              <a:gd name="connsiteY177" fmla="*/ 3348116 h 4999652"/>
              <a:gd name="connsiteX178" fmla="*/ 0 w 11199600"/>
              <a:gd name="connsiteY178" fmla="*/ 3329278 h 4999652"/>
              <a:gd name="connsiteX179" fmla="*/ 0 w 11199600"/>
              <a:gd name="connsiteY179" fmla="*/ 3303454 h 4999652"/>
              <a:gd name="connsiteX180" fmla="*/ 0 w 11199600"/>
              <a:gd name="connsiteY180" fmla="*/ 3241984 h 4999652"/>
              <a:gd name="connsiteX181" fmla="*/ 0 w 11199600"/>
              <a:gd name="connsiteY181" fmla="*/ 3220334 h 4999652"/>
              <a:gd name="connsiteX182" fmla="*/ 0 w 11199600"/>
              <a:gd name="connsiteY182" fmla="*/ 3176317 h 4999652"/>
              <a:gd name="connsiteX183" fmla="*/ 0 w 11199600"/>
              <a:gd name="connsiteY183" fmla="*/ 3156236 h 4999652"/>
              <a:gd name="connsiteX184" fmla="*/ 0 w 11199600"/>
              <a:gd name="connsiteY184" fmla="*/ 3142239 h 4999652"/>
              <a:gd name="connsiteX185" fmla="*/ 0 w 11199600"/>
              <a:gd name="connsiteY185" fmla="*/ 3034240 h 4999652"/>
              <a:gd name="connsiteX186" fmla="*/ 0 w 11199600"/>
              <a:gd name="connsiteY186" fmla="*/ 3029214 h 4999652"/>
              <a:gd name="connsiteX187" fmla="*/ 0 w 11199600"/>
              <a:gd name="connsiteY187" fmla="*/ 2991101 h 4999652"/>
              <a:gd name="connsiteX188" fmla="*/ 0 w 11199600"/>
              <a:gd name="connsiteY188" fmla="*/ 2946094 h 4999652"/>
              <a:gd name="connsiteX189" fmla="*/ 0 w 11199600"/>
              <a:gd name="connsiteY189" fmla="*/ 2902077 h 4999652"/>
              <a:gd name="connsiteX190" fmla="*/ 0 w 11199600"/>
              <a:gd name="connsiteY190" fmla="*/ 2876392 h 4999652"/>
              <a:gd name="connsiteX191" fmla="*/ 0 w 11199600"/>
              <a:gd name="connsiteY191" fmla="*/ 2790282 h 4999652"/>
              <a:gd name="connsiteX192" fmla="*/ 0 w 11199600"/>
              <a:gd name="connsiteY192" fmla="*/ 2787072 h 4999652"/>
              <a:gd name="connsiteX193" fmla="*/ 0 w 11199600"/>
              <a:gd name="connsiteY193" fmla="*/ 2760000 h 4999652"/>
              <a:gd name="connsiteX194" fmla="*/ 0 w 11199600"/>
              <a:gd name="connsiteY194" fmla="*/ 2741948 h 4999652"/>
              <a:gd name="connsiteX195" fmla="*/ 0 w 11199600"/>
              <a:gd name="connsiteY195" fmla="*/ 2741947 h 4999652"/>
              <a:gd name="connsiteX196" fmla="*/ 0 w 11199600"/>
              <a:gd name="connsiteY196" fmla="*/ 2716862 h 4999652"/>
              <a:gd name="connsiteX197" fmla="*/ 0 w 11199600"/>
              <a:gd name="connsiteY197" fmla="*/ 2716861 h 4999652"/>
              <a:gd name="connsiteX198" fmla="*/ 0 w 11199600"/>
              <a:gd name="connsiteY198" fmla="*/ 2701942 h 4999652"/>
              <a:gd name="connsiteX199" fmla="*/ 0 w 11199600"/>
              <a:gd name="connsiteY199" fmla="*/ 2602152 h 4999652"/>
              <a:gd name="connsiteX200" fmla="*/ 0 w 11199600"/>
              <a:gd name="connsiteY200" fmla="*/ 2512832 h 4999652"/>
              <a:gd name="connsiteX201" fmla="*/ 0 w 11199600"/>
              <a:gd name="connsiteY201" fmla="*/ 2510062 h 4999652"/>
              <a:gd name="connsiteX202" fmla="*/ 0 w 11199600"/>
              <a:gd name="connsiteY202" fmla="*/ 2472043 h 4999652"/>
              <a:gd name="connsiteX203" fmla="*/ 0 w 11199600"/>
              <a:gd name="connsiteY203" fmla="*/ 2472042 h 4999652"/>
              <a:gd name="connsiteX204" fmla="*/ 0 w 11199600"/>
              <a:gd name="connsiteY204" fmla="*/ 2467708 h 4999652"/>
              <a:gd name="connsiteX205" fmla="*/ 0 w 11199600"/>
              <a:gd name="connsiteY205" fmla="*/ 2467707 h 4999652"/>
              <a:gd name="connsiteX206" fmla="*/ 0 w 11199600"/>
              <a:gd name="connsiteY206" fmla="*/ 2449933 h 4999652"/>
              <a:gd name="connsiteX207" fmla="*/ 0 w 11199600"/>
              <a:gd name="connsiteY207" fmla="*/ 2427702 h 4999652"/>
              <a:gd name="connsiteX208" fmla="*/ 0 w 11199600"/>
              <a:gd name="connsiteY208" fmla="*/ 2299920 h 4999652"/>
              <a:gd name="connsiteX209" fmla="*/ 0 w 11199600"/>
              <a:gd name="connsiteY209" fmla="*/ 2235822 h 4999652"/>
              <a:gd name="connsiteX210" fmla="*/ 0 w 11199600"/>
              <a:gd name="connsiteY210" fmla="*/ 2197803 h 4999652"/>
              <a:gd name="connsiteX211" fmla="*/ 0 w 11199600"/>
              <a:gd name="connsiteY211" fmla="*/ 2197802 h 4999652"/>
              <a:gd name="connsiteX212" fmla="*/ 0 w 11199600"/>
              <a:gd name="connsiteY212" fmla="*/ 2180556 h 4999652"/>
              <a:gd name="connsiteX213" fmla="*/ 0 w 11199600"/>
              <a:gd name="connsiteY213" fmla="*/ 2180555 h 4999652"/>
              <a:gd name="connsiteX214" fmla="*/ 0 w 11199600"/>
              <a:gd name="connsiteY214" fmla="*/ 2175692 h 4999652"/>
              <a:gd name="connsiteX215" fmla="*/ 0 w 11199600"/>
              <a:gd name="connsiteY215" fmla="*/ 2088721 h 4999652"/>
              <a:gd name="connsiteX216" fmla="*/ 0 w 11199600"/>
              <a:gd name="connsiteY216" fmla="*/ 2070687 h 4999652"/>
              <a:gd name="connsiteX217" fmla="*/ 0 w 11199600"/>
              <a:gd name="connsiteY217" fmla="*/ 2025680 h 4999652"/>
              <a:gd name="connsiteX218" fmla="*/ 0 w 11199600"/>
              <a:gd name="connsiteY218" fmla="*/ 1906316 h 4999652"/>
              <a:gd name="connsiteX219" fmla="*/ 0 w 11199600"/>
              <a:gd name="connsiteY219" fmla="*/ 1906315 h 4999652"/>
              <a:gd name="connsiteX220" fmla="*/ 0 w 11199600"/>
              <a:gd name="connsiteY220" fmla="*/ 1866658 h 4999652"/>
              <a:gd name="connsiteX221" fmla="*/ 0 w 11199600"/>
              <a:gd name="connsiteY221" fmla="*/ 1866657 h 4999652"/>
              <a:gd name="connsiteX222" fmla="*/ 0 w 11199600"/>
              <a:gd name="connsiteY222" fmla="*/ 1821533 h 4999652"/>
              <a:gd name="connsiteX223" fmla="*/ 0 w 11199600"/>
              <a:gd name="connsiteY223" fmla="*/ 1814481 h 4999652"/>
              <a:gd name="connsiteX224" fmla="*/ 0 w 11199600"/>
              <a:gd name="connsiteY224" fmla="*/ 1796447 h 4999652"/>
              <a:gd name="connsiteX225" fmla="*/ 0 w 11199600"/>
              <a:gd name="connsiteY225" fmla="*/ 1702609 h 4999652"/>
              <a:gd name="connsiteX226" fmla="*/ 0 w 11199600"/>
              <a:gd name="connsiteY226" fmla="*/ 1592418 h 4999652"/>
              <a:gd name="connsiteX227" fmla="*/ 0 w 11199600"/>
              <a:gd name="connsiteY227" fmla="*/ 1592417 h 4999652"/>
              <a:gd name="connsiteX228" fmla="*/ 0 w 11199600"/>
              <a:gd name="connsiteY228" fmla="*/ 1551628 h 4999652"/>
              <a:gd name="connsiteX229" fmla="*/ 0 w 11199600"/>
              <a:gd name="connsiteY229" fmla="*/ 1547293 h 4999652"/>
              <a:gd name="connsiteX230" fmla="*/ 0 w 11199600"/>
              <a:gd name="connsiteY230" fmla="*/ 1529519 h 4999652"/>
              <a:gd name="connsiteX231" fmla="*/ 0 w 11199600"/>
              <a:gd name="connsiteY231" fmla="*/ 1529518 h 4999652"/>
              <a:gd name="connsiteX232" fmla="*/ 0 w 11199600"/>
              <a:gd name="connsiteY232" fmla="*/ 1428369 h 4999652"/>
              <a:gd name="connsiteX233" fmla="*/ 0 w 11199600"/>
              <a:gd name="connsiteY233" fmla="*/ 1290764 h 4999652"/>
              <a:gd name="connsiteX234" fmla="*/ 0 w 11199600"/>
              <a:gd name="connsiteY234" fmla="*/ 1277388 h 4999652"/>
              <a:gd name="connsiteX235" fmla="*/ 0 w 11199600"/>
              <a:gd name="connsiteY235" fmla="*/ 1260141 h 4999652"/>
              <a:gd name="connsiteX236" fmla="*/ 0 w 11199600"/>
              <a:gd name="connsiteY236" fmla="*/ 1255278 h 4999652"/>
              <a:gd name="connsiteX237" fmla="*/ 0 w 11199600"/>
              <a:gd name="connsiteY237" fmla="*/ 1255277 h 4999652"/>
              <a:gd name="connsiteX238" fmla="*/ 0 w 11199600"/>
              <a:gd name="connsiteY238" fmla="*/ 1208224 h 4999652"/>
              <a:gd name="connsiteX239" fmla="*/ 0 w 11199600"/>
              <a:gd name="connsiteY239" fmla="*/ 1168307 h 4999652"/>
              <a:gd name="connsiteX240" fmla="*/ 0 w 11199600"/>
              <a:gd name="connsiteY240" fmla="*/ 1016524 h 4999652"/>
              <a:gd name="connsiteX241" fmla="*/ 0 w 11199600"/>
              <a:gd name="connsiteY241" fmla="*/ 894067 h 4999652"/>
              <a:gd name="connsiteX242" fmla="*/ 0 w 11199600"/>
              <a:gd name="connsiteY242" fmla="*/ 782195 h 4999652"/>
              <a:gd name="connsiteX243" fmla="*/ 0 w 11199600"/>
              <a:gd name="connsiteY243" fmla="*/ 507955 h 4999652"/>
              <a:gd name="connsiteX244" fmla="*/ 0 w 11199600"/>
              <a:gd name="connsiteY244" fmla="*/ 370350 h 4999652"/>
              <a:gd name="connsiteX245" fmla="*/ 0 w 11199600"/>
              <a:gd name="connsiteY245" fmla="*/ 96110 h 4999652"/>
              <a:gd name="connsiteX246" fmla="*/ 95997 w 11199600"/>
              <a:gd name="connsiteY246" fmla="*/ 0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</a:cxnLst>
            <a:rect l="l" t="t" r="r" b="b"/>
            <a:pathLst>
              <a:path w="11199600" h="4999652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08224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8"/>
                </a:ln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lnTo>
                  <a:pt x="11199600" y="1337290"/>
                </a:lnTo>
                <a:lnTo>
                  <a:pt x="11199600" y="1349128"/>
                </a:lnTo>
                <a:lnTo>
                  <a:pt x="11199600" y="1362376"/>
                </a:lnTo>
                <a:lnTo>
                  <a:pt x="11199600" y="1377295"/>
                </a:ln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6"/>
                </a:ln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6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07195"/>
                </a:lnTo>
                <a:lnTo>
                  <a:pt x="11199600" y="1611530"/>
                </a:lnTo>
                <a:lnTo>
                  <a:pt x="11199600" y="1651535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7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6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881436"/>
                </a:lnTo>
                <a:lnTo>
                  <a:pt x="11199600" y="1898682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0"/>
                </a:lnTo>
                <a:lnTo>
                  <a:pt x="11199600" y="2008551"/>
                </a:lnTo>
                <a:lnTo>
                  <a:pt x="11199600" y="2053557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172922"/>
                </a:lnTo>
                <a:lnTo>
                  <a:pt x="11199600" y="2212580"/>
                </a:lnTo>
                <a:lnTo>
                  <a:pt x="11199600" y="2239653"/>
                </a:lnTo>
                <a:lnTo>
                  <a:pt x="11199600" y="2257704"/>
                </a:lnTo>
                <a:lnTo>
                  <a:pt x="11199600" y="2257705"/>
                </a:lnTo>
                <a:lnTo>
                  <a:pt x="11199600" y="2282790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6821"/>
                </a:lnTo>
                <a:lnTo>
                  <a:pt x="11199600" y="2489591"/>
                </a:lnTo>
                <a:lnTo>
                  <a:pt x="11199600" y="2527609"/>
                </a:lnTo>
                <a:lnTo>
                  <a:pt x="11199600" y="2527610"/>
                </a:lnTo>
                <a:lnTo>
                  <a:pt x="11199600" y="2531944"/>
                </a:lnTo>
                <a:lnTo>
                  <a:pt x="11199600" y="2531945"/>
                </a:lnTo>
                <a:lnTo>
                  <a:pt x="11199600" y="2549720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790282"/>
                </a:lnTo>
                <a:lnTo>
                  <a:pt x="11199600" y="2801850"/>
                </a:lnTo>
                <a:lnTo>
                  <a:pt x="11199600" y="2819096"/>
                </a:lnTo>
                <a:lnTo>
                  <a:pt x="11199600" y="2823960"/>
                </a:lnTo>
                <a:lnTo>
                  <a:pt x="11199600" y="2910931"/>
                </a:lnTo>
                <a:lnTo>
                  <a:pt x="11199600" y="3093336"/>
                </a:lnTo>
                <a:lnTo>
                  <a:pt x="11199600" y="3132994"/>
                </a:lnTo>
                <a:lnTo>
                  <a:pt x="11199600" y="3185171"/>
                </a:lnTo>
                <a:lnTo>
                  <a:pt x="11199600" y="3297044"/>
                </a:lnTo>
                <a:lnTo>
                  <a:pt x="11199600" y="3407235"/>
                </a:lnTo>
                <a:lnTo>
                  <a:pt x="11199600" y="3470134"/>
                </a:lnTo>
                <a:lnTo>
                  <a:pt x="11199600" y="3571284"/>
                </a:lnTo>
                <a:lnTo>
                  <a:pt x="11199600" y="3708888"/>
                </a:lnTo>
                <a:lnTo>
                  <a:pt x="11199600" y="3744374"/>
                </a:lnTo>
                <a:lnTo>
                  <a:pt x="11199600" y="3831345"/>
                </a:lnTo>
                <a:lnTo>
                  <a:pt x="11199600" y="3983128"/>
                </a:lnTo>
                <a:lnTo>
                  <a:pt x="11199600" y="4105585"/>
                </a:lnTo>
                <a:lnTo>
                  <a:pt x="11199600" y="4217458"/>
                </a:lnTo>
                <a:lnTo>
                  <a:pt x="11199600" y="4491698"/>
                </a:lnTo>
                <a:lnTo>
                  <a:pt x="11199600" y="4629302"/>
                </a:lnTo>
                <a:lnTo>
                  <a:pt x="11199600" y="4903542"/>
                </a:lnTo>
                <a:cubicBezTo>
                  <a:pt x="11199600" y="4999652"/>
                  <a:pt x="11103603" y="4999652"/>
                  <a:pt x="11103603" y="4999652"/>
                </a:cubicBezTo>
                <a:cubicBezTo>
                  <a:pt x="11103603" y="4999652"/>
                  <a:pt x="11103603" y="4999652"/>
                  <a:pt x="95997" y="4999652"/>
                </a:cubicBezTo>
                <a:cubicBezTo>
                  <a:pt x="0" y="4999652"/>
                  <a:pt x="0" y="4903542"/>
                  <a:pt x="0" y="4903542"/>
                </a:cubicBezTo>
                <a:lnTo>
                  <a:pt x="0" y="4899807"/>
                </a:lnTo>
                <a:lnTo>
                  <a:pt x="0" y="4890936"/>
                </a:lnTo>
                <a:lnTo>
                  <a:pt x="0" y="4873660"/>
                </a:lnTo>
                <a:lnTo>
                  <a:pt x="0" y="4845179"/>
                </a:lnTo>
                <a:lnTo>
                  <a:pt x="0" y="4802691"/>
                </a:lnTo>
                <a:lnTo>
                  <a:pt x="0" y="4743394"/>
                </a:lnTo>
                <a:lnTo>
                  <a:pt x="0" y="4664487"/>
                </a:lnTo>
                <a:lnTo>
                  <a:pt x="0" y="4629302"/>
                </a:lnTo>
                <a:lnTo>
                  <a:pt x="0" y="4628196"/>
                </a:lnTo>
                <a:lnTo>
                  <a:pt x="0" y="4620448"/>
                </a:lnTo>
                <a:lnTo>
                  <a:pt x="0" y="4599605"/>
                </a:lnTo>
                <a:lnTo>
                  <a:pt x="0" y="4599420"/>
                </a:lnTo>
                <a:lnTo>
                  <a:pt x="0" y="4558471"/>
                </a:lnTo>
                <a:lnTo>
                  <a:pt x="0" y="4528451"/>
                </a:lnTo>
                <a:lnTo>
                  <a:pt x="0" y="4523932"/>
                </a:lnTo>
                <a:lnTo>
                  <a:pt x="0" y="4490960"/>
                </a:lnTo>
                <a:lnTo>
                  <a:pt x="0" y="4445169"/>
                </a:lnTo>
                <a:lnTo>
                  <a:pt x="0" y="4436638"/>
                </a:lnTo>
                <a:lnTo>
                  <a:pt x="0" y="4390247"/>
                </a:lnTo>
                <a:lnTo>
                  <a:pt x="0" y="4336893"/>
                </a:lnTo>
                <a:lnTo>
                  <a:pt x="0" y="4325365"/>
                </a:lnTo>
                <a:lnTo>
                  <a:pt x="0" y="4249692"/>
                </a:lnTo>
                <a:lnTo>
                  <a:pt x="0" y="4223868"/>
                </a:lnTo>
                <a:lnTo>
                  <a:pt x="0" y="4162398"/>
                </a:lnTo>
                <a:lnTo>
                  <a:pt x="0" y="4096731"/>
                </a:lnTo>
                <a:lnTo>
                  <a:pt x="0" y="4062653"/>
                </a:lnTo>
                <a:lnTo>
                  <a:pt x="0" y="3983128"/>
                </a:lnTo>
                <a:lnTo>
                  <a:pt x="0" y="3979393"/>
                </a:lnTo>
                <a:lnTo>
                  <a:pt x="0" y="3970522"/>
                </a:lnTo>
                <a:lnTo>
                  <a:pt x="0" y="3954654"/>
                </a:lnTo>
                <a:lnTo>
                  <a:pt x="0" y="3953246"/>
                </a:lnTo>
                <a:lnTo>
                  <a:pt x="0" y="3949628"/>
                </a:lnTo>
                <a:lnTo>
                  <a:pt x="0" y="3924765"/>
                </a:lnTo>
                <a:lnTo>
                  <a:pt x="0" y="3882277"/>
                </a:lnTo>
                <a:lnTo>
                  <a:pt x="0" y="3822980"/>
                </a:lnTo>
                <a:lnTo>
                  <a:pt x="0" y="3822491"/>
                </a:lnTo>
                <a:lnTo>
                  <a:pt x="0" y="3796806"/>
                </a:lnTo>
                <a:lnTo>
                  <a:pt x="0" y="3744073"/>
                </a:lnTo>
                <a:lnTo>
                  <a:pt x="0" y="3708888"/>
                </a:lnTo>
                <a:lnTo>
                  <a:pt x="0" y="3707782"/>
                </a:lnTo>
                <a:lnTo>
                  <a:pt x="0" y="3700034"/>
                </a:lnTo>
                <a:lnTo>
                  <a:pt x="0" y="3680414"/>
                </a:lnTo>
                <a:lnTo>
                  <a:pt x="0" y="3679191"/>
                </a:lnTo>
                <a:lnTo>
                  <a:pt x="0" y="3679006"/>
                </a:lnTo>
                <a:lnTo>
                  <a:pt x="0" y="3638057"/>
                </a:lnTo>
                <a:lnTo>
                  <a:pt x="0" y="3622356"/>
                </a:lnTo>
                <a:lnTo>
                  <a:pt x="0" y="3608037"/>
                </a:lnTo>
                <a:lnTo>
                  <a:pt x="0" y="3603518"/>
                </a:lnTo>
                <a:lnTo>
                  <a:pt x="0" y="3570546"/>
                </a:lnTo>
                <a:lnTo>
                  <a:pt x="0" y="3524755"/>
                </a:lnTo>
                <a:lnTo>
                  <a:pt x="0" y="3522566"/>
                </a:lnTo>
                <a:lnTo>
                  <a:pt x="0" y="3516224"/>
                </a:lnTo>
                <a:lnTo>
                  <a:pt x="0" y="3469833"/>
                </a:lnTo>
                <a:lnTo>
                  <a:pt x="0" y="3430476"/>
                </a:lnTo>
                <a:lnTo>
                  <a:pt x="0" y="3416479"/>
                </a:lnTo>
                <a:lnTo>
                  <a:pt x="0" y="3404951"/>
                </a:lnTo>
                <a:lnTo>
                  <a:pt x="0" y="3348116"/>
                </a:lnTo>
                <a:lnTo>
                  <a:pt x="0" y="3329278"/>
                </a:lnTo>
                <a:lnTo>
                  <a:pt x="0" y="3303454"/>
                </a:lnTo>
                <a:lnTo>
                  <a:pt x="0" y="3241984"/>
                </a:lnTo>
                <a:lnTo>
                  <a:pt x="0" y="3220334"/>
                </a:lnTo>
                <a:lnTo>
                  <a:pt x="0" y="3176317"/>
                </a:lnTo>
                <a:lnTo>
                  <a:pt x="0" y="3156236"/>
                </a:lnTo>
                <a:lnTo>
                  <a:pt x="0" y="3142239"/>
                </a:lnTo>
                <a:lnTo>
                  <a:pt x="0" y="3034240"/>
                </a:lnTo>
                <a:lnTo>
                  <a:pt x="0" y="3029214"/>
                </a:lnTo>
                <a:lnTo>
                  <a:pt x="0" y="2991101"/>
                </a:lnTo>
                <a:lnTo>
                  <a:pt x="0" y="2946094"/>
                </a:lnTo>
                <a:lnTo>
                  <a:pt x="0" y="2902077"/>
                </a:lnTo>
                <a:lnTo>
                  <a:pt x="0" y="2876392"/>
                </a:lnTo>
                <a:lnTo>
                  <a:pt x="0" y="2790282"/>
                </a:lnTo>
                <a:lnTo>
                  <a:pt x="0" y="2787072"/>
                </a:lnTo>
                <a:lnTo>
                  <a:pt x="0" y="2760000"/>
                </a:lnTo>
                <a:lnTo>
                  <a:pt x="0" y="2741948"/>
                </a:lnTo>
                <a:lnTo>
                  <a:pt x="0" y="2741947"/>
                </a:lnTo>
                <a:lnTo>
                  <a:pt x="0" y="2716862"/>
                </a:lnTo>
                <a:lnTo>
                  <a:pt x="0" y="2716861"/>
                </a:lnTo>
                <a:lnTo>
                  <a:pt x="0" y="2701942"/>
                </a:lnTo>
                <a:lnTo>
                  <a:pt x="0" y="2602152"/>
                </a:lnTo>
                <a:lnTo>
                  <a:pt x="0" y="2512832"/>
                </a:lnTo>
                <a:lnTo>
                  <a:pt x="0" y="2510062"/>
                </a:lnTo>
                <a:lnTo>
                  <a:pt x="0" y="2472043"/>
                </a:lnTo>
                <a:lnTo>
                  <a:pt x="0" y="2472042"/>
                </a:lnTo>
                <a:lnTo>
                  <a:pt x="0" y="2467708"/>
                </a:lnTo>
                <a:lnTo>
                  <a:pt x="0" y="2467707"/>
                </a:lnTo>
                <a:lnTo>
                  <a:pt x="0" y="2449933"/>
                </a:lnTo>
                <a:lnTo>
                  <a:pt x="0" y="2427702"/>
                </a:lnTo>
                <a:lnTo>
                  <a:pt x="0" y="2299920"/>
                </a:lnTo>
                <a:lnTo>
                  <a:pt x="0" y="2235822"/>
                </a:lnTo>
                <a:lnTo>
                  <a:pt x="0" y="2197803"/>
                </a:lnTo>
                <a:lnTo>
                  <a:pt x="0" y="2197802"/>
                </a:lnTo>
                <a:lnTo>
                  <a:pt x="0" y="2180556"/>
                </a:lnTo>
                <a:lnTo>
                  <a:pt x="0" y="2180555"/>
                </a:lnTo>
                <a:lnTo>
                  <a:pt x="0" y="2175692"/>
                </a:lnTo>
                <a:lnTo>
                  <a:pt x="0" y="2088721"/>
                </a:lnTo>
                <a:lnTo>
                  <a:pt x="0" y="2070687"/>
                </a:lnTo>
                <a:lnTo>
                  <a:pt x="0" y="2025680"/>
                </a:lnTo>
                <a:lnTo>
                  <a:pt x="0" y="1906316"/>
                </a:lnTo>
                <a:lnTo>
                  <a:pt x="0" y="1906315"/>
                </a:lnTo>
                <a:lnTo>
                  <a:pt x="0" y="1866658"/>
                </a:lnTo>
                <a:lnTo>
                  <a:pt x="0" y="1866657"/>
                </a:lnTo>
                <a:lnTo>
                  <a:pt x="0" y="1821533"/>
                </a:lnTo>
                <a:lnTo>
                  <a:pt x="0" y="1814481"/>
                </a:lnTo>
                <a:lnTo>
                  <a:pt x="0" y="1796447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92417"/>
                </a:lnTo>
                <a:lnTo>
                  <a:pt x="0" y="1551628"/>
                </a:lnTo>
                <a:lnTo>
                  <a:pt x="0" y="1547293"/>
                </a:lnTo>
                <a:lnTo>
                  <a:pt x="0" y="1529519"/>
                </a:lnTo>
                <a:lnTo>
                  <a:pt x="0" y="1529518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77388"/>
                </a:lnTo>
                <a:lnTo>
                  <a:pt x="0" y="1260141"/>
                </a:lnTo>
                <a:lnTo>
                  <a:pt x="0" y="1255278"/>
                </a:lnTo>
                <a:lnTo>
                  <a:pt x="0" y="1255277"/>
                </a:lnTo>
                <a:lnTo>
                  <a:pt x="0" y="1208224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39676" tIns="35996" rIns="35996" bIns="35996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329538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2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696912" y="280733"/>
            <a:ext cx="11199600" cy="5920067"/>
          </a:xfrm>
          <a:custGeom>
            <a:avLst/>
            <a:gdLst>
              <a:gd name="connsiteX0" fmla="*/ 95997 w 11199600"/>
              <a:gd name="connsiteY0" fmla="*/ 0 h 5920067"/>
              <a:gd name="connsiteX1" fmla="*/ 11103603 w 11199600"/>
              <a:gd name="connsiteY1" fmla="*/ 0 h 5920067"/>
              <a:gd name="connsiteX2" fmla="*/ 11199600 w 11199600"/>
              <a:gd name="connsiteY2" fmla="*/ 96110 h 5920067"/>
              <a:gd name="connsiteX3" fmla="*/ 11199600 w 11199600"/>
              <a:gd name="connsiteY3" fmla="*/ 335165 h 5920067"/>
              <a:gd name="connsiteX4" fmla="*/ 11199600 w 11199600"/>
              <a:gd name="connsiteY4" fmla="*/ 370350 h 5920067"/>
              <a:gd name="connsiteX5" fmla="*/ 11199600 w 11199600"/>
              <a:gd name="connsiteY5" fmla="*/ 379204 h 5920067"/>
              <a:gd name="connsiteX6" fmla="*/ 11199600 w 11199600"/>
              <a:gd name="connsiteY6" fmla="*/ 400048 h 5920067"/>
              <a:gd name="connsiteX7" fmla="*/ 11199600 w 11199600"/>
              <a:gd name="connsiteY7" fmla="*/ 400232 h 5920067"/>
              <a:gd name="connsiteX8" fmla="*/ 11199600 w 11199600"/>
              <a:gd name="connsiteY8" fmla="*/ 471202 h 5920067"/>
              <a:gd name="connsiteX9" fmla="*/ 11199600 w 11199600"/>
              <a:gd name="connsiteY9" fmla="*/ 475721 h 5920067"/>
              <a:gd name="connsiteX10" fmla="*/ 11199600 w 11199600"/>
              <a:gd name="connsiteY10" fmla="*/ 508692 h 5920067"/>
              <a:gd name="connsiteX11" fmla="*/ 11199600 w 11199600"/>
              <a:gd name="connsiteY11" fmla="*/ 554484 h 5920067"/>
              <a:gd name="connsiteX12" fmla="*/ 11199600 w 11199600"/>
              <a:gd name="connsiteY12" fmla="*/ 563015 h 5920067"/>
              <a:gd name="connsiteX13" fmla="*/ 11199600 w 11199600"/>
              <a:gd name="connsiteY13" fmla="*/ 609405 h 5920067"/>
              <a:gd name="connsiteX14" fmla="*/ 11199600 w 11199600"/>
              <a:gd name="connsiteY14" fmla="*/ 662759 h 5920067"/>
              <a:gd name="connsiteX15" fmla="*/ 11199600 w 11199600"/>
              <a:gd name="connsiteY15" fmla="*/ 674288 h 5920067"/>
              <a:gd name="connsiteX16" fmla="*/ 11199600 w 11199600"/>
              <a:gd name="connsiteY16" fmla="*/ 749961 h 5920067"/>
              <a:gd name="connsiteX17" fmla="*/ 11199600 w 11199600"/>
              <a:gd name="connsiteY17" fmla="*/ 775785 h 5920067"/>
              <a:gd name="connsiteX18" fmla="*/ 11199600 w 11199600"/>
              <a:gd name="connsiteY18" fmla="*/ 837255 h 5920067"/>
              <a:gd name="connsiteX19" fmla="*/ 11199600 w 11199600"/>
              <a:gd name="connsiteY19" fmla="*/ 902921 h 5920067"/>
              <a:gd name="connsiteX20" fmla="*/ 11199600 w 11199600"/>
              <a:gd name="connsiteY20" fmla="*/ 936999 h 5920067"/>
              <a:gd name="connsiteX21" fmla="*/ 11199600 w 11199600"/>
              <a:gd name="connsiteY21" fmla="*/ 1016524 h 5920067"/>
              <a:gd name="connsiteX22" fmla="*/ 11199600 w 11199600"/>
              <a:gd name="connsiteY22" fmla="*/ 1029131 h 5920067"/>
              <a:gd name="connsiteX23" fmla="*/ 11199600 w 11199600"/>
              <a:gd name="connsiteY23" fmla="*/ 1044999 h 5920067"/>
              <a:gd name="connsiteX24" fmla="*/ 11199600 w 11199600"/>
              <a:gd name="connsiteY24" fmla="*/ 1046406 h 5920067"/>
              <a:gd name="connsiteX25" fmla="*/ 11199600 w 11199600"/>
              <a:gd name="connsiteY25" fmla="*/ 1050025 h 5920067"/>
              <a:gd name="connsiteX26" fmla="*/ 11199600 w 11199600"/>
              <a:gd name="connsiteY26" fmla="*/ 1074887 h 5920067"/>
              <a:gd name="connsiteX27" fmla="*/ 11199600 w 11199600"/>
              <a:gd name="connsiteY27" fmla="*/ 1176672 h 5920067"/>
              <a:gd name="connsiteX28" fmla="*/ 11199600 w 11199600"/>
              <a:gd name="connsiteY28" fmla="*/ 1177161 h 5920067"/>
              <a:gd name="connsiteX29" fmla="*/ 11199600 w 11199600"/>
              <a:gd name="connsiteY29" fmla="*/ 1202847 h 5920067"/>
              <a:gd name="connsiteX30" fmla="*/ 11199600 w 11199600"/>
              <a:gd name="connsiteY30" fmla="*/ 1255579 h 5920067"/>
              <a:gd name="connsiteX31" fmla="*/ 11199600 w 11199600"/>
              <a:gd name="connsiteY31" fmla="*/ 1290764 h 5920067"/>
              <a:gd name="connsiteX32" fmla="*/ 11199600 w 11199600"/>
              <a:gd name="connsiteY32" fmla="*/ 1299618 h 5920067"/>
              <a:gd name="connsiteX33" fmla="*/ 11199600 w 11199600"/>
              <a:gd name="connsiteY33" fmla="*/ 1319239 h 5920067"/>
              <a:gd name="connsiteX34" fmla="*/ 11199600 w 11199600"/>
              <a:gd name="connsiteY34" fmla="*/ 1320462 h 5920067"/>
              <a:gd name="connsiteX35" fmla="*/ 11199600 w 11199600"/>
              <a:gd name="connsiteY35" fmla="*/ 1320646 h 5920067"/>
              <a:gd name="connsiteX36" fmla="*/ 11199600 w 11199600"/>
              <a:gd name="connsiteY36" fmla="*/ 1349128 h 5920067"/>
              <a:gd name="connsiteX37" fmla="*/ 11199600 w 11199600"/>
              <a:gd name="connsiteY37" fmla="*/ 1377296 h 5920067"/>
              <a:gd name="connsiteX38" fmla="*/ 11199600 w 11199600"/>
              <a:gd name="connsiteY38" fmla="*/ 1391616 h 5920067"/>
              <a:gd name="connsiteX39" fmla="*/ 11199600 w 11199600"/>
              <a:gd name="connsiteY39" fmla="*/ 1396135 h 5920067"/>
              <a:gd name="connsiteX40" fmla="*/ 11199600 w 11199600"/>
              <a:gd name="connsiteY40" fmla="*/ 1429106 h 5920067"/>
              <a:gd name="connsiteX41" fmla="*/ 11199600 w 11199600"/>
              <a:gd name="connsiteY41" fmla="*/ 1474898 h 5920067"/>
              <a:gd name="connsiteX42" fmla="*/ 11199600 w 11199600"/>
              <a:gd name="connsiteY42" fmla="*/ 1477087 h 5920067"/>
              <a:gd name="connsiteX43" fmla="*/ 11199600 w 11199600"/>
              <a:gd name="connsiteY43" fmla="*/ 1483429 h 5920067"/>
              <a:gd name="connsiteX44" fmla="*/ 11199600 w 11199600"/>
              <a:gd name="connsiteY44" fmla="*/ 1529819 h 5920067"/>
              <a:gd name="connsiteX45" fmla="*/ 11199600 w 11199600"/>
              <a:gd name="connsiteY45" fmla="*/ 1569177 h 5920067"/>
              <a:gd name="connsiteX46" fmla="*/ 11199600 w 11199600"/>
              <a:gd name="connsiteY46" fmla="*/ 1583173 h 5920067"/>
              <a:gd name="connsiteX47" fmla="*/ 11199600 w 11199600"/>
              <a:gd name="connsiteY47" fmla="*/ 1594702 h 5920067"/>
              <a:gd name="connsiteX48" fmla="*/ 11199600 w 11199600"/>
              <a:gd name="connsiteY48" fmla="*/ 1651536 h 5920067"/>
              <a:gd name="connsiteX49" fmla="*/ 11199600 w 11199600"/>
              <a:gd name="connsiteY49" fmla="*/ 1670375 h 5920067"/>
              <a:gd name="connsiteX50" fmla="*/ 11199600 w 11199600"/>
              <a:gd name="connsiteY50" fmla="*/ 1696199 h 5920067"/>
              <a:gd name="connsiteX51" fmla="*/ 11199600 w 11199600"/>
              <a:gd name="connsiteY51" fmla="*/ 1757669 h 5920067"/>
              <a:gd name="connsiteX52" fmla="*/ 11199600 w 11199600"/>
              <a:gd name="connsiteY52" fmla="*/ 1779318 h 5920067"/>
              <a:gd name="connsiteX53" fmla="*/ 11199600 w 11199600"/>
              <a:gd name="connsiteY53" fmla="*/ 1823335 h 5920067"/>
              <a:gd name="connsiteX54" fmla="*/ 11199600 w 11199600"/>
              <a:gd name="connsiteY54" fmla="*/ 1843417 h 5920067"/>
              <a:gd name="connsiteX55" fmla="*/ 11199600 w 11199600"/>
              <a:gd name="connsiteY55" fmla="*/ 1857413 h 5920067"/>
              <a:gd name="connsiteX56" fmla="*/ 11199600 w 11199600"/>
              <a:gd name="connsiteY56" fmla="*/ 1965413 h 5920067"/>
              <a:gd name="connsiteX57" fmla="*/ 11199600 w 11199600"/>
              <a:gd name="connsiteY57" fmla="*/ 1970439 h 5920067"/>
              <a:gd name="connsiteX58" fmla="*/ 11199600 w 11199600"/>
              <a:gd name="connsiteY58" fmla="*/ 2008551 h 5920067"/>
              <a:gd name="connsiteX59" fmla="*/ 11199600 w 11199600"/>
              <a:gd name="connsiteY59" fmla="*/ 2053558 h 5920067"/>
              <a:gd name="connsiteX60" fmla="*/ 11199600 w 11199600"/>
              <a:gd name="connsiteY60" fmla="*/ 2097575 h 5920067"/>
              <a:gd name="connsiteX61" fmla="*/ 11199600 w 11199600"/>
              <a:gd name="connsiteY61" fmla="*/ 2123261 h 5920067"/>
              <a:gd name="connsiteX62" fmla="*/ 11199600 w 11199600"/>
              <a:gd name="connsiteY62" fmla="*/ 2239653 h 5920067"/>
              <a:gd name="connsiteX63" fmla="*/ 11199600 w 11199600"/>
              <a:gd name="connsiteY63" fmla="*/ 2257705 h 5920067"/>
              <a:gd name="connsiteX64" fmla="*/ 11199600 w 11199600"/>
              <a:gd name="connsiteY64" fmla="*/ 2282791 h 5920067"/>
              <a:gd name="connsiteX65" fmla="*/ 11199600 w 11199600"/>
              <a:gd name="connsiteY65" fmla="*/ 2297710 h 5920067"/>
              <a:gd name="connsiteX66" fmla="*/ 11199600 w 11199600"/>
              <a:gd name="connsiteY66" fmla="*/ 2397501 h 5920067"/>
              <a:gd name="connsiteX67" fmla="*/ 11199600 w 11199600"/>
              <a:gd name="connsiteY67" fmla="*/ 2489591 h 5920067"/>
              <a:gd name="connsiteX68" fmla="*/ 11199600 w 11199600"/>
              <a:gd name="connsiteY68" fmla="*/ 2527610 h 5920067"/>
              <a:gd name="connsiteX69" fmla="*/ 11199600 w 11199600"/>
              <a:gd name="connsiteY69" fmla="*/ 2531945 h 5920067"/>
              <a:gd name="connsiteX70" fmla="*/ 11199600 w 11199600"/>
              <a:gd name="connsiteY70" fmla="*/ 2571950 h 5920067"/>
              <a:gd name="connsiteX71" fmla="*/ 11199600 w 11199600"/>
              <a:gd name="connsiteY71" fmla="*/ 2699732 h 5920067"/>
              <a:gd name="connsiteX72" fmla="*/ 11199600 w 11199600"/>
              <a:gd name="connsiteY72" fmla="*/ 2763831 h 5920067"/>
              <a:gd name="connsiteX73" fmla="*/ 11199600 w 11199600"/>
              <a:gd name="connsiteY73" fmla="*/ 2801851 h 5920067"/>
              <a:gd name="connsiteX74" fmla="*/ 11199600 w 11199600"/>
              <a:gd name="connsiteY74" fmla="*/ 2819097 h 5920067"/>
              <a:gd name="connsiteX75" fmla="*/ 11199600 w 11199600"/>
              <a:gd name="connsiteY75" fmla="*/ 2928965 h 5920067"/>
              <a:gd name="connsiteX76" fmla="*/ 11199600 w 11199600"/>
              <a:gd name="connsiteY76" fmla="*/ 2973972 h 5920067"/>
              <a:gd name="connsiteX77" fmla="*/ 11199600 w 11199600"/>
              <a:gd name="connsiteY77" fmla="*/ 3093337 h 5920067"/>
              <a:gd name="connsiteX78" fmla="*/ 11199600 w 11199600"/>
              <a:gd name="connsiteY78" fmla="*/ 3132995 h 5920067"/>
              <a:gd name="connsiteX79" fmla="*/ 11199600 w 11199600"/>
              <a:gd name="connsiteY79" fmla="*/ 3178119 h 5920067"/>
              <a:gd name="connsiteX80" fmla="*/ 11199600 w 11199600"/>
              <a:gd name="connsiteY80" fmla="*/ 3203205 h 5920067"/>
              <a:gd name="connsiteX81" fmla="*/ 11199600 w 11199600"/>
              <a:gd name="connsiteY81" fmla="*/ 3407236 h 5920067"/>
              <a:gd name="connsiteX82" fmla="*/ 11199600 w 11199600"/>
              <a:gd name="connsiteY82" fmla="*/ 3448024 h 5920067"/>
              <a:gd name="connsiteX83" fmla="*/ 11199600 w 11199600"/>
              <a:gd name="connsiteY83" fmla="*/ 3452359 h 5920067"/>
              <a:gd name="connsiteX84" fmla="*/ 11199600 w 11199600"/>
              <a:gd name="connsiteY84" fmla="*/ 3470135 h 5920067"/>
              <a:gd name="connsiteX85" fmla="*/ 11199600 w 11199600"/>
              <a:gd name="connsiteY85" fmla="*/ 3722265 h 5920067"/>
              <a:gd name="connsiteX86" fmla="*/ 11199600 w 11199600"/>
              <a:gd name="connsiteY86" fmla="*/ 3739511 h 5920067"/>
              <a:gd name="connsiteX87" fmla="*/ 11199600 w 11199600"/>
              <a:gd name="connsiteY87" fmla="*/ 3744375 h 5920067"/>
              <a:gd name="connsiteX88" fmla="*/ 11199600 w 11199600"/>
              <a:gd name="connsiteY88" fmla="*/ 3831346 h 5920067"/>
              <a:gd name="connsiteX89" fmla="*/ 11199600 w 11199600"/>
              <a:gd name="connsiteY89" fmla="*/ 4013751 h 5920067"/>
              <a:gd name="connsiteX90" fmla="*/ 11199600 w 11199600"/>
              <a:gd name="connsiteY90" fmla="*/ 4053409 h 5920067"/>
              <a:gd name="connsiteX91" fmla="*/ 11199600 w 11199600"/>
              <a:gd name="connsiteY91" fmla="*/ 4105586 h 5920067"/>
              <a:gd name="connsiteX92" fmla="*/ 11199600 w 11199600"/>
              <a:gd name="connsiteY92" fmla="*/ 4217459 h 5920067"/>
              <a:gd name="connsiteX93" fmla="*/ 11199600 w 11199600"/>
              <a:gd name="connsiteY93" fmla="*/ 4327650 h 5920067"/>
              <a:gd name="connsiteX94" fmla="*/ 11199600 w 11199600"/>
              <a:gd name="connsiteY94" fmla="*/ 4390549 h 5920067"/>
              <a:gd name="connsiteX95" fmla="*/ 11199600 w 11199600"/>
              <a:gd name="connsiteY95" fmla="*/ 4491699 h 5920067"/>
              <a:gd name="connsiteX96" fmla="*/ 11199600 w 11199600"/>
              <a:gd name="connsiteY96" fmla="*/ 4629303 h 5920067"/>
              <a:gd name="connsiteX97" fmla="*/ 11199600 w 11199600"/>
              <a:gd name="connsiteY97" fmla="*/ 4664789 h 5920067"/>
              <a:gd name="connsiteX98" fmla="*/ 11199600 w 11199600"/>
              <a:gd name="connsiteY98" fmla="*/ 4751760 h 5920067"/>
              <a:gd name="connsiteX99" fmla="*/ 11199600 w 11199600"/>
              <a:gd name="connsiteY99" fmla="*/ 4903543 h 5920067"/>
              <a:gd name="connsiteX100" fmla="*/ 11199600 w 11199600"/>
              <a:gd name="connsiteY100" fmla="*/ 5026000 h 5920067"/>
              <a:gd name="connsiteX101" fmla="*/ 11199600 w 11199600"/>
              <a:gd name="connsiteY101" fmla="*/ 5137873 h 5920067"/>
              <a:gd name="connsiteX102" fmla="*/ 11199600 w 11199600"/>
              <a:gd name="connsiteY102" fmla="*/ 5412113 h 5920067"/>
              <a:gd name="connsiteX103" fmla="*/ 11199600 w 11199600"/>
              <a:gd name="connsiteY103" fmla="*/ 5549717 h 5920067"/>
              <a:gd name="connsiteX104" fmla="*/ 11199600 w 11199600"/>
              <a:gd name="connsiteY104" fmla="*/ 5823957 h 5920067"/>
              <a:gd name="connsiteX105" fmla="*/ 11103603 w 11199600"/>
              <a:gd name="connsiteY105" fmla="*/ 5920067 h 5920067"/>
              <a:gd name="connsiteX106" fmla="*/ 95997 w 11199600"/>
              <a:gd name="connsiteY106" fmla="*/ 5920067 h 5920067"/>
              <a:gd name="connsiteX107" fmla="*/ 0 w 11199600"/>
              <a:gd name="connsiteY107" fmla="*/ 5823957 h 5920067"/>
              <a:gd name="connsiteX108" fmla="*/ 0 w 11199600"/>
              <a:gd name="connsiteY108" fmla="*/ 5820222 h 5920067"/>
              <a:gd name="connsiteX109" fmla="*/ 0 w 11199600"/>
              <a:gd name="connsiteY109" fmla="*/ 5811351 h 5920067"/>
              <a:gd name="connsiteX110" fmla="*/ 0 w 11199600"/>
              <a:gd name="connsiteY110" fmla="*/ 5794075 h 5920067"/>
              <a:gd name="connsiteX111" fmla="*/ 0 w 11199600"/>
              <a:gd name="connsiteY111" fmla="*/ 5765594 h 5920067"/>
              <a:gd name="connsiteX112" fmla="*/ 0 w 11199600"/>
              <a:gd name="connsiteY112" fmla="*/ 5723106 h 5920067"/>
              <a:gd name="connsiteX113" fmla="*/ 0 w 11199600"/>
              <a:gd name="connsiteY113" fmla="*/ 5663809 h 5920067"/>
              <a:gd name="connsiteX114" fmla="*/ 0 w 11199600"/>
              <a:gd name="connsiteY114" fmla="*/ 5584902 h 5920067"/>
              <a:gd name="connsiteX115" fmla="*/ 0 w 11199600"/>
              <a:gd name="connsiteY115" fmla="*/ 5549717 h 5920067"/>
              <a:gd name="connsiteX116" fmla="*/ 0 w 11199600"/>
              <a:gd name="connsiteY116" fmla="*/ 5548611 h 5920067"/>
              <a:gd name="connsiteX117" fmla="*/ 0 w 11199600"/>
              <a:gd name="connsiteY117" fmla="*/ 5540863 h 5920067"/>
              <a:gd name="connsiteX118" fmla="*/ 0 w 11199600"/>
              <a:gd name="connsiteY118" fmla="*/ 5520020 h 5920067"/>
              <a:gd name="connsiteX119" fmla="*/ 0 w 11199600"/>
              <a:gd name="connsiteY119" fmla="*/ 5519835 h 5920067"/>
              <a:gd name="connsiteX120" fmla="*/ 0 w 11199600"/>
              <a:gd name="connsiteY120" fmla="*/ 5478886 h 5920067"/>
              <a:gd name="connsiteX121" fmla="*/ 0 w 11199600"/>
              <a:gd name="connsiteY121" fmla="*/ 5448866 h 5920067"/>
              <a:gd name="connsiteX122" fmla="*/ 0 w 11199600"/>
              <a:gd name="connsiteY122" fmla="*/ 5444347 h 5920067"/>
              <a:gd name="connsiteX123" fmla="*/ 0 w 11199600"/>
              <a:gd name="connsiteY123" fmla="*/ 5411375 h 5920067"/>
              <a:gd name="connsiteX124" fmla="*/ 0 w 11199600"/>
              <a:gd name="connsiteY124" fmla="*/ 5365584 h 5920067"/>
              <a:gd name="connsiteX125" fmla="*/ 0 w 11199600"/>
              <a:gd name="connsiteY125" fmla="*/ 5357053 h 5920067"/>
              <a:gd name="connsiteX126" fmla="*/ 0 w 11199600"/>
              <a:gd name="connsiteY126" fmla="*/ 5310662 h 5920067"/>
              <a:gd name="connsiteX127" fmla="*/ 0 w 11199600"/>
              <a:gd name="connsiteY127" fmla="*/ 5257308 h 5920067"/>
              <a:gd name="connsiteX128" fmla="*/ 0 w 11199600"/>
              <a:gd name="connsiteY128" fmla="*/ 5245780 h 5920067"/>
              <a:gd name="connsiteX129" fmla="*/ 0 w 11199600"/>
              <a:gd name="connsiteY129" fmla="*/ 5170107 h 5920067"/>
              <a:gd name="connsiteX130" fmla="*/ 0 w 11199600"/>
              <a:gd name="connsiteY130" fmla="*/ 5144283 h 5920067"/>
              <a:gd name="connsiteX131" fmla="*/ 0 w 11199600"/>
              <a:gd name="connsiteY131" fmla="*/ 5082813 h 5920067"/>
              <a:gd name="connsiteX132" fmla="*/ 0 w 11199600"/>
              <a:gd name="connsiteY132" fmla="*/ 5017146 h 5920067"/>
              <a:gd name="connsiteX133" fmla="*/ 0 w 11199600"/>
              <a:gd name="connsiteY133" fmla="*/ 4983068 h 5920067"/>
              <a:gd name="connsiteX134" fmla="*/ 0 w 11199600"/>
              <a:gd name="connsiteY134" fmla="*/ 4903543 h 5920067"/>
              <a:gd name="connsiteX135" fmla="*/ 0 w 11199600"/>
              <a:gd name="connsiteY135" fmla="*/ 4899808 h 5920067"/>
              <a:gd name="connsiteX136" fmla="*/ 0 w 11199600"/>
              <a:gd name="connsiteY136" fmla="*/ 4890937 h 5920067"/>
              <a:gd name="connsiteX137" fmla="*/ 0 w 11199600"/>
              <a:gd name="connsiteY137" fmla="*/ 4875069 h 5920067"/>
              <a:gd name="connsiteX138" fmla="*/ 0 w 11199600"/>
              <a:gd name="connsiteY138" fmla="*/ 4873661 h 5920067"/>
              <a:gd name="connsiteX139" fmla="*/ 0 w 11199600"/>
              <a:gd name="connsiteY139" fmla="*/ 4870043 h 5920067"/>
              <a:gd name="connsiteX140" fmla="*/ 0 w 11199600"/>
              <a:gd name="connsiteY140" fmla="*/ 4845180 h 5920067"/>
              <a:gd name="connsiteX141" fmla="*/ 0 w 11199600"/>
              <a:gd name="connsiteY141" fmla="*/ 4802692 h 5920067"/>
              <a:gd name="connsiteX142" fmla="*/ 0 w 11199600"/>
              <a:gd name="connsiteY142" fmla="*/ 4743395 h 5920067"/>
              <a:gd name="connsiteX143" fmla="*/ 0 w 11199600"/>
              <a:gd name="connsiteY143" fmla="*/ 4742906 h 5920067"/>
              <a:gd name="connsiteX144" fmla="*/ 0 w 11199600"/>
              <a:gd name="connsiteY144" fmla="*/ 4717221 h 5920067"/>
              <a:gd name="connsiteX145" fmla="*/ 0 w 11199600"/>
              <a:gd name="connsiteY145" fmla="*/ 4664488 h 5920067"/>
              <a:gd name="connsiteX146" fmla="*/ 0 w 11199600"/>
              <a:gd name="connsiteY146" fmla="*/ 4629303 h 5920067"/>
              <a:gd name="connsiteX147" fmla="*/ 0 w 11199600"/>
              <a:gd name="connsiteY147" fmla="*/ 4628197 h 5920067"/>
              <a:gd name="connsiteX148" fmla="*/ 0 w 11199600"/>
              <a:gd name="connsiteY148" fmla="*/ 4620449 h 5920067"/>
              <a:gd name="connsiteX149" fmla="*/ 0 w 11199600"/>
              <a:gd name="connsiteY149" fmla="*/ 4600829 h 5920067"/>
              <a:gd name="connsiteX150" fmla="*/ 0 w 11199600"/>
              <a:gd name="connsiteY150" fmla="*/ 4599606 h 5920067"/>
              <a:gd name="connsiteX151" fmla="*/ 0 w 11199600"/>
              <a:gd name="connsiteY151" fmla="*/ 4599421 h 5920067"/>
              <a:gd name="connsiteX152" fmla="*/ 0 w 11199600"/>
              <a:gd name="connsiteY152" fmla="*/ 4558472 h 5920067"/>
              <a:gd name="connsiteX153" fmla="*/ 0 w 11199600"/>
              <a:gd name="connsiteY153" fmla="*/ 4542771 h 5920067"/>
              <a:gd name="connsiteX154" fmla="*/ 0 w 11199600"/>
              <a:gd name="connsiteY154" fmla="*/ 4528452 h 5920067"/>
              <a:gd name="connsiteX155" fmla="*/ 0 w 11199600"/>
              <a:gd name="connsiteY155" fmla="*/ 4523933 h 5920067"/>
              <a:gd name="connsiteX156" fmla="*/ 0 w 11199600"/>
              <a:gd name="connsiteY156" fmla="*/ 4490961 h 5920067"/>
              <a:gd name="connsiteX157" fmla="*/ 0 w 11199600"/>
              <a:gd name="connsiteY157" fmla="*/ 4445170 h 5920067"/>
              <a:gd name="connsiteX158" fmla="*/ 0 w 11199600"/>
              <a:gd name="connsiteY158" fmla="*/ 4442981 h 5920067"/>
              <a:gd name="connsiteX159" fmla="*/ 0 w 11199600"/>
              <a:gd name="connsiteY159" fmla="*/ 4436639 h 5920067"/>
              <a:gd name="connsiteX160" fmla="*/ 0 w 11199600"/>
              <a:gd name="connsiteY160" fmla="*/ 4390248 h 5920067"/>
              <a:gd name="connsiteX161" fmla="*/ 0 w 11199600"/>
              <a:gd name="connsiteY161" fmla="*/ 4350891 h 5920067"/>
              <a:gd name="connsiteX162" fmla="*/ 0 w 11199600"/>
              <a:gd name="connsiteY162" fmla="*/ 4336894 h 5920067"/>
              <a:gd name="connsiteX163" fmla="*/ 0 w 11199600"/>
              <a:gd name="connsiteY163" fmla="*/ 4325366 h 5920067"/>
              <a:gd name="connsiteX164" fmla="*/ 0 w 11199600"/>
              <a:gd name="connsiteY164" fmla="*/ 4268531 h 5920067"/>
              <a:gd name="connsiteX165" fmla="*/ 0 w 11199600"/>
              <a:gd name="connsiteY165" fmla="*/ 4249693 h 5920067"/>
              <a:gd name="connsiteX166" fmla="*/ 0 w 11199600"/>
              <a:gd name="connsiteY166" fmla="*/ 4223869 h 5920067"/>
              <a:gd name="connsiteX167" fmla="*/ 0 w 11199600"/>
              <a:gd name="connsiteY167" fmla="*/ 4162399 h 5920067"/>
              <a:gd name="connsiteX168" fmla="*/ 0 w 11199600"/>
              <a:gd name="connsiteY168" fmla="*/ 4140749 h 5920067"/>
              <a:gd name="connsiteX169" fmla="*/ 0 w 11199600"/>
              <a:gd name="connsiteY169" fmla="*/ 4096732 h 5920067"/>
              <a:gd name="connsiteX170" fmla="*/ 0 w 11199600"/>
              <a:gd name="connsiteY170" fmla="*/ 4076651 h 5920067"/>
              <a:gd name="connsiteX171" fmla="*/ 0 w 11199600"/>
              <a:gd name="connsiteY171" fmla="*/ 4062654 h 5920067"/>
              <a:gd name="connsiteX172" fmla="*/ 0 w 11199600"/>
              <a:gd name="connsiteY172" fmla="*/ 3954655 h 5920067"/>
              <a:gd name="connsiteX173" fmla="*/ 0 w 11199600"/>
              <a:gd name="connsiteY173" fmla="*/ 3949629 h 5920067"/>
              <a:gd name="connsiteX174" fmla="*/ 0 w 11199600"/>
              <a:gd name="connsiteY174" fmla="*/ 3911516 h 5920067"/>
              <a:gd name="connsiteX175" fmla="*/ 0 w 11199600"/>
              <a:gd name="connsiteY175" fmla="*/ 3866509 h 5920067"/>
              <a:gd name="connsiteX176" fmla="*/ 0 w 11199600"/>
              <a:gd name="connsiteY176" fmla="*/ 3822492 h 5920067"/>
              <a:gd name="connsiteX177" fmla="*/ 0 w 11199600"/>
              <a:gd name="connsiteY177" fmla="*/ 3796807 h 5920067"/>
              <a:gd name="connsiteX178" fmla="*/ 0 w 11199600"/>
              <a:gd name="connsiteY178" fmla="*/ 3680415 h 5920067"/>
              <a:gd name="connsiteX179" fmla="*/ 0 w 11199600"/>
              <a:gd name="connsiteY179" fmla="*/ 3662362 h 5920067"/>
              <a:gd name="connsiteX180" fmla="*/ 0 w 11199600"/>
              <a:gd name="connsiteY180" fmla="*/ 3637276 h 5920067"/>
              <a:gd name="connsiteX181" fmla="*/ 0 w 11199600"/>
              <a:gd name="connsiteY181" fmla="*/ 3622357 h 5920067"/>
              <a:gd name="connsiteX182" fmla="*/ 0 w 11199600"/>
              <a:gd name="connsiteY182" fmla="*/ 3522567 h 5920067"/>
              <a:gd name="connsiteX183" fmla="*/ 0 w 11199600"/>
              <a:gd name="connsiteY183" fmla="*/ 3430477 h 5920067"/>
              <a:gd name="connsiteX184" fmla="*/ 0 w 11199600"/>
              <a:gd name="connsiteY184" fmla="*/ 3392457 h 5920067"/>
              <a:gd name="connsiteX185" fmla="*/ 0 w 11199600"/>
              <a:gd name="connsiteY185" fmla="*/ 3388122 h 5920067"/>
              <a:gd name="connsiteX186" fmla="*/ 0 w 11199600"/>
              <a:gd name="connsiteY186" fmla="*/ 3348117 h 5920067"/>
              <a:gd name="connsiteX187" fmla="*/ 0 w 11199600"/>
              <a:gd name="connsiteY187" fmla="*/ 3220335 h 5920067"/>
              <a:gd name="connsiteX188" fmla="*/ 0 w 11199600"/>
              <a:gd name="connsiteY188" fmla="*/ 3156237 h 5920067"/>
              <a:gd name="connsiteX189" fmla="*/ 0 w 11199600"/>
              <a:gd name="connsiteY189" fmla="*/ 3118217 h 5920067"/>
              <a:gd name="connsiteX190" fmla="*/ 0 w 11199600"/>
              <a:gd name="connsiteY190" fmla="*/ 3100970 h 5920067"/>
              <a:gd name="connsiteX191" fmla="*/ 0 w 11199600"/>
              <a:gd name="connsiteY191" fmla="*/ 2991102 h 5920067"/>
              <a:gd name="connsiteX192" fmla="*/ 0 w 11199600"/>
              <a:gd name="connsiteY192" fmla="*/ 2946095 h 5920067"/>
              <a:gd name="connsiteX193" fmla="*/ 0 w 11199600"/>
              <a:gd name="connsiteY193" fmla="*/ 2826730 h 5920067"/>
              <a:gd name="connsiteX194" fmla="*/ 0 w 11199600"/>
              <a:gd name="connsiteY194" fmla="*/ 2787072 h 5920067"/>
              <a:gd name="connsiteX195" fmla="*/ 0 w 11199600"/>
              <a:gd name="connsiteY195" fmla="*/ 2741948 h 5920067"/>
              <a:gd name="connsiteX196" fmla="*/ 0 w 11199600"/>
              <a:gd name="connsiteY196" fmla="*/ 2716862 h 5920067"/>
              <a:gd name="connsiteX197" fmla="*/ 0 w 11199600"/>
              <a:gd name="connsiteY197" fmla="*/ 2512832 h 5920067"/>
              <a:gd name="connsiteX198" fmla="*/ 0 w 11199600"/>
              <a:gd name="connsiteY198" fmla="*/ 2472043 h 5920067"/>
              <a:gd name="connsiteX199" fmla="*/ 0 w 11199600"/>
              <a:gd name="connsiteY199" fmla="*/ 2467708 h 5920067"/>
              <a:gd name="connsiteX200" fmla="*/ 0 w 11199600"/>
              <a:gd name="connsiteY200" fmla="*/ 2449933 h 5920067"/>
              <a:gd name="connsiteX201" fmla="*/ 0 w 11199600"/>
              <a:gd name="connsiteY201" fmla="*/ 2197803 h 5920067"/>
              <a:gd name="connsiteX202" fmla="*/ 0 w 11199600"/>
              <a:gd name="connsiteY202" fmla="*/ 2180556 h 5920067"/>
              <a:gd name="connsiteX203" fmla="*/ 0 w 11199600"/>
              <a:gd name="connsiteY203" fmla="*/ 2175692 h 5920067"/>
              <a:gd name="connsiteX204" fmla="*/ 0 w 11199600"/>
              <a:gd name="connsiteY204" fmla="*/ 2088721 h 5920067"/>
              <a:gd name="connsiteX205" fmla="*/ 0 w 11199600"/>
              <a:gd name="connsiteY205" fmla="*/ 1906316 h 5920067"/>
              <a:gd name="connsiteX206" fmla="*/ 0 w 11199600"/>
              <a:gd name="connsiteY206" fmla="*/ 1866658 h 5920067"/>
              <a:gd name="connsiteX207" fmla="*/ 0 w 11199600"/>
              <a:gd name="connsiteY207" fmla="*/ 1814481 h 5920067"/>
              <a:gd name="connsiteX208" fmla="*/ 0 w 11199600"/>
              <a:gd name="connsiteY208" fmla="*/ 1702609 h 5920067"/>
              <a:gd name="connsiteX209" fmla="*/ 0 w 11199600"/>
              <a:gd name="connsiteY209" fmla="*/ 1592418 h 5920067"/>
              <a:gd name="connsiteX210" fmla="*/ 0 w 11199600"/>
              <a:gd name="connsiteY210" fmla="*/ 1529519 h 5920067"/>
              <a:gd name="connsiteX211" fmla="*/ 0 w 11199600"/>
              <a:gd name="connsiteY211" fmla="*/ 1428369 h 5920067"/>
              <a:gd name="connsiteX212" fmla="*/ 0 w 11199600"/>
              <a:gd name="connsiteY212" fmla="*/ 1290764 h 5920067"/>
              <a:gd name="connsiteX213" fmla="*/ 0 w 11199600"/>
              <a:gd name="connsiteY213" fmla="*/ 1255278 h 5920067"/>
              <a:gd name="connsiteX214" fmla="*/ 0 w 11199600"/>
              <a:gd name="connsiteY214" fmla="*/ 1168307 h 5920067"/>
              <a:gd name="connsiteX215" fmla="*/ 0 w 11199600"/>
              <a:gd name="connsiteY215" fmla="*/ 1016524 h 5920067"/>
              <a:gd name="connsiteX216" fmla="*/ 0 w 11199600"/>
              <a:gd name="connsiteY216" fmla="*/ 894067 h 5920067"/>
              <a:gd name="connsiteX217" fmla="*/ 0 w 11199600"/>
              <a:gd name="connsiteY217" fmla="*/ 782195 h 5920067"/>
              <a:gd name="connsiteX218" fmla="*/ 0 w 11199600"/>
              <a:gd name="connsiteY218" fmla="*/ 507955 h 5920067"/>
              <a:gd name="connsiteX219" fmla="*/ 0 w 11199600"/>
              <a:gd name="connsiteY219" fmla="*/ 370350 h 5920067"/>
              <a:gd name="connsiteX220" fmla="*/ 0 w 11199600"/>
              <a:gd name="connsiteY220" fmla="*/ 96110 h 5920067"/>
              <a:gd name="connsiteX221" fmla="*/ 95997 w 11199600"/>
              <a:gd name="connsiteY221" fmla="*/ 0 h 5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11199600" h="5920067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cubicBezTo>
                  <a:pt x="11199600" y="1328117"/>
                  <a:pt x="11199600" y="1337455"/>
                  <a:pt x="11199600" y="1349128"/>
                </a:cubicBez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239653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9591"/>
                </a:lnTo>
                <a:lnTo>
                  <a:pt x="11199600" y="2527610"/>
                </a:lnTo>
                <a:lnTo>
                  <a:pt x="11199600" y="2531945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801851"/>
                </a:lnTo>
                <a:lnTo>
                  <a:pt x="11199600" y="2819097"/>
                </a:lnTo>
                <a:lnTo>
                  <a:pt x="11199600" y="2928965"/>
                </a:lnTo>
                <a:lnTo>
                  <a:pt x="11199600" y="2973972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178119"/>
                </a:lnTo>
                <a:lnTo>
                  <a:pt x="11199600" y="3203205"/>
                </a:lnTo>
                <a:lnTo>
                  <a:pt x="11199600" y="3407236"/>
                </a:lnTo>
                <a:lnTo>
                  <a:pt x="11199600" y="3448024"/>
                </a:lnTo>
                <a:lnTo>
                  <a:pt x="11199600" y="3452359"/>
                </a:lnTo>
                <a:lnTo>
                  <a:pt x="11199600" y="3470135"/>
                </a:lnTo>
                <a:lnTo>
                  <a:pt x="11199600" y="3722265"/>
                </a:lnTo>
                <a:lnTo>
                  <a:pt x="11199600" y="3739511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013751"/>
                </a:lnTo>
                <a:lnTo>
                  <a:pt x="11199600" y="4053409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327650"/>
                </a:lnTo>
                <a:lnTo>
                  <a:pt x="11199600" y="439054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664789"/>
                </a:lnTo>
                <a:lnTo>
                  <a:pt x="11199600" y="4751760"/>
                </a:lnTo>
                <a:lnTo>
                  <a:pt x="11199600" y="4903543"/>
                </a:lnTo>
                <a:lnTo>
                  <a:pt x="11199600" y="5026000"/>
                </a:lnTo>
                <a:lnTo>
                  <a:pt x="11199600" y="5137873"/>
                </a:lnTo>
                <a:lnTo>
                  <a:pt x="11199600" y="5412113"/>
                </a:lnTo>
                <a:lnTo>
                  <a:pt x="11199600" y="5549717"/>
                </a:lnTo>
                <a:lnTo>
                  <a:pt x="11199600" y="5823957"/>
                </a:lnTo>
                <a:cubicBezTo>
                  <a:pt x="11199600" y="5920067"/>
                  <a:pt x="11103603" y="5920067"/>
                  <a:pt x="11103603" y="5920067"/>
                </a:cubicBezTo>
                <a:cubicBezTo>
                  <a:pt x="11103603" y="5920067"/>
                  <a:pt x="11103603" y="5920067"/>
                  <a:pt x="95997" y="5920067"/>
                </a:cubicBezTo>
                <a:cubicBezTo>
                  <a:pt x="0" y="5920067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  <a:alpha val="10000"/>
            </a:schemeClr>
          </a:solidFill>
        </p:spPr>
        <p:txBody>
          <a:bodyPr wrap="square" lIns="3239676" tIns="35996" rIns="35996" bIns="35996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6655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47974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Al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/>
          <p:cNvGrpSpPr>
            <a:grpSpLocks noChangeAspect="1"/>
          </p:cNvGrpSpPr>
          <p:nvPr userDrawn="1"/>
        </p:nvGrpSpPr>
        <p:grpSpPr bwMode="gray">
          <a:xfrm>
            <a:off x="1" y="1643200"/>
            <a:ext cx="5909320" cy="3045600"/>
            <a:chOff x="3465513" y="2070100"/>
            <a:chExt cx="5260975" cy="2711450"/>
          </a:xfrm>
        </p:grpSpPr>
        <p:sp>
          <p:nvSpPr>
            <p:cNvPr id="80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80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842434" y="2012286"/>
            <a:ext cx="4877966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031479"/>
            <a:ext cx="4877966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17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34" y="3603487"/>
            <a:ext cx="4877966" cy="290712"/>
          </a:xfrm>
        </p:spPr>
        <p:txBody>
          <a:bodyPr bIns="0">
            <a:noAutofit/>
          </a:bodyPr>
          <a:lstStyle>
            <a:lvl1pPr algn="l">
              <a:lnSpc>
                <a:spcPts val="1699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pic>
        <p:nvPicPr>
          <p:cNvPr id="30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838201" y="6291857"/>
            <a:ext cx="2188369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42434" y="4381898"/>
            <a:ext cx="4878000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4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70" name="Picture Placeholder 69"/>
          <p:cNvSpPr>
            <a:spLocks noGrp="1"/>
          </p:cNvSpPr>
          <p:nvPr>
            <p:ph type="pic" sz="quarter" idx="12"/>
          </p:nvPr>
        </p:nvSpPr>
        <p:spPr bwMode="gray">
          <a:xfrm>
            <a:off x="-3175" y="2"/>
            <a:ext cx="12195175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79712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10749168" y="-133099"/>
            <a:ext cx="1441027" cy="1565166"/>
            <a:chOff x="5364088" y="4720073"/>
            <a:chExt cx="1441027" cy="1565166"/>
          </a:xfrm>
        </p:grpSpPr>
        <p:sp>
          <p:nvSpPr>
            <p:cNvPr id="41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2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4698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846827" y="1270001"/>
            <a:ext cx="5058000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 bwMode="gray">
          <a:xfrm>
            <a:off x="6276751" y="1270001"/>
            <a:ext cx="5058000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941361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90819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/>
          <p:cNvSpPr>
            <a:spLocks noChangeAspect="1"/>
          </p:cNvSpPr>
          <p:nvPr userDrawn="1"/>
        </p:nvSpPr>
        <p:spPr bwMode="gray">
          <a:xfrm>
            <a:off x="693739" y="1695449"/>
            <a:ext cx="10641600" cy="2630915"/>
          </a:xfrm>
          <a:custGeom>
            <a:avLst/>
            <a:gdLst>
              <a:gd name="T0" fmla="*/ 2480 w 2480"/>
              <a:gd name="T1" fmla="*/ 528 h 611"/>
              <a:gd name="T2" fmla="*/ 2480 w 2480"/>
              <a:gd name="T3" fmla="*/ 32 h 611"/>
              <a:gd name="T4" fmla="*/ 2448 w 2480"/>
              <a:gd name="T5" fmla="*/ 0 h 611"/>
              <a:gd name="T6" fmla="*/ 32 w 2480"/>
              <a:gd name="T7" fmla="*/ 0 h 611"/>
              <a:gd name="T8" fmla="*/ 0 w 2480"/>
              <a:gd name="T9" fmla="*/ 32 h 611"/>
              <a:gd name="T10" fmla="*/ 0 w 2480"/>
              <a:gd name="T11" fmla="*/ 528 h 611"/>
              <a:gd name="T12" fmla="*/ 32 w 2480"/>
              <a:gd name="T13" fmla="*/ 560 h 611"/>
              <a:gd name="T14" fmla="*/ 237 w 2480"/>
              <a:gd name="T15" fmla="*/ 560 h 611"/>
              <a:gd name="T16" fmla="*/ 271 w 2480"/>
              <a:gd name="T17" fmla="*/ 604 h 611"/>
              <a:gd name="T18" fmla="*/ 289 w 2480"/>
              <a:gd name="T19" fmla="*/ 604 h 611"/>
              <a:gd name="T20" fmla="*/ 323 w 2480"/>
              <a:gd name="T21" fmla="*/ 560 h 611"/>
              <a:gd name="T22" fmla="*/ 2448 w 2480"/>
              <a:gd name="T23" fmla="*/ 560 h 611"/>
              <a:gd name="T24" fmla="*/ 2480 w 2480"/>
              <a:gd name="T25" fmla="*/ 528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80" h="611">
                <a:moveTo>
                  <a:pt x="2480" y="528"/>
                </a:moveTo>
                <a:cubicBezTo>
                  <a:pt x="2480" y="32"/>
                  <a:pt x="2480" y="32"/>
                  <a:pt x="2480" y="32"/>
                </a:cubicBezTo>
                <a:cubicBezTo>
                  <a:pt x="2480" y="32"/>
                  <a:pt x="2480" y="0"/>
                  <a:pt x="2448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0" y="0"/>
                  <a:pt x="0" y="32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528"/>
                  <a:pt x="0" y="560"/>
                  <a:pt x="32" y="560"/>
                </a:cubicBezTo>
                <a:cubicBezTo>
                  <a:pt x="237" y="560"/>
                  <a:pt x="237" y="560"/>
                  <a:pt x="237" y="560"/>
                </a:cubicBezTo>
                <a:cubicBezTo>
                  <a:pt x="271" y="604"/>
                  <a:pt x="271" y="604"/>
                  <a:pt x="271" y="604"/>
                </a:cubicBezTo>
                <a:cubicBezTo>
                  <a:pt x="276" y="611"/>
                  <a:pt x="284" y="611"/>
                  <a:pt x="289" y="604"/>
                </a:cubicBezTo>
                <a:cubicBezTo>
                  <a:pt x="323" y="560"/>
                  <a:pt x="323" y="560"/>
                  <a:pt x="323" y="560"/>
                </a:cubicBezTo>
                <a:cubicBezTo>
                  <a:pt x="2448" y="560"/>
                  <a:pt x="2448" y="560"/>
                  <a:pt x="2448" y="560"/>
                </a:cubicBezTo>
                <a:cubicBezTo>
                  <a:pt x="2448" y="560"/>
                  <a:pt x="2480" y="560"/>
                  <a:pt x="2480" y="528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1172150" y="1695452"/>
            <a:ext cx="10162600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3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Orang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55, 98, 0</a:t>
              </a:r>
            </a:p>
          </p:txBody>
        </p:sp>
        <p:sp>
          <p:nvSpPr>
            <p:cNvPr id="4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ght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68, 168, 168</a:t>
              </a:r>
            </a:p>
          </p:txBody>
        </p:sp>
        <p:sp>
          <p:nvSpPr>
            <p:cNvPr id="4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Indigo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82, 81, 153</a:t>
              </a:r>
            </a:p>
          </p:txBody>
        </p:sp>
        <p:sp>
          <p:nvSpPr>
            <p:cNvPr id="4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Sk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96, 166, 218</a:t>
              </a:r>
            </a:p>
          </p:txBody>
        </p:sp>
        <p:sp>
          <p:nvSpPr>
            <p:cNvPr id="4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>
                  <a:solidFill>
                    <a:srgbClr val="333333"/>
                  </a:solidFill>
                </a:rPr>
                <a:t>Colour Guidelines</a:t>
              </a:r>
            </a:p>
          </p:txBody>
        </p:sp>
        <p:sp>
          <p:nvSpPr>
            <p:cNvPr id="4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Fuchsia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71, 0, 102</a:t>
              </a:r>
            </a:p>
          </p:txBody>
        </p:sp>
        <p:sp>
          <p:nvSpPr>
            <p:cNvPr id="5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m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08, 217, 60</a:t>
              </a:r>
            </a:p>
          </p:txBody>
        </p:sp>
        <p:sp>
          <p:nvSpPr>
            <p:cNvPr id="5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eaf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2, 150, 81</a:t>
              </a:r>
            </a:p>
          </p:txBody>
        </p:sp>
        <p:sp>
          <p:nvSpPr>
            <p:cNvPr id="5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Mid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18, 118, 118</a:t>
              </a:r>
            </a:p>
          </p:txBody>
        </p:sp>
        <p:sp>
          <p:nvSpPr>
            <p:cNvPr id="5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Text Colour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1, 51, 51</a:t>
              </a: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61121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7C95273-B8E0-4CF3-855A-57193C297B6D}" type="datetimeFigureOut">
              <a:rPr lang="en-US">
                <a:solidFill>
                  <a:srgbClr val="333333"/>
                </a:solidFill>
              </a:rPr>
              <a:pPr/>
              <a:t>6/3/2017</a:t>
            </a:fld>
            <a:endParaRPr lang="en-US">
              <a:solidFill>
                <a:srgbClr val="333333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333333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F90E51-9875-43BF-9755-364EB0B99B14}" type="slidenum">
              <a:rPr lang="en-US" smtClean="0">
                <a:solidFill>
                  <a:srgbClr val="333333"/>
                </a:solidFill>
              </a:rPr>
              <a:pPr/>
              <a:t>‹#›</a:t>
            </a:fld>
            <a:endParaRPr lang="en-US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736918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449763" y="1278384"/>
            <a:ext cx="6884987" cy="4921200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278384"/>
            <a:ext cx="3288275" cy="49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5575" y="280733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814041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lien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1"/>
          <p:cNvSpPr txBox="1">
            <a:spLocks/>
          </p:cNvSpPr>
          <p:nvPr userDrawn="1"/>
        </p:nvSpPr>
        <p:spPr>
          <a:xfrm>
            <a:off x="313267" y="6418264"/>
            <a:ext cx="783167" cy="365125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E4BA641B-05BF-48C0-AAA7-C60BDD9381B1}" type="slidenum">
              <a:rPr lang="de-DE" smtClean="0">
                <a:solidFill>
                  <a:srgbClr val="333333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800" y="238540"/>
            <a:ext cx="11329456" cy="616455"/>
          </a:xfrm>
          <a:prstGeom prst="rect">
            <a:avLst/>
          </a:prstGeom>
        </p:spPr>
        <p:txBody>
          <a:bodyPr lIns="0" anchor="ctr" anchorCtr="0">
            <a:noAutofit/>
          </a:bodyPr>
          <a:lstStyle>
            <a:lvl1pPr algn="l">
              <a:lnSpc>
                <a:spcPct val="100000"/>
              </a:lnSpc>
              <a:defRPr sz="3000" b="1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31800" y="854994"/>
            <a:ext cx="11328400" cy="33624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buNone/>
              <a:defRPr sz="2000"/>
            </a:lvl1pPr>
          </a:lstStyle>
          <a:p>
            <a:pPr lvl="0"/>
            <a:r>
              <a:rPr lang="de-DE" dirty="0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829795094"/>
      </p:ext>
    </p:extLst>
  </p:cSld>
  <p:clrMapOvr>
    <a:masterClrMapping/>
  </p:clrMapOvr>
  <p:transition spd="slow"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365253"/>
            <a:ext cx="10515600" cy="48117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0"/>
          </p:nvPr>
        </p:nvSpPr>
        <p:spPr>
          <a:xfrm>
            <a:off x="838200" y="6515736"/>
            <a:ext cx="384000" cy="288000"/>
          </a:xfrm>
          <a:prstGeom prst="rect">
            <a:avLst/>
          </a:prstGeom>
        </p:spPr>
        <p:txBody>
          <a:bodyPr/>
          <a:lstStyle/>
          <a:p>
            <a:fld id="{CCF5DCE2-2E38-44CB-A760-5611423EC211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440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6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0851" y="1516063"/>
            <a:ext cx="11290299" cy="456073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13773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 bwMode="gray">
          <a:xfrm>
            <a:off x="0" y="1643199"/>
            <a:ext cx="11339513" cy="3055937"/>
            <a:chOff x="409575" y="3144838"/>
            <a:chExt cx="11339513" cy="3055937"/>
          </a:xfrm>
        </p:grpSpPr>
        <p:sp>
          <p:nvSpPr>
            <p:cNvPr id="45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de-DE" dirty="0">
                <a:solidFill>
                  <a:srgbClr val="333333"/>
                </a:solidFill>
              </a:endParaRPr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de-DE" dirty="0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de-DE" sz="2400" dirty="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842433" y="2116800"/>
            <a:ext cx="10313209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3" y="4240704"/>
            <a:ext cx="7082733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de-DE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00" y="3556800"/>
            <a:ext cx="10305675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5242061"/>
            <a:ext cx="2196000" cy="1318571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de-DE" noProof="0" dirty="0" smtClean="0"/>
              <a:t>Click </a:t>
            </a:r>
            <a:r>
              <a:rPr lang="de-DE" noProof="0" dirty="0" err="1" smtClean="0"/>
              <a:t>to</a:t>
            </a:r>
            <a:r>
              <a:rPr lang="de-DE" noProof="0" dirty="0" smtClean="0"/>
              <a:t> </a:t>
            </a:r>
            <a:r>
              <a:rPr lang="de-DE" noProof="0" dirty="0" err="1" smtClean="0"/>
              <a:t>insert</a:t>
            </a:r>
            <a:r>
              <a:rPr lang="de-DE" noProof="0" dirty="0" smtClean="0"/>
              <a:t> </a:t>
            </a:r>
            <a:r>
              <a:rPr lang="de-DE" noProof="0" dirty="0" err="1" smtClean="0"/>
              <a:t>project</a:t>
            </a:r>
            <a:r>
              <a:rPr lang="de-DE" noProof="0" dirty="0" smtClean="0"/>
              <a:t> logo</a:t>
            </a:r>
            <a:endParaRPr lang="de-DE" noProof="0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38200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3015150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426676" y="6559200"/>
            <a:ext cx="3600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-426676" y="6200775"/>
            <a:ext cx="3600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1206675" y="7019955"/>
            <a:ext cx="144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914400"/>
            <a:r>
              <a:rPr lang="de-DE" sz="1000" dirty="0" smtClean="0">
                <a:solidFill>
                  <a:srgbClr val="333333"/>
                </a:solidFill>
              </a:rPr>
              <a:t>Max. </a:t>
            </a:r>
            <a:r>
              <a:rPr lang="de-DE" sz="1000" dirty="0" err="1" smtClean="0">
                <a:solidFill>
                  <a:srgbClr val="333333"/>
                </a:solidFill>
              </a:rPr>
              <a:t>width</a:t>
            </a:r>
            <a:endParaRPr lang="de-DE" sz="1000" dirty="0" smtClean="0">
              <a:solidFill>
                <a:srgbClr val="333333"/>
              </a:solidFill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506676" y="6266692"/>
            <a:ext cx="144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 defTabSz="914400"/>
            <a:r>
              <a:rPr lang="de-DE" sz="1000" dirty="0" smtClean="0">
                <a:solidFill>
                  <a:srgbClr val="333333"/>
                </a:solidFill>
              </a:rPr>
              <a:t>Min. </a:t>
            </a:r>
            <a:r>
              <a:rPr lang="de-DE" sz="1000" dirty="0" err="1" smtClean="0">
                <a:solidFill>
                  <a:srgbClr val="333333"/>
                </a:solidFill>
              </a:rPr>
              <a:t>height</a:t>
            </a:r>
            <a:endParaRPr lang="de-DE" sz="1000" dirty="0" smtClean="0">
              <a:solidFill>
                <a:srgbClr val="333333"/>
              </a:solidFill>
            </a:endParaRP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-426676" y="5242062"/>
            <a:ext cx="3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 userDrawn="1"/>
        </p:nvSpPr>
        <p:spPr>
          <a:xfrm>
            <a:off x="-1506676" y="5297118"/>
            <a:ext cx="144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 defTabSz="914400"/>
            <a:r>
              <a:rPr lang="de-DE" sz="1000" dirty="0" smtClean="0">
                <a:solidFill>
                  <a:srgbClr val="333333"/>
                </a:solidFill>
              </a:rPr>
              <a:t>Max. </a:t>
            </a:r>
            <a:r>
              <a:rPr lang="de-DE" sz="1000" dirty="0" err="1" smtClean="0">
                <a:solidFill>
                  <a:srgbClr val="333333"/>
                </a:solidFill>
              </a:rPr>
              <a:t>height</a:t>
            </a:r>
            <a:endParaRPr lang="de-DE" sz="1000" dirty="0" smtClean="0">
              <a:solidFill>
                <a:srgbClr val="333333"/>
              </a:solidFill>
            </a:endParaRPr>
          </a:p>
        </p:txBody>
      </p:sp>
      <p:grpSp>
        <p:nvGrpSpPr>
          <p:cNvPr id="53" name="Group 52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54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55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56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57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Orange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255, 98, 0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58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59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Light Grey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168, 168, 168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Indigo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82, 81, 153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Sky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96, 166, 218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64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200" b="1" dirty="0" err="1" smtClean="0">
                  <a:solidFill>
                    <a:srgbClr val="333333"/>
                  </a:solidFill>
                </a:rPr>
                <a:t>Colour</a:t>
              </a:r>
              <a:r>
                <a:rPr lang="de-DE" altLang="en-US" sz="1200" b="1" dirty="0" smtClean="0">
                  <a:solidFill>
                    <a:srgbClr val="333333"/>
                  </a:solidFill>
                </a:rPr>
                <a:t> Guidelines</a:t>
              </a:r>
              <a:endParaRPr lang="de-DE" altLang="en-US" sz="1200" b="1" dirty="0">
                <a:solidFill>
                  <a:srgbClr val="333333"/>
                </a:solidFill>
              </a:endParaRPr>
            </a:p>
          </p:txBody>
        </p:sp>
        <p:sp>
          <p:nvSpPr>
            <p:cNvPr id="65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66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Fuchsia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171, 0, 102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67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68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</a:t>
              </a:r>
              <a:r>
                <a:rPr lang="de-DE" altLang="en-US" sz="1000" dirty="0" err="1" smtClean="0">
                  <a:solidFill>
                    <a:srgbClr val="333333"/>
                  </a:solidFill>
                </a:rPr>
                <a:t>Lime</a:t>
              </a:r>
              <a:endParaRPr lang="de-DE" altLang="en-US" sz="1000" dirty="0" smtClean="0">
                <a:solidFill>
                  <a:srgbClr val="333333"/>
                </a:solidFill>
              </a:endParaRP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208, 217, 60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69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70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</a:t>
              </a:r>
              <a:r>
                <a:rPr lang="de-DE" altLang="en-US" sz="1000" dirty="0" err="1" smtClean="0">
                  <a:solidFill>
                    <a:srgbClr val="333333"/>
                  </a:solidFill>
                </a:rPr>
                <a:t>Leaf</a:t>
              </a:r>
              <a:endParaRPr lang="de-DE" altLang="en-US" sz="1000" dirty="0" smtClean="0">
                <a:solidFill>
                  <a:srgbClr val="333333"/>
                </a:solidFill>
              </a:endParaRP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52, 150, 81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71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72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Mid Grey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118, 118, 118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73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74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Text </a:t>
              </a:r>
              <a:r>
                <a:rPr lang="de-DE" altLang="en-US" sz="1000" dirty="0" err="1" smtClean="0">
                  <a:solidFill>
                    <a:srgbClr val="333333"/>
                  </a:solidFill>
                </a:rPr>
                <a:t>Colour</a:t>
              </a:r>
              <a:endParaRPr lang="de-DE" altLang="en-US" sz="1000" dirty="0" smtClean="0">
                <a:solidFill>
                  <a:srgbClr val="333333"/>
                </a:solidFill>
              </a:endParaRP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51, 51, 51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</p:grp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90" y="4402733"/>
            <a:ext cx="154783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167642" y="4291504"/>
            <a:ext cx="298800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de-DE" noProof="0" dirty="0" smtClean="0"/>
              <a:t>Click </a:t>
            </a:r>
            <a:r>
              <a:rPr lang="de-DE" noProof="0" dirty="0" err="1" smtClean="0"/>
              <a:t>to</a:t>
            </a:r>
            <a:r>
              <a:rPr lang="de-DE" noProof="0" dirty="0" smtClean="0"/>
              <a:t> </a:t>
            </a:r>
            <a:r>
              <a:rPr lang="de-DE" noProof="0" dirty="0" err="1" smtClean="0"/>
              <a:t>edit</a:t>
            </a:r>
            <a:r>
              <a:rPr lang="de-DE" noProof="0" dirty="0" smtClean="0"/>
              <a:t> </a:t>
            </a:r>
            <a:r>
              <a:rPr lang="de-DE" noProof="0" dirty="0" err="1" smtClean="0"/>
              <a:t>location</a:t>
            </a:r>
            <a:r>
              <a:rPr lang="de-DE" noProof="0" dirty="0" smtClean="0"/>
              <a:t> and </a:t>
            </a:r>
            <a:r>
              <a:rPr lang="de-DE" noProof="0" dirty="0" err="1" smtClean="0"/>
              <a:t>date</a:t>
            </a:r>
            <a:endParaRPr lang="de-DE" noProof="0" dirty="0" smtClean="0"/>
          </a:p>
        </p:txBody>
      </p:sp>
      <p:pic>
        <p:nvPicPr>
          <p:cNvPr id="47" name="Picture 31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606" t="21885" r="8745" b="32127"/>
          <a:stretch/>
        </p:blipFill>
        <p:spPr>
          <a:xfrm>
            <a:off x="9550895" y="6207490"/>
            <a:ext cx="2347387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067141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  <p15:guide id="2" orient="horz" pos="3304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278384"/>
            <a:ext cx="1048917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38200" y="6498809"/>
            <a:ext cx="495300" cy="188119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de-DE" smtClean="0">
                <a:solidFill>
                  <a:srgbClr val="333333"/>
                </a:solidFill>
              </a:rPr>
              <a:pPr/>
              <a:t>‹#›</a:t>
            </a:fld>
            <a:endParaRPr lang="de-DE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38010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696912" y="1201147"/>
            <a:ext cx="11199600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845575" y="1327150"/>
            <a:ext cx="10489176" cy="4752000"/>
          </a:xfrm>
        </p:spPr>
        <p:txBody>
          <a:bodyPr>
            <a:noAutofit/>
          </a:bodyPr>
          <a:lstStyle>
            <a:lvl1pPr marL="431956" marR="0" indent="-431956" algn="l" defTabSz="914286" rtl="0" eaLnBrk="1" fontAlgn="auto" latinLnBrk="0" hangingPunct="1">
              <a:lnSpc>
                <a:spcPts val="2199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55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877317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795636"/>
            <a:ext cx="10489175" cy="44051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38200" y="6498809"/>
            <a:ext cx="495300" cy="188119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de-DE" smtClean="0">
                <a:solidFill>
                  <a:srgbClr val="333333"/>
                </a:solidFill>
              </a:rPr>
              <a:pPr/>
              <a:t>‹#›</a:t>
            </a:fld>
            <a:endParaRPr lang="de-DE" dirty="0">
              <a:solidFill>
                <a:srgbClr val="333333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845574" y="1277982"/>
            <a:ext cx="1048917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 dirty="0" smtClean="0"/>
              <a:t>Click </a:t>
            </a:r>
            <a:r>
              <a:rPr lang="de-DE" noProof="0" dirty="0" err="1" smtClean="0"/>
              <a:t>to</a:t>
            </a:r>
            <a:r>
              <a:rPr lang="de-DE" noProof="0" dirty="0" smtClean="0"/>
              <a:t> </a:t>
            </a:r>
            <a:r>
              <a:rPr lang="de-DE" noProof="0" dirty="0" err="1" smtClean="0"/>
              <a:t>edit</a:t>
            </a:r>
            <a:r>
              <a:rPr lang="de-DE" noProof="0" dirty="0" smtClean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10387872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278384"/>
            <a:ext cx="1048917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1pPr>
            <a:lvl2pPr marL="538163" indent="-268288">
              <a:buClr>
                <a:schemeClr val="accent2"/>
              </a:buClr>
              <a:buFont typeface="ING Me" pitchFamily="2" charset="0"/>
              <a:buChar char="•"/>
              <a:defRPr/>
            </a:lvl2pPr>
            <a:lvl3pPr marL="804863" indent="-266700">
              <a:buClr>
                <a:schemeClr val="accent3"/>
              </a:buClr>
              <a:defRPr/>
            </a:lvl3pPr>
            <a:lvl4pPr marL="1077913" indent="-260350">
              <a:buClr>
                <a:schemeClr val="accent4"/>
              </a:buClr>
              <a:defRPr/>
            </a:lvl4pPr>
            <a:lvl5pPr marL="1341438" indent="-252413">
              <a:buClr>
                <a:schemeClr val="accent5"/>
              </a:buClr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38200" y="6498809"/>
            <a:ext cx="495300" cy="188119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de-DE" smtClean="0">
                <a:solidFill>
                  <a:srgbClr val="333333"/>
                </a:solidFill>
              </a:rPr>
              <a:pPr/>
              <a:t>‹#›</a:t>
            </a:fld>
            <a:endParaRPr lang="de-DE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44917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278384"/>
            <a:ext cx="1048917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38200" y="6498809"/>
            <a:ext cx="495300" cy="188119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de-DE" smtClean="0">
                <a:solidFill>
                  <a:srgbClr val="333333"/>
                </a:solidFill>
              </a:rPr>
              <a:pPr/>
              <a:t>‹#›</a:t>
            </a:fld>
            <a:endParaRPr lang="de-DE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40213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/>
          <p:cNvGrpSpPr>
            <a:grpSpLocks noChangeAspect="1"/>
          </p:cNvGrpSpPr>
          <p:nvPr userDrawn="1"/>
        </p:nvGrpSpPr>
        <p:grpSpPr bwMode="gray">
          <a:xfrm>
            <a:off x="0" y="1643199"/>
            <a:ext cx="5909320" cy="3045600"/>
            <a:chOff x="3465513" y="2070100"/>
            <a:chExt cx="5260975" cy="2711450"/>
          </a:xfrm>
        </p:grpSpPr>
        <p:sp>
          <p:nvSpPr>
            <p:cNvPr id="67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de-DE" dirty="0">
                <a:solidFill>
                  <a:srgbClr val="333333"/>
                </a:solidFill>
              </a:endParaRPr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de-DE" dirty="0">
                <a:solidFill>
                  <a:srgbClr val="333333"/>
                </a:solidFill>
              </a:endParaRPr>
            </a:p>
          </p:txBody>
        </p:sp>
      </p:grpSp>
      <p:sp>
        <p:nvSpPr>
          <p:cNvPr id="65" name="Picture Placeholder 64"/>
          <p:cNvSpPr>
            <a:spLocks noGrp="1"/>
          </p:cNvSpPr>
          <p:nvPr>
            <p:ph type="pic" sz="quarter" idx="12"/>
          </p:nvPr>
        </p:nvSpPr>
        <p:spPr bwMode="gray">
          <a:xfrm>
            <a:off x="-3176" y="1"/>
            <a:ext cx="12195175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de-DE" noProof="0" smtClean="0"/>
              <a:t>Bild durch Klicken auf Symbol hinzufügen</a:t>
            </a:r>
            <a:endParaRPr lang="de-DE" noProof="0" dirty="0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842434" y="2012286"/>
            <a:ext cx="4877966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031478"/>
            <a:ext cx="4877966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de-DE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34" y="3603486"/>
            <a:ext cx="4877966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de-DE" sz="2400" dirty="0">
              <a:solidFill>
                <a:prstClr val="white"/>
              </a:solidFill>
            </a:endParaRP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6055200"/>
            <a:ext cx="219600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de-DE" noProof="0" dirty="0" smtClean="0"/>
              <a:t>Click </a:t>
            </a:r>
            <a:r>
              <a:rPr lang="de-DE" noProof="0" dirty="0" err="1" smtClean="0"/>
              <a:t>to</a:t>
            </a:r>
            <a:r>
              <a:rPr lang="de-DE" noProof="0" dirty="0" smtClean="0"/>
              <a:t> </a:t>
            </a:r>
            <a:r>
              <a:rPr lang="de-DE" noProof="0" dirty="0" err="1" smtClean="0"/>
              <a:t>insert</a:t>
            </a:r>
            <a:r>
              <a:rPr lang="de-DE" noProof="0" dirty="0" smtClean="0"/>
              <a:t> </a:t>
            </a:r>
            <a:r>
              <a:rPr lang="de-DE" noProof="0" dirty="0" err="1" smtClean="0"/>
              <a:t>project</a:t>
            </a:r>
            <a:r>
              <a:rPr lang="de-DE" noProof="0" dirty="0" smtClean="0"/>
              <a:t> logo</a:t>
            </a:r>
            <a:endParaRPr lang="de-DE" noProof="0" dirty="0"/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3015150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-426676" y="6200775"/>
            <a:ext cx="3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1206675" y="7019955"/>
            <a:ext cx="144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914400"/>
            <a:r>
              <a:rPr lang="de-DE" sz="1000" dirty="0" smtClean="0">
                <a:solidFill>
                  <a:srgbClr val="333333"/>
                </a:solidFill>
              </a:rPr>
              <a:t>Max. </a:t>
            </a:r>
            <a:r>
              <a:rPr lang="de-DE" sz="1000" dirty="0" err="1" smtClean="0">
                <a:solidFill>
                  <a:srgbClr val="333333"/>
                </a:solidFill>
              </a:rPr>
              <a:t>width</a:t>
            </a:r>
            <a:endParaRPr lang="de-DE" sz="1000" dirty="0" smtClean="0">
              <a:solidFill>
                <a:srgbClr val="333333"/>
              </a:solidFill>
            </a:endParaRPr>
          </a:p>
        </p:txBody>
      </p:sp>
      <p:sp>
        <p:nvSpPr>
          <p:cNvPr id="23" name="TextBox 22"/>
          <p:cNvSpPr txBox="1"/>
          <p:nvPr userDrawn="1"/>
        </p:nvSpPr>
        <p:spPr>
          <a:xfrm>
            <a:off x="-1506676" y="6266692"/>
            <a:ext cx="144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 defTabSz="914400"/>
            <a:r>
              <a:rPr lang="de-DE" sz="1000" dirty="0" smtClean="0">
                <a:solidFill>
                  <a:srgbClr val="333333"/>
                </a:solidFill>
              </a:rPr>
              <a:t>Max. </a:t>
            </a:r>
            <a:r>
              <a:rPr lang="de-DE" sz="1000" dirty="0" err="1" smtClean="0">
                <a:solidFill>
                  <a:srgbClr val="333333"/>
                </a:solidFill>
              </a:rPr>
              <a:t>height</a:t>
            </a:r>
            <a:endParaRPr lang="de-DE" sz="1000" dirty="0" smtClean="0">
              <a:solidFill>
                <a:srgbClr val="333333"/>
              </a:solidFill>
            </a:endParaRP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838200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-426676" y="6559200"/>
            <a:ext cx="3600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78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79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80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81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Orange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255, 98, 0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82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83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Light Grey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168, 168, 168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84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85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Indigo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82, 81, 153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86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87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Sky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96, 166, 218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88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200" b="1" dirty="0" err="1" smtClean="0">
                  <a:solidFill>
                    <a:srgbClr val="333333"/>
                  </a:solidFill>
                </a:rPr>
                <a:t>Colour</a:t>
              </a:r>
              <a:r>
                <a:rPr lang="de-DE" altLang="en-US" sz="1200" b="1" dirty="0" smtClean="0">
                  <a:solidFill>
                    <a:srgbClr val="333333"/>
                  </a:solidFill>
                </a:rPr>
                <a:t> Guidelines</a:t>
              </a:r>
              <a:endParaRPr lang="de-DE" altLang="en-US" sz="1200" b="1" dirty="0">
                <a:solidFill>
                  <a:srgbClr val="333333"/>
                </a:solidFill>
              </a:endParaRPr>
            </a:p>
          </p:txBody>
        </p:sp>
        <p:sp>
          <p:nvSpPr>
            <p:cNvPr id="89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90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Fuchsia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171, 0, 102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91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92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</a:t>
              </a:r>
              <a:r>
                <a:rPr lang="de-DE" altLang="en-US" sz="1000" dirty="0" err="1" smtClean="0">
                  <a:solidFill>
                    <a:srgbClr val="333333"/>
                  </a:solidFill>
                </a:rPr>
                <a:t>Lime</a:t>
              </a:r>
              <a:endParaRPr lang="de-DE" altLang="en-US" sz="1000" dirty="0" smtClean="0">
                <a:solidFill>
                  <a:srgbClr val="333333"/>
                </a:solidFill>
              </a:endParaRP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208, 217, 60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93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94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</a:t>
              </a:r>
              <a:r>
                <a:rPr lang="de-DE" altLang="en-US" sz="1000" dirty="0" err="1" smtClean="0">
                  <a:solidFill>
                    <a:srgbClr val="333333"/>
                  </a:solidFill>
                </a:rPr>
                <a:t>Leaf</a:t>
              </a:r>
              <a:endParaRPr lang="de-DE" altLang="en-US" sz="1000" dirty="0" smtClean="0">
                <a:solidFill>
                  <a:srgbClr val="333333"/>
                </a:solidFill>
              </a:endParaRP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52, 150, 81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95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96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Mid Grey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118, 118, 118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97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98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Text </a:t>
              </a:r>
              <a:r>
                <a:rPr lang="de-DE" altLang="en-US" sz="1000" dirty="0" err="1" smtClean="0">
                  <a:solidFill>
                    <a:srgbClr val="333333"/>
                  </a:solidFill>
                </a:rPr>
                <a:t>Colour</a:t>
              </a:r>
              <a:endParaRPr lang="de-DE" altLang="en-US" sz="1000" dirty="0" smtClean="0">
                <a:solidFill>
                  <a:srgbClr val="333333"/>
                </a:solidFill>
              </a:endParaRP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51, 51, 51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</p:grp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90" y="4402733"/>
            <a:ext cx="154783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42434" y="4381898"/>
            <a:ext cx="4878000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de-DE" noProof="0" dirty="0" smtClean="0"/>
              <a:t>Click </a:t>
            </a:r>
            <a:r>
              <a:rPr lang="de-DE" noProof="0" dirty="0" err="1" smtClean="0"/>
              <a:t>to</a:t>
            </a:r>
            <a:r>
              <a:rPr lang="de-DE" noProof="0" dirty="0" smtClean="0"/>
              <a:t> </a:t>
            </a:r>
            <a:r>
              <a:rPr lang="de-DE" noProof="0" dirty="0" err="1" smtClean="0"/>
              <a:t>edit</a:t>
            </a:r>
            <a:r>
              <a:rPr lang="de-DE" noProof="0" dirty="0" smtClean="0"/>
              <a:t> </a:t>
            </a:r>
            <a:r>
              <a:rPr lang="de-DE" noProof="0" dirty="0" err="1" smtClean="0"/>
              <a:t>location</a:t>
            </a:r>
            <a:r>
              <a:rPr lang="de-DE" noProof="0" dirty="0" smtClean="0"/>
              <a:t> and </a:t>
            </a:r>
            <a:r>
              <a:rPr lang="de-DE" noProof="0" dirty="0" err="1" smtClean="0"/>
              <a:t>date</a:t>
            </a:r>
            <a:endParaRPr lang="de-DE" noProof="0" dirty="0" smtClean="0"/>
          </a:p>
        </p:txBody>
      </p:sp>
      <p:pic>
        <p:nvPicPr>
          <p:cNvPr id="42" name="Picture 31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606" t="21885" r="8745" b="32127"/>
          <a:stretch/>
        </p:blipFill>
        <p:spPr>
          <a:xfrm>
            <a:off x="9550895" y="6207490"/>
            <a:ext cx="2347387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15675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 userDrawn="1"/>
        </p:nvGrpSpPr>
        <p:grpSpPr bwMode="gray">
          <a:xfrm>
            <a:off x="0" y="1643199"/>
            <a:ext cx="11339513" cy="3055937"/>
            <a:chOff x="409575" y="3144838"/>
            <a:chExt cx="11339513" cy="3055937"/>
          </a:xfrm>
        </p:grpSpPr>
        <p:sp>
          <p:nvSpPr>
            <p:cNvPr id="51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de-DE" dirty="0">
                <a:solidFill>
                  <a:srgbClr val="333333"/>
                </a:solidFill>
              </a:endParaRPr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de-DE" dirty="0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de-DE" sz="2400" dirty="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842433" y="2116800"/>
            <a:ext cx="10313209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3" y="4240704"/>
            <a:ext cx="7082733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de-DE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00" y="3556800"/>
            <a:ext cx="10305675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5242062"/>
            <a:ext cx="2196000" cy="1317138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de-DE" noProof="0" dirty="0" smtClean="0"/>
              <a:t>Click </a:t>
            </a:r>
            <a:r>
              <a:rPr lang="de-DE" noProof="0" dirty="0" err="1" smtClean="0"/>
              <a:t>to</a:t>
            </a:r>
            <a:r>
              <a:rPr lang="de-DE" noProof="0" dirty="0" smtClean="0"/>
              <a:t> </a:t>
            </a:r>
            <a:r>
              <a:rPr lang="de-DE" noProof="0" dirty="0" err="1" smtClean="0"/>
              <a:t>insert</a:t>
            </a:r>
            <a:r>
              <a:rPr lang="de-DE" noProof="0" dirty="0" smtClean="0"/>
              <a:t> </a:t>
            </a:r>
            <a:r>
              <a:rPr lang="de-DE" noProof="0" dirty="0" err="1" smtClean="0"/>
              <a:t>project</a:t>
            </a:r>
            <a:r>
              <a:rPr lang="de-DE" noProof="0" dirty="0" smtClean="0"/>
              <a:t> logo</a:t>
            </a:r>
            <a:endParaRPr lang="de-DE" noProof="0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3015150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426676" y="6200775"/>
            <a:ext cx="3600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1206675" y="7019955"/>
            <a:ext cx="144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914400"/>
            <a:r>
              <a:rPr lang="de-DE" sz="1000" dirty="0" smtClean="0">
                <a:solidFill>
                  <a:srgbClr val="333333"/>
                </a:solidFill>
              </a:rPr>
              <a:t>Max. </a:t>
            </a:r>
            <a:r>
              <a:rPr lang="de-DE" sz="1000" dirty="0" err="1" smtClean="0">
                <a:solidFill>
                  <a:srgbClr val="333333"/>
                </a:solidFill>
              </a:rPr>
              <a:t>width</a:t>
            </a:r>
            <a:endParaRPr lang="de-DE" sz="1000" dirty="0" smtClean="0">
              <a:solidFill>
                <a:srgbClr val="333333"/>
              </a:solidFill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506676" y="6266692"/>
            <a:ext cx="144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 defTabSz="914400"/>
            <a:r>
              <a:rPr lang="de-DE" sz="1000" dirty="0" smtClean="0">
                <a:solidFill>
                  <a:srgbClr val="333333"/>
                </a:solidFill>
              </a:rPr>
              <a:t>Min. </a:t>
            </a:r>
            <a:r>
              <a:rPr lang="de-DE" sz="1000" dirty="0" err="1" smtClean="0">
                <a:solidFill>
                  <a:srgbClr val="333333"/>
                </a:solidFill>
              </a:rPr>
              <a:t>height</a:t>
            </a:r>
            <a:endParaRPr lang="de-DE" sz="1000" dirty="0" smtClean="0">
              <a:solidFill>
                <a:srgbClr val="333333"/>
              </a:solidFill>
            </a:endParaRPr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-426676" y="5242062"/>
            <a:ext cx="3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-1506676" y="5297118"/>
            <a:ext cx="144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 defTabSz="914400"/>
            <a:r>
              <a:rPr lang="de-DE" sz="1000" dirty="0" smtClean="0">
                <a:solidFill>
                  <a:srgbClr val="333333"/>
                </a:solidFill>
              </a:rPr>
              <a:t>Max. </a:t>
            </a:r>
            <a:r>
              <a:rPr lang="de-DE" sz="1000" dirty="0" err="1" smtClean="0">
                <a:solidFill>
                  <a:srgbClr val="333333"/>
                </a:solidFill>
              </a:rPr>
              <a:t>height</a:t>
            </a:r>
            <a:endParaRPr lang="de-DE" sz="1000" dirty="0" smtClean="0">
              <a:solidFill>
                <a:srgbClr val="333333"/>
              </a:solidFill>
            </a:endParaRPr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838200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-426676" y="6559200"/>
            <a:ext cx="3600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5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6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6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6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Orange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255, 98, 0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6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6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Light Grey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168, 168, 168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6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6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Indigo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82, 81, 153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6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6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Sky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96, 166, 218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6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200" b="1" dirty="0" err="1" smtClean="0">
                  <a:solidFill>
                    <a:srgbClr val="333333"/>
                  </a:solidFill>
                </a:rPr>
                <a:t>Colour</a:t>
              </a:r>
              <a:r>
                <a:rPr lang="de-DE" altLang="en-US" sz="1200" b="1" dirty="0" smtClean="0">
                  <a:solidFill>
                    <a:srgbClr val="333333"/>
                  </a:solidFill>
                </a:rPr>
                <a:t> Guidelines</a:t>
              </a:r>
              <a:endParaRPr lang="de-DE" altLang="en-US" sz="1200" b="1" dirty="0">
                <a:solidFill>
                  <a:srgbClr val="333333"/>
                </a:solidFill>
              </a:endParaRPr>
            </a:p>
          </p:txBody>
        </p:sp>
        <p:sp>
          <p:nvSpPr>
            <p:cNvPr id="7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7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Fuchsia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171, 0, 102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7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7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</a:t>
              </a:r>
              <a:r>
                <a:rPr lang="de-DE" altLang="en-US" sz="1000" dirty="0" err="1" smtClean="0">
                  <a:solidFill>
                    <a:srgbClr val="333333"/>
                  </a:solidFill>
                </a:rPr>
                <a:t>Lime</a:t>
              </a:r>
              <a:endParaRPr lang="de-DE" altLang="en-US" sz="1000" dirty="0" smtClean="0">
                <a:solidFill>
                  <a:srgbClr val="333333"/>
                </a:solidFill>
              </a:endParaRP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208, 217, 60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7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7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</a:t>
              </a:r>
              <a:r>
                <a:rPr lang="de-DE" altLang="en-US" sz="1000" dirty="0" err="1" smtClean="0">
                  <a:solidFill>
                    <a:srgbClr val="333333"/>
                  </a:solidFill>
                </a:rPr>
                <a:t>Leaf</a:t>
              </a:r>
              <a:endParaRPr lang="de-DE" altLang="en-US" sz="1000" dirty="0" smtClean="0">
                <a:solidFill>
                  <a:srgbClr val="333333"/>
                </a:solidFill>
              </a:endParaRP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52, 150, 81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7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7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Mid Grey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118, 118, 118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7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7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Text </a:t>
              </a:r>
              <a:r>
                <a:rPr lang="de-DE" altLang="en-US" sz="1000" dirty="0" err="1" smtClean="0">
                  <a:solidFill>
                    <a:srgbClr val="333333"/>
                  </a:solidFill>
                </a:rPr>
                <a:t>Colour</a:t>
              </a:r>
              <a:endParaRPr lang="de-DE" altLang="en-US" sz="1000" dirty="0" smtClean="0">
                <a:solidFill>
                  <a:srgbClr val="333333"/>
                </a:solidFill>
              </a:endParaRP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51, 51, 51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</p:grp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90" y="4402733"/>
            <a:ext cx="154783" cy="138908"/>
          </a:xfrm>
          <a:prstGeom prst="rect">
            <a:avLst/>
          </a:prstGeom>
        </p:spPr>
      </p:pic>
      <p:sp>
        <p:nvSpPr>
          <p:cNvPr id="4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167642" y="4291504"/>
            <a:ext cx="298800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de-DE" noProof="0" dirty="0" smtClean="0"/>
              <a:t>Click </a:t>
            </a:r>
            <a:r>
              <a:rPr lang="de-DE" noProof="0" dirty="0" err="1" smtClean="0"/>
              <a:t>to</a:t>
            </a:r>
            <a:r>
              <a:rPr lang="de-DE" noProof="0" dirty="0" smtClean="0"/>
              <a:t> </a:t>
            </a:r>
            <a:r>
              <a:rPr lang="de-DE" noProof="0" dirty="0" err="1" smtClean="0"/>
              <a:t>edit</a:t>
            </a:r>
            <a:r>
              <a:rPr lang="de-DE" noProof="0" dirty="0" smtClean="0"/>
              <a:t> </a:t>
            </a:r>
            <a:r>
              <a:rPr lang="de-DE" noProof="0" dirty="0" err="1" smtClean="0"/>
              <a:t>location</a:t>
            </a:r>
            <a:r>
              <a:rPr lang="de-DE" noProof="0" dirty="0" smtClean="0"/>
              <a:t> and </a:t>
            </a:r>
            <a:r>
              <a:rPr lang="de-DE" noProof="0" dirty="0" err="1" smtClean="0"/>
              <a:t>date</a:t>
            </a:r>
            <a:endParaRPr lang="de-DE" noProof="0" dirty="0" smtClean="0"/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10749167" y="-133099"/>
            <a:ext cx="1441027" cy="1565166"/>
            <a:chOff x="5364088" y="4720073"/>
            <a:chExt cx="1441027" cy="1565166"/>
          </a:xfrm>
        </p:grpSpPr>
        <p:sp>
          <p:nvSpPr>
            <p:cNvPr id="48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de-DE" sz="3200" dirty="0">
                <a:solidFill>
                  <a:srgbClr val="333333"/>
                </a:solidFill>
              </a:endParaRPr>
            </a:p>
          </p:txBody>
        </p:sp>
        <p:sp>
          <p:nvSpPr>
            <p:cNvPr id="49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de-DE" sz="1600" dirty="0" err="1" smtClean="0">
                  <a:solidFill>
                    <a:prstClr val="white"/>
                  </a:solidFill>
                </a:rPr>
                <a:t>Confidential</a:t>
              </a:r>
              <a:endParaRPr lang="de-DE" sz="1600" dirty="0">
                <a:solidFill>
                  <a:prstClr val="white"/>
                </a:solidFill>
              </a:endParaRPr>
            </a:p>
          </p:txBody>
        </p:sp>
      </p:grpSp>
      <p:pic>
        <p:nvPicPr>
          <p:cNvPr id="53" name="Picture 31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606" t="21885" r="8745" b="32127"/>
          <a:stretch/>
        </p:blipFill>
        <p:spPr>
          <a:xfrm>
            <a:off x="9550895" y="6207490"/>
            <a:ext cx="2347387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73898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  <p15:guide id="2" orient="horz" pos="3304">
          <p15:clr>
            <a:srgbClr val="FBAE4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>
            <a:grpSpLocks noChangeAspect="1"/>
          </p:cNvGrpSpPr>
          <p:nvPr userDrawn="1"/>
        </p:nvGrpSpPr>
        <p:grpSpPr bwMode="gray">
          <a:xfrm>
            <a:off x="0" y="1643199"/>
            <a:ext cx="5909320" cy="3045600"/>
            <a:chOff x="3465513" y="2070100"/>
            <a:chExt cx="5260975" cy="2711450"/>
          </a:xfrm>
        </p:grpSpPr>
        <p:sp>
          <p:nvSpPr>
            <p:cNvPr id="81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de-DE" dirty="0">
                <a:solidFill>
                  <a:srgbClr val="333333"/>
                </a:solidFill>
              </a:endParaRPr>
            </a:p>
          </p:txBody>
        </p:sp>
        <p:sp>
          <p:nvSpPr>
            <p:cNvPr id="85" name="Freeform 84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de-DE" dirty="0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842434" y="2012286"/>
            <a:ext cx="4877966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031478"/>
            <a:ext cx="4877966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de-DE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34" y="3603486"/>
            <a:ext cx="4877966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de-DE" sz="2400" dirty="0">
              <a:solidFill>
                <a:prstClr val="white"/>
              </a:solidFill>
            </a:endParaRPr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6055200"/>
            <a:ext cx="219600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de-DE" noProof="0" dirty="0" smtClean="0"/>
              <a:t>Click </a:t>
            </a:r>
            <a:r>
              <a:rPr lang="de-DE" noProof="0" dirty="0" err="1" smtClean="0"/>
              <a:t>to</a:t>
            </a:r>
            <a:r>
              <a:rPr lang="de-DE" noProof="0" dirty="0" smtClean="0"/>
              <a:t> </a:t>
            </a:r>
            <a:r>
              <a:rPr lang="de-DE" noProof="0" dirty="0" err="1" smtClean="0"/>
              <a:t>insert</a:t>
            </a:r>
            <a:r>
              <a:rPr lang="de-DE" noProof="0" dirty="0" smtClean="0"/>
              <a:t> </a:t>
            </a:r>
            <a:r>
              <a:rPr lang="de-DE" noProof="0" dirty="0" err="1" smtClean="0"/>
              <a:t>project</a:t>
            </a:r>
            <a:r>
              <a:rPr lang="de-DE" noProof="0" dirty="0" smtClean="0"/>
              <a:t> logo</a:t>
            </a:r>
            <a:endParaRPr lang="de-DE" noProof="0" dirty="0"/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3015150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-426676" y="6200775"/>
            <a:ext cx="3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1206675" y="7019955"/>
            <a:ext cx="144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914400"/>
            <a:r>
              <a:rPr lang="de-DE" sz="1000" dirty="0" smtClean="0">
                <a:solidFill>
                  <a:srgbClr val="333333"/>
                </a:solidFill>
              </a:rPr>
              <a:t>Max. </a:t>
            </a:r>
            <a:r>
              <a:rPr lang="de-DE" sz="1000" dirty="0" err="1" smtClean="0">
                <a:solidFill>
                  <a:srgbClr val="333333"/>
                </a:solidFill>
              </a:rPr>
              <a:t>width</a:t>
            </a:r>
            <a:endParaRPr lang="de-DE" sz="1000" dirty="0" smtClean="0">
              <a:solidFill>
                <a:srgbClr val="333333"/>
              </a:solidFill>
            </a:endParaRPr>
          </a:p>
        </p:txBody>
      </p:sp>
      <p:sp>
        <p:nvSpPr>
          <p:cNvPr id="27" name="TextBox 26"/>
          <p:cNvSpPr txBox="1"/>
          <p:nvPr userDrawn="1"/>
        </p:nvSpPr>
        <p:spPr>
          <a:xfrm>
            <a:off x="-1506676" y="6266692"/>
            <a:ext cx="144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 defTabSz="914400"/>
            <a:r>
              <a:rPr lang="de-DE" sz="1000" dirty="0" smtClean="0">
                <a:solidFill>
                  <a:srgbClr val="333333"/>
                </a:solidFill>
              </a:rPr>
              <a:t>Max. </a:t>
            </a:r>
            <a:r>
              <a:rPr lang="de-DE" sz="1000" dirty="0" err="1" smtClean="0">
                <a:solidFill>
                  <a:srgbClr val="333333"/>
                </a:solidFill>
              </a:rPr>
              <a:t>height</a:t>
            </a:r>
            <a:endParaRPr lang="de-DE" sz="1000" dirty="0" smtClean="0">
              <a:solidFill>
                <a:srgbClr val="333333"/>
              </a:solidFill>
            </a:endParaRPr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838200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-426676" y="6559200"/>
            <a:ext cx="3600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5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5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5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6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Orange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255, 98, 0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6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6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Light Grey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168, 168, 168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6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6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Indigo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82, 81, 153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6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6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Sky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96, 166, 218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6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200" b="1" dirty="0" err="1" smtClean="0">
                  <a:solidFill>
                    <a:srgbClr val="333333"/>
                  </a:solidFill>
                </a:rPr>
                <a:t>Colour</a:t>
              </a:r>
              <a:r>
                <a:rPr lang="de-DE" altLang="en-US" sz="1200" b="1" dirty="0" smtClean="0">
                  <a:solidFill>
                    <a:srgbClr val="333333"/>
                  </a:solidFill>
                </a:rPr>
                <a:t> Guidelines</a:t>
              </a:r>
              <a:endParaRPr lang="de-DE" altLang="en-US" sz="1200" b="1" dirty="0">
                <a:solidFill>
                  <a:srgbClr val="333333"/>
                </a:solidFill>
              </a:endParaRPr>
            </a:p>
          </p:txBody>
        </p:sp>
        <p:sp>
          <p:nvSpPr>
            <p:cNvPr id="6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6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Fuchsia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171, 0, 102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7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7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</a:t>
              </a:r>
              <a:r>
                <a:rPr lang="de-DE" altLang="en-US" sz="1000" dirty="0" err="1" smtClean="0">
                  <a:solidFill>
                    <a:srgbClr val="333333"/>
                  </a:solidFill>
                </a:rPr>
                <a:t>Lime</a:t>
              </a:r>
              <a:endParaRPr lang="de-DE" altLang="en-US" sz="1000" dirty="0" smtClean="0">
                <a:solidFill>
                  <a:srgbClr val="333333"/>
                </a:solidFill>
              </a:endParaRP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208, 217, 60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7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7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</a:t>
              </a:r>
              <a:r>
                <a:rPr lang="de-DE" altLang="en-US" sz="1000" dirty="0" err="1" smtClean="0">
                  <a:solidFill>
                    <a:srgbClr val="333333"/>
                  </a:solidFill>
                </a:rPr>
                <a:t>Leaf</a:t>
              </a:r>
              <a:endParaRPr lang="de-DE" altLang="en-US" sz="1000" dirty="0" smtClean="0">
                <a:solidFill>
                  <a:srgbClr val="333333"/>
                </a:solidFill>
              </a:endParaRP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52, 150, 81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7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7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Mid Grey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118, 118, 118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7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7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Text </a:t>
              </a:r>
              <a:r>
                <a:rPr lang="de-DE" altLang="en-US" sz="1000" dirty="0" err="1" smtClean="0">
                  <a:solidFill>
                    <a:srgbClr val="333333"/>
                  </a:solidFill>
                </a:rPr>
                <a:t>Colour</a:t>
              </a:r>
              <a:endParaRPr lang="de-DE" altLang="en-US" sz="1000" dirty="0" smtClean="0">
                <a:solidFill>
                  <a:srgbClr val="333333"/>
                </a:solidFill>
              </a:endParaRP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51, 51, 51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</p:grpSp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90" y="4402733"/>
            <a:ext cx="154783" cy="138908"/>
          </a:xfrm>
          <a:prstGeom prst="rect">
            <a:avLst/>
          </a:prstGeom>
        </p:spPr>
      </p:pic>
      <p:sp>
        <p:nvSpPr>
          <p:cNvPr id="4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42434" y="4381898"/>
            <a:ext cx="4878000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de-DE" noProof="0" dirty="0" smtClean="0"/>
              <a:t>Click </a:t>
            </a:r>
            <a:r>
              <a:rPr lang="de-DE" noProof="0" dirty="0" err="1" smtClean="0"/>
              <a:t>to</a:t>
            </a:r>
            <a:r>
              <a:rPr lang="de-DE" noProof="0" dirty="0" smtClean="0"/>
              <a:t> </a:t>
            </a:r>
            <a:r>
              <a:rPr lang="de-DE" noProof="0" dirty="0" err="1" smtClean="0"/>
              <a:t>edit</a:t>
            </a:r>
            <a:r>
              <a:rPr lang="de-DE" noProof="0" dirty="0" smtClean="0"/>
              <a:t> </a:t>
            </a:r>
            <a:r>
              <a:rPr lang="de-DE" noProof="0" dirty="0" err="1" smtClean="0"/>
              <a:t>location</a:t>
            </a:r>
            <a:r>
              <a:rPr lang="de-DE" noProof="0" dirty="0" smtClean="0"/>
              <a:t> and </a:t>
            </a:r>
            <a:r>
              <a:rPr lang="de-DE" noProof="0" dirty="0" err="1" smtClean="0"/>
              <a:t>date</a:t>
            </a:r>
            <a:endParaRPr lang="de-DE" noProof="0" dirty="0" smtClean="0"/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10749167" y="-133099"/>
            <a:ext cx="1441027" cy="1565166"/>
            <a:chOff x="5364088" y="4720073"/>
            <a:chExt cx="1441027" cy="1565166"/>
          </a:xfrm>
        </p:grpSpPr>
        <p:sp>
          <p:nvSpPr>
            <p:cNvPr id="4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de-DE" sz="3200" dirty="0">
                <a:solidFill>
                  <a:srgbClr val="333333"/>
                </a:solidFill>
              </a:endParaRPr>
            </a:p>
          </p:txBody>
        </p:sp>
        <p:sp>
          <p:nvSpPr>
            <p:cNvPr id="48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de-DE" sz="1600" dirty="0" err="1" smtClean="0">
                  <a:solidFill>
                    <a:prstClr val="white"/>
                  </a:solidFill>
                </a:rPr>
                <a:t>Confidential</a:t>
              </a:r>
              <a:endParaRPr lang="de-DE" sz="1600" dirty="0">
                <a:solidFill>
                  <a:prstClr val="white"/>
                </a:solidFill>
              </a:endParaRPr>
            </a:p>
          </p:txBody>
        </p:sp>
      </p:grpSp>
      <p:sp>
        <p:nvSpPr>
          <p:cNvPr id="54" name="Picture Placeholder 53"/>
          <p:cNvSpPr>
            <a:spLocks noGrp="1"/>
          </p:cNvSpPr>
          <p:nvPr>
            <p:ph type="pic" sz="quarter" idx="12"/>
          </p:nvPr>
        </p:nvSpPr>
        <p:spPr bwMode="gray">
          <a:xfrm>
            <a:off x="-3176" y="1"/>
            <a:ext cx="12195175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de-DE" noProof="0" smtClean="0"/>
              <a:t>Bild durch Klicken auf Symbol hinzufügen</a:t>
            </a:r>
            <a:endParaRPr lang="de-DE" noProof="0" dirty="0"/>
          </a:p>
        </p:txBody>
      </p:sp>
      <p:pic>
        <p:nvPicPr>
          <p:cNvPr id="49" name="Picture 31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606" t="21885" r="8745" b="32127"/>
          <a:stretch/>
        </p:blipFill>
        <p:spPr>
          <a:xfrm>
            <a:off x="9550895" y="6207490"/>
            <a:ext cx="2347387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1085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0" y="1643199"/>
            <a:ext cx="11339513" cy="3055937"/>
            <a:chOff x="409575" y="3144838"/>
            <a:chExt cx="11339513" cy="3055937"/>
          </a:xfrm>
        </p:grpSpPr>
        <p:sp>
          <p:nvSpPr>
            <p:cNvPr id="37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de-DE" dirty="0">
                <a:solidFill>
                  <a:srgbClr val="333333"/>
                </a:solidFill>
              </a:endParaRPr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de-DE" dirty="0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de-DE" sz="2400" dirty="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842433" y="2116800"/>
            <a:ext cx="10313209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3" y="4240704"/>
            <a:ext cx="7082733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de-DE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00" y="3556800"/>
            <a:ext cx="10305675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pic>
        <p:nvPicPr>
          <p:cNvPr id="13" name="Picture Placeholder 36"/>
          <p:cNvPicPr>
            <a:picLocks noChangeAspect="1"/>
          </p:cNvPicPr>
          <p:nvPr userDrawn="1"/>
        </p:nvPicPr>
        <p:blipFill rotWithShape="1">
          <a:blip r:embed="rId2"/>
          <a:stretch/>
        </p:blipFill>
        <p:spPr bwMode="gray">
          <a:xfrm>
            <a:off x="838200" y="6291857"/>
            <a:ext cx="2196000" cy="287825"/>
          </a:xfrm>
          <a:prstGeom prst="rect">
            <a:avLst/>
          </a:prstGeom>
        </p:spPr>
      </p:pic>
      <p:grpSp>
        <p:nvGrpSpPr>
          <p:cNvPr id="44" name="Group 43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45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46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47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48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Orange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255, 98, 0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49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50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Light Grey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168, 168, 168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51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52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Indigo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82, 81, 153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53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54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Sky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96, 166, 218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55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200" b="1" dirty="0" err="1" smtClean="0">
                  <a:solidFill>
                    <a:srgbClr val="333333"/>
                  </a:solidFill>
                </a:rPr>
                <a:t>Colour</a:t>
              </a:r>
              <a:r>
                <a:rPr lang="de-DE" altLang="en-US" sz="1200" b="1" dirty="0" smtClean="0">
                  <a:solidFill>
                    <a:srgbClr val="333333"/>
                  </a:solidFill>
                </a:rPr>
                <a:t> Guidelines</a:t>
              </a:r>
              <a:endParaRPr lang="de-DE" altLang="en-US" sz="1200" b="1" dirty="0">
                <a:solidFill>
                  <a:srgbClr val="333333"/>
                </a:solidFill>
              </a:endParaRPr>
            </a:p>
          </p:txBody>
        </p:sp>
        <p:sp>
          <p:nvSpPr>
            <p:cNvPr id="56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57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Fuchsia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171, 0, 102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58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59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</a:t>
              </a:r>
              <a:r>
                <a:rPr lang="de-DE" altLang="en-US" sz="1000" dirty="0" err="1" smtClean="0">
                  <a:solidFill>
                    <a:srgbClr val="333333"/>
                  </a:solidFill>
                </a:rPr>
                <a:t>Lime</a:t>
              </a:r>
              <a:endParaRPr lang="de-DE" altLang="en-US" sz="1000" dirty="0" smtClean="0">
                <a:solidFill>
                  <a:srgbClr val="333333"/>
                </a:solidFill>
              </a:endParaRP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208, 217, 60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60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61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</a:t>
              </a:r>
              <a:r>
                <a:rPr lang="de-DE" altLang="en-US" sz="1000" dirty="0" err="1" smtClean="0">
                  <a:solidFill>
                    <a:srgbClr val="333333"/>
                  </a:solidFill>
                </a:rPr>
                <a:t>Leaf</a:t>
              </a:r>
              <a:endParaRPr lang="de-DE" altLang="en-US" sz="1000" dirty="0" smtClean="0">
                <a:solidFill>
                  <a:srgbClr val="333333"/>
                </a:solidFill>
              </a:endParaRP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52, 150, 81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Mid Grey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118, 118, 118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Text </a:t>
              </a:r>
              <a:r>
                <a:rPr lang="de-DE" altLang="en-US" sz="1000" dirty="0" err="1" smtClean="0">
                  <a:solidFill>
                    <a:srgbClr val="333333"/>
                  </a:solidFill>
                </a:rPr>
                <a:t>Colour</a:t>
              </a:r>
              <a:endParaRPr lang="de-DE" altLang="en-US" sz="1000" dirty="0" smtClean="0">
                <a:solidFill>
                  <a:srgbClr val="333333"/>
                </a:solidFill>
              </a:endParaRP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51, 51, 51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</p:grp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90" y="4402733"/>
            <a:ext cx="154783" cy="138908"/>
          </a:xfrm>
          <a:prstGeom prst="rect">
            <a:avLst/>
          </a:prstGeom>
        </p:spPr>
      </p:pic>
      <p:sp>
        <p:nvSpPr>
          <p:cNvPr id="3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167642" y="4291504"/>
            <a:ext cx="298800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de-DE" noProof="0" dirty="0" smtClean="0"/>
              <a:t>Click </a:t>
            </a:r>
            <a:r>
              <a:rPr lang="de-DE" noProof="0" dirty="0" err="1" smtClean="0"/>
              <a:t>to</a:t>
            </a:r>
            <a:r>
              <a:rPr lang="de-DE" noProof="0" dirty="0" smtClean="0"/>
              <a:t> </a:t>
            </a:r>
            <a:r>
              <a:rPr lang="de-DE" noProof="0" dirty="0" err="1" smtClean="0"/>
              <a:t>edit</a:t>
            </a:r>
            <a:r>
              <a:rPr lang="de-DE" noProof="0" dirty="0" smtClean="0"/>
              <a:t> </a:t>
            </a:r>
            <a:r>
              <a:rPr lang="de-DE" noProof="0" dirty="0" err="1" smtClean="0"/>
              <a:t>location</a:t>
            </a:r>
            <a:r>
              <a:rPr lang="de-DE" noProof="0" dirty="0" smtClean="0"/>
              <a:t> and </a:t>
            </a:r>
            <a:r>
              <a:rPr lang="de-DE" noProof="0" dirty="0" err="1" smtClean="0"/>
              <a:t>date</a:t>
            </a:r>
            <a:endParaRPr lang="de-DE" noProof="0" dirty="0" smtClean="0"/>
          </a:p>
        </p:txBody>
      </p:sp>
      <p:pic>
        <p:nvPicPr>
          <p:cNvPr id="40" name="Picture 31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606" t="21885" r="8745" b="32127"/>
          <a:stretch/>
        </p:blipFill>
        <p:spPr>
          <a:xfrm>
            <a:off x="9550895" y="6207490"/>
            <a:ext cx="2347387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875899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>
            <a:grpSpLocks noChangeAspect="1"/>
          </p:cNvGrpSpPr>
          <p:nvPr userDrawn="1"/>
        </p:nvGrpSpPr>
        <p:grpSpPr bwMode="gray">
          <a:xfrm>
            <a:off x="0" y="1643199"/>
            <a:ext cx="5909320" cy="3045600"/>
            <a:chOff x="3465513" y="2070100"/>
            <a:chExt cx="5260975" cy="2711450"/>
          </a:xfrm>
        </p:grpSpPr>
        <p:sp>
          <p:nvSpPr>
            <p:cNvPr id="75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de-DE" dirty="0">
                <a:solidFill>
                  <a:srgbClr val="333333"/>
                </a:solidFill>
              </a:endParaRPr>
            </a:p>
          </p:txBody>
        </p:sp>
        <p:sp>
          <p:nvSpPr>
            <p:cNvPr id="76" name="Freeform 75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de-DE" dirty="0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842434" y="2012286"/>
            <a:ext cx="4877966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031478"/>
            <a:ext cx="4877966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de-DE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34" y="3603486"/>
            <a:ext cx="4877966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de-DE" sz="2400" dirty="0">
              <a:solidFill>
                <a:prstClr val="white"/>
              </a:solidFill>
            </a:endParaRPr>
          </a:p>
        </p:txBody>
      </p:sp>
      <p:pic>
        <p:nvPicPr>
          <p:cNvPr id="19" name="Picture Placeholder 36"/>
          <p:cNvPicPr>
            <a:picLocks noChangeAspect="1"/>
          </p:cNvPicPr>
          <p:nvPr userDrawn="1"/>
        </p:nvPicPr>
        <p:blipFill rotWithShape="1">
          <a:blip r:embed="rId2"/>
          <a:stretch/>
        </p:blipFill>
        <p:spPr bwMode="gray">
          <a:xfrm>
            <a:off x="838200" y="6291857"/>
            <a:ext cx="2196000" cy="287825"/>
          </a:xfrm>
          <a:prstGeom prst="rect">
            <a:avLst/>
          </a:prstGeom>
        </p:spPr>
      </p:pic>
      <p:grpSp>
        <p:nvGrpSpPr>
          <p:cNvPr id="42" name="Group 41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4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4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4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4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Orange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255, 98, 0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4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4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Light Grey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168, 168, 168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4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5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Indigo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82, 81, 153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5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5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Sky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96, 166, 218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5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200" b="1" dirty="0" err="1" smtClean="0">
                  <a:solidFill>
                    <a:srgbClr val="333333"/>
                  </a:solidFill>
                </a:rPr>
                <a:t>Colour</a:t>
              </a:r>
              <a:r>
                <a:rPr lang="de-DE" altLang="en-US" sz="1200" b="1" dirty="0" smtClean="0">
                  <a:solidFill>
                    <a:srgbClr val="333333"/>
                  </a:solidFill>
                </a:rPr>
                <a:t> Guidelines</a:t>
              </a:r>
              <a:endParaRPr lang="de-DE" altLang="en-US" sz="1200" b="1" dirty="0">
                <a:solidFill>
                  <a:srgbClr val="333333"/>
                </a:solidFill>
              </a:endParaRPr>
            </a:p>
          </p:txBody>
        </p:sp>
        <p:sp>
          <p:nvSpPr>
            <p:cNvPr id="5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5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Fuchsia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171, 0, 102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5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5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</a:t>
              </a:r>
              <a:r>
                <a:rPr lang="de-DE" altLang="en-US" sz="1000" dirty="0" err="1" smtClean="0">
                  <a:solidFill>
                    <a:srgbClr val="333333"/>
                  </a:solidFill>
                </a:rPr>
                <a:t>Lime</a:t>
              </a:r>
              <a:endParaRPr lang="de-DE" altLang="en-US" sz="1000" dirty="0" smtClean="0">
                <a:solidFill>
                  <a:srgbClr val="333333"/>
                </a:solidFill>
              </a:endParaRP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208, 217, 60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5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5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</a:t>
              </a:r>
              <a:r>
                <a:rPr lang="de-DE" altLang="en-US" sz="1000" dirty="0" err="1" smtClean="0">
                  <a:solidFill>
                    <a:srgbClr val="333333"/>
                  </a:solidFill>
                </a:rPr>
                <a:t>Leaf</a:t>
              </a:r>
              <a:endParaRPr lang="de-DE" altLang="en-US" sz="1000" dirty="0" smtClean="0">
                <a:solidFill>
                  <a:srgbClr val="333333"/>
                </a:solidFill>
              </a:endParaRP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52, 150, 81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Mid Grey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118, 118, 118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Text </a:t>
              </a:r>
              <a:r>
                <a:rPr lang="de-DE" altLang="en-US" sz="1000" dirty="0" err="1" smtClean="0">
                  <a:solidFill>
                    <a:srgbClr val="333333"/>
                  </a:solidFill>
                </a:rPr>
                <a:t>Colour</a:t>
              </a:r>
              <a:endParaRPr lang="de-DE" altLang="en-US" sz="1000" dirty="0" smtClean="0">
                <a:solidFill>
                  <a:srgbClr val="333333"/>
                </a:solidFill>
              </a:endParaRP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51, 51, 51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90" y="4402733"/>
            <a:ext cx="154783" cy="138908"/>
          </a:xfrm>
          <a:prstGeom prst="rect">
            <a:avLst/>
          </a:prstGeom>
        </p:spPr>
      </p:pic>
      <p:sp>
        <p:nvSpPr>
          <p:cNvPr id="3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42434" y="4381898"/>
            <a:ext cx="4878000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de-DE" noProof="0" dirty="0" smtClean="0"/>
              <a:t>Click </a:t>
            </a:r>
            <a:r>
              <a:rPr lang="de-DE" noProof="0" dirty="0" err="1" smtClean="0"/>
              <a:t>to</a:t>
            </a:r>
            <a:r>
              <a:rPr lang="de-DE" noProof="0" dirty="0" smtClean="0"/>
              <a:t> </a:t>
            </a:r>
            <a:r>
              <a:rPr lang="de-DE" noProof="0" dirty="0" err="1" smtClean="0"/>
              <a:t>edit</a:t>
            </a:r>
            <a:r>
              <a:rPr lang="de-DE" noProof="0" dirty="0" smtClean="0"/>
              <a:t> </a:t>
            </a:r>
            <a:r>
              <a:rPr lang="de-DE" noProof="0" dirty="0" err="1" smtClean="0"/>
              <a:t>location</a:t>
            </a:r>
            <a:r>
              <a:rPr lang="de-DE" noProof="0" dirty="0" smtClean="0"/>
              <a:t> and </a:t>
            </a:r>
            <a:r>
              <a:rPr lang="de-DE" noProof="0" dirty="0" err="1" smtClean="0"/>
              <a:t>date</a:t>
            </a:r>
            <a:endParaRPr lang="de-DE" noProof="0" dirty="0" smtClean="0"/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2"/>
          </p:nvPr>
        </p:nvSpPr>
        <p:spPr bwMode="gray">
          <a:xfrm>
            <a:off x="-3176" y="1"/>
            <a:ext cx="12195175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de-DE" noProof="0" smtClean="0"/>
              <a:t>Bild durch Klicken auf Symbol hinzufügen</a:t>
            </a:r>
            <a:endParaRPr lang="de-DE" noProof="0" dirty="0"/>
          </a:p>
        </p:txBody>
      </p:sp>
      <p:pic>
        <p:nvPicPr>
          <p:cNvPr id="36" name="Picture 31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606" t="21885" r="8745" b="32127"/>
          <a:stretch/>
        </p:blipFill>
        <p:spPr>
          <a:xfrm>
            <a:off x="9550895" y="6207490"/>
            <a:ext cx="2347387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070830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 userDrawn="1"/>
        </p:nvGrpSpPr>
        <p:grpSpPr bwMode="gray">
          <a:xfrm>
            <a:off x="0" y="1643199"/>
            <a:ext cx="11339513" cy="3055937"/>
            <a:chOff x="409575" y="3144838"/>
            <a:chExt cx="11339513" cy="3055937"/>
          </a:xfrm>
        </p:grpSpPr>
        <p:sp>
          <p:nvSpPr>
            <p:cNvPr id="40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de-DE" dirty="0">
                <a:solidFill>
                  <a:srgbClr val="333333"/>
                </a:solidFill>
              </a:endParaRPr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de-DE" dirty="0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de-DE" sz="2400" dirty="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842433" y="2116800"/>
            <a:ext cx="10313209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3" y="4240704"/>
            <a:ext cx="7082733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de-DE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00" y="3556800"/>
            <a:ext cx="10305675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pic>
        <p:nvPicPr>
          <p:cNvPr id="35" name="Picture Placeholder 36"/>
          <p:cNvPicPr>
            <a:picLocks noChangeAspect="1"/>
          </p:cNvPicPr>
          <p:nvPr userDrawn="1"/>
        </p:nvPicPr>
        <p:blipFill rotWithShape="1">
          <a:blip r:embed="rId2"/>
          <a:stretch/>
        </p:blipFill>
        <p:spPr bwMode="gray">
          <a:xfrm>
            <a:off x="838200" y="6291857"/>
            <a:ext cx="2188369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Orange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255, 98, 0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Light Grey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168, 168, 168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Indigo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82, 81, 153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Sky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96, 166, 218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200" b="1" dirty="0" err="1" smtClean="0">
                  <a:solidFill>
                    <a:srgbClr val="333333"/>
                  </a:solidFill>
                </a:rPr>
                <a:t>Colour</a:t>
              </a:r>
              <a:r>
                <a:rPr lang="de-DE" altLang="en-US" sz="1200" b="1" dirty="0" smtClean="0">
                  <a:solidFill>
                    <a:srgbClr val="333333"/>
                  </a:solidFill>
                </a:rPr>
                <a:t> Guidelines</a:t>
              </a:r>
              <a:endParaRPr lang="de-DE" altLang="en-US" sz="1200" b="1" dirty="0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Fuchsia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171, 0, 102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</a:t>
              </a:r>
              <a:r>
                <a:rPr lang="de-DE" altLang="en-US" sz="1000" dirty="0" err="1" smtClean="0">
                  <a:solidFill>
                    <a:srgbClr val="333333"/>
                  </a:solidFill>
                </a:rPr>
                <a:t>Lime</a:t>
              </a:r>
              <a:endParaRPr lang="de-DE" altLang="en-US" sz="1000" dirty="0" smtClean="0">
                <a:solidFill>
                  <a:srgbClr val="333333"/>
                </a:solidFill>
              </a:endParaRP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208, 217, 60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</a:t>
              </a:r>
              <a:r>
                <a:rPr lang="de-DE" altLang="en-US" sz="1000" dirty="0" err="1" smtClean="0">
                  <a:solidFill>
                    <a:srgbClr val="333333"/>
                  </a:solidFill>
                </a:rPr>
                <a:t>Leaf</a:t>
              </a:r>
              <a:endParaRPr lang="de-DE" altLang="en-US" sz="1000" dirty="0" smtClean="0">
                <a:solidFill>
                  <a:srgbClr val="333333"/>
                </a:solidFill>
              </a:endParaRP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52, 150, 81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Mid Grey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118, 118, 118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Text </a:t>
              </a:r>
              <a:r>
                <a:rPr lang="de-DE" altLang="en-US" sz="1000" dirty="0" err="1" smtClean="0">
                  <a:solidFill>
                    <a:srgbClr val="333333"/>
                  </a:solidFill>
                </a:rPr>
                <a:t>Colour</a:t>
              </a:r>
              <a:endParaRPr lang="de-DE" altLang="en-US" sz="1000" dirty="0" smtClean="0">
                <a:solidFill>
                  <a:srgbClr val="333333"/>
                </a:solidFill>
              </a:endParaRP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51, 51, 51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</p:grp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90" y="4402733"/>
            <a:ext cx="154783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167642" y="4291504"/>
            <a:ext cx="298800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de-DE" noProof="0" dirty="0" smtClean="0"/>
              <a:t>Click </a:t>
            </a:r>
            <a:r>
              <a:rPr lang="de-DE" noProof="0" dirty="0" err="1" smtClean="0"/>
              <a:t>to</a:t>
            </a:r>
            <a:r>
              <a:rPr lang="de-DE" noProof="0" dirty="0" smtClean="0"/>
              <a:t> </a:t>
            </a:r>
            <a:r>
              <a:rPr lang="de-DE" noProof="0" dirty="0" err="1" smtClean="0"/>
              <a:t>edit</a:t>
            </a:r>
            <a:r>
              <a:rPr lang="de-DE" noProof="0" dirty="0" smtClean="0"/>
              <a:t> </a:t>
            </a:r>
            <a:r>
              <a:rPr lang="de-DE" noProof="0" dirty="0" err="1" smtClean="0"/>
              <a:t>location</a:t>
            </a:r>
            <a:r>
              <a:rPr lang="de-DE" noProof="0" dirty="0" smtClean="0"/>
              <a:t> and </a:t>
            </a:r>
            <a:r>
              <a:rPr lang="de-DE" noProof="0" dirty="0" err="1" smtClean="0"/>
              <a:t>date</a:t>
            </a:r>
            <a:endParaRPr lang="de-DE" noProof="0" dirty="0" smtClean="0"/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10749167" y="-133099"/>
            <a:ext cx="1441027" cy="1565166"/>
            <a:chOff x="5364088" y="4720073"/>
            <a:chExt cx="1441027" cy="1565166"/>
          </a:xfrm>
        </p:grpSpPr>
        <p:sp>
          <p:nvSpPr>
            <p:cNvPr id="43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de-DE" sz="3200" dirty="0">
                <a:solidFill>
                  <a:srgbClr val="333333"/>
                </a:solidFill>
              </a:endParaRPr>
            </a:p>
          </p:txBody>
        </p:sp>
        <p:sp>
          <p:nvSpPr>
            <p:cNvPr id="44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de-DE" sz="1600" dirty="0" err="1" smtClean="0">
                  <a:solidFill>
                    <a:prstClr val="white"/>
                  </a:solidFill>
                </a:rPr>
                <a:t>Confidential</a:t>
              </a:r>
              <a:endParaRPr lang="de-DE" sz="1600" dirty="0">
                <a:solidFill>
                  <a:prstClr val="white"/>
                </a:solidFill>
              </a:endParaRPr>
            </a:p>
          </p:txBody>
        </p:sp>
      </p:grpSp>
      <p:pic>
        <p:nvPicPr>
          <p:cNvPr id="45" name="Picture 31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606" t="21885" r="8745" b="32127"/>
          <a:stretch/>
        </p:blipFill>
        <p:spPr>
          <a:xfrm>
            <a:off x="9550895" y="6207490"/>
            <a:ext cx="2347387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91283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Al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/>
          <p:cNvGrpSpPr>
            <a:grpSpLocks noChangeAspect="1"/>
          </p:cNvGrpSpPr>
          <p:nvPr userDrawn="1"/>
        </p:nvGrpSpPr>
        <p:grpSpPr bwMode="gray">
          <a:xfrm>
            <a:off x="0" y="1643199"/>
            <a:ext cx="5909320" cy="3045600"/>
            <a:chOff x="3465513" y="2070100"/>
            <a:chExt cx="5260975" cy="2711450"/>
          </a:xfrm>
        </p:grpSpPr>
        <p:sp>
          <p:nvSpPr>
            <p:cNvPr id="80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de-DE" dirty="0">
                <a:solidFill>
                  <a:srgbClr val="333333"/>
                </a:solidFill>
              </a:endParaRPr>
            </a:p>
          </p:txBody>
        </p:sp>
        <p:sp>
          <p:nvSpPr>
            <p:cNvPr id="81" name="Freeform 80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de-DE" dirty="0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842434" y="2012286"/>
            <a:ext cx="4877966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031478"/>
            <a:ext cx="4877966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de-DE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34" y="3603486"/>
            <a:ext cx="4877966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de-DE" sz="2400" dirty="0">
              <a:solidFill>
                <a:prstClr val="white"/>
              </a:solidFill>
            </a:endParaRPr>
          </a:p>
        </p:txBody>
      </p:sp>
      <p:pic>
        <p:nvPicPr>
          <p:cNvPr id="30" name="Picture Placeholder 36"/>
          <p:cNvPicPr>
            <a:picLocks noChangeAspect="1"/>
          </p:cNvPicPr>
          <p:nvPr userDrawn="1"/>
        </p:nvPicPr>
        <p:blipFill rotWithShape="1">
          <a:blip r:embed="rId2"/>
          <a:stretch/>
        </p:blipFill>
        <p:spPr bwMode="gray">
          <a:xfrm>
            <a:off x="838200" y="6291857"/>
            <a:ext cx="2188369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Orange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255, 98, 0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Light Grey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168, 168, 168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Indigo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82, 81, 153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Sky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96, 166, 218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200" b="1" dirty="0" err="1" smtClean="0">
                  <a:solidFill>
                    <a:srgbClr val="333333"/>
                  </a:solidFill>
                </a:rPr>
                <a:t>Colour</a:t>
              </a:r>
              <a:r>
                <a:rPr lang="de-DE" altLang="en-US" sz="1200" b="1" dirty="0" smtClean="0">
                  <a:solidFill>
                    <a:srgbClr val="333333"/>
                  </a:solidFill>
                </a:rPr>
                <a:t> Guidelines</a:t>
              </a:r>
              <a:endParaRPr lang="de-DE" altLang="en-US" sz="1200" b="1" dirty="0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Fuchsia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171, 0, 102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</a:t>
              </a:r>
              <a:r>
                <a:rPr lang="de-DE" altLang="en-US" sz="1000" dirty="0" err="1" smtClean="0">
                  <a:solidFill>
                    <a:srgbClr val="333333"/>
                  </a:solidFill>
                </a:rPr>
                <a:t>Lime</a:t>
              </a:r>
              <a:endParaRPr lang="de-DE" altLang="en-US" sz="1000" dirty="0" smtClean="0">
                <a:solidFill>
                  <a:srgbClr val="333333"/>
                </a:solidFill>
              </a:endParaRP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208, 217, 60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</a:t>
              </a:r>
              <a:r>
                <a:rPr lang="de-DE" altLang="en-US" sz="1000" dirty="0" err="1" smtClean="0">
                  <a:solidFill>
                    <a:srgbClr val="333333"/>
                  </a:solidFill>
                </a:rPr>
                <a:t>Leaf</a:t>
              </a:r>
              <a:endParaRPr lang="de-DE" altLang="en-US" sz="1000" dirty="0" smtClean="0">
                <a:solidFill>
                  <a:srgbClr val="333333"/>
                </a:solidFill>
              </a:endParaRP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52, 150, 81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Mid Grey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118, 118, 118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Text </a:t>
              </a:r>
              <a:r>
                <a:rPr lang="de-DE" altLang="en-US" sz="1000" dirty="0" err="1" smtClean="0">
                  <a:solidFill>
                    <a:srgbClr val="333333"/>
                  </a:solidFill>
                </a:rPr>
                <a:t>Colour</a:t>
              </a:r>
              <a:endParaRPr lang="de-DE" altLang="en-US" sz="1000" dirty="0" smtClean="0">
                <a:solidFill>
                  <a:srgbClr val="333333"/>
                </a:solidFill>
              </a:endParaRP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51, 51, 51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</p:grp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90" y="4402733"/>
            <a:ext cx="154783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42434" y="4381898"/>
            <a:ext cx="4878000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de-DE" noProof="0" dirty="0" smtClean="0"/>
              <a:t>Click </a:t>
            </a:r>
            <a:r>
              <a:rPr lang="de-DE" noProof="0" dirty="0" err="1" smtClean="0"/>
              <a:t>to</a:t>
            </a:r>
            <a:r>
              <a:rPr lang="de-DE" noProof="0" dirty="0" smtClean="0"/>
              <a:t> </a:t>
            </a:r>
            <a:r>
              <a:rPr lang="de-DE" noProof="0" dirty="0" err="1" smtClean="0"/>
              <a:t>edit</a:t>
            </a:r>
            <a:r>
              <a:rPr lang="de-DE" noProof="0" dirty="0" smtClean="0"/>
              <a:t> </a:t>
            </a:r>
            <a:r>
              <a:rPr lang="de-DE" noProof="0" dirty="0" err="1" smtClean="0"/>
              <a:t>location</a:t>
            </a:r>
            <a:r>
              <a:rPr lang="de-DE" noProof="0" dirty="0" smtClean="0"/>
              <a:t> and </a:t>
            </a:r>
            <a:r>
              <a:rPr lang="de-DE" noProof="0" dirty="0" err="1" smtClean="0"/>
              <a:t>date</a:t>
            </a:r>
            <a:endParaRPr lang="de-DE" noProof="0" dirty="0" smtClean="0"/>
          </a:p>
        </p:txBody>
      </p:sp>
      <p:sp>
        <p:nvSpPr>
          <p:cNvPr id="70" name="Picture Placeholder 69"/>
          <p:cNvSpPr>
            <a:spLocks noGrp="1"/>
          </p:cNvSpPr>
          <p:nvPr>
            <p:ph type="pic" sz="quarter" idx="12"/>
          </p:nvPr>
        </p:nvSpPr>
        <p:spPr bwMode="gray">
          <a:xfrm>
            <a:off x="-3176" y="1"/>
            <a:ext cx="12195175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de-DE" noProof="0" smtClean="0"/>
              <a:t>Bild durch Klicken auf Symbol hinzufügen</a:t>
            </a:r>
            <a:endParaRPr lang="de-DE" noProof="0" dirty="0"/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10749167" y="-133099"/>
            <a:ext cx="1441027" cy="1565166"/>
            <a:chOff x="5364088" y="4720073"/>
            <a:chExt cx="1441027" cy="1565166"/>
          </a:xfrm>
        </p:grpSpPr>
        <p:sp>
          <p:nvSpPr>
            <p:cNvPr id="41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de-DE" sz="3200" dirty="0">
                <a:solidFill>
                  <a:srgbClr val="333333"/>
                </a:solidFill>
              </a:endParaRPr>
            </a:p>
          </p:txBody>
        </p:sp>
        <p:sp>
          <p:nvSpPr>
            <p:cNvPr id="42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de-DE" sz="1600" dirty="0" err="1" smtClean="0">
                  <a:solidFill>
                    <a:prstClr val="white"/>
                  </a:solidFill>
                </a:rPr>
                <a:t>Confidential</a:t>
              </a:r>
              <a:endParaRPr lang="de-DE" sz="1600" dirty="0">
                <a:solidFill>
                  <a:prstClr val="white"/>
                </a:solidFill>
              </a:endParaRPr>
            </a:p>
          </p:txBody>
        </p:sp>
      </p:grpSp>
      <p:pic>
        <p:nvPicPr>
          <p:cNvPr id="43" name="Picture 31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606" t="21885" r="8745" b="32127"/>
          <a:stretch/>
        </p:blipFill>
        <p:spPr>
          <a:xfrm>
            <a:off x="9550895" y="6207490"/>
            <a:ext cx="2347387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11041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Picture R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>
            <a:spLocks noChangeAspect="1"/>
          </p:cNvSpPr>
          <p:nvPr userDrawn="1"/>
        </p:nvSpPr>
        <p:spPr bwMode="gray">
          <a:xfrm>
            <a:off x="696912" y="1201147"/>
            <a:ext cx="11199600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845576" y="1327149"/>
            <a:ext cx="5987025" cy="4752000"/>
          </a:xfrm>
        </p:spPr>
        <p:txBody>
          <a:bodyPr>
            <a:noAutofit/>
          </a:bodyPr>
          <a:lstStyle>
            <a:lvl1pPr marL="431956" marR="0" indent="-431956" algn="l" defTabSz="914286" rtl="0" eaLnBrk="1" fontAlgn="auto" latinLnBrk="0" hangingPunct="1">
              <a:lnSpc>
                <a:spcPts val="2199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55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7296150" y="1201147"/>
            <a:ext cx="4600362" cy="4999652"/>
          </a:xfrm>
          <a:custGeom>
            <a:avLst/>
            <a:gdLst>
              <a:gd name="connsiteX0" fmla="*/ 0 w 4600362"/>
              <a:gd name="connsiteY0" fmla="*/ 0 h 4999652"/>
              <a:gd name="connsiteX1" fmla="*/ 4504373 w 4600362"/>
              <a:gd name="connsiteY1" fmla="*/ 0 h 4999652"/>
              <a:gd name="connsiteX2" fmla="*/ 4536051 w 4600362"/>
              <a:gd name="connsiteY2" fmla="*/ 4129 h 4999652"/>
              <a:gd name="connsiteX3" fmla="*/ 4600362 w 4600362"/>
              <a:gd name="connsiteY3" fmla="*/ 96109 h 4999652"/>
              <a:gd name="connsiteX4" fmla="*/ 4600362 w 4600362"/>
              <a:gd name="connsiteY4" fmla="*/ 335164 h 4999652"/>
              <a:gd name="connsiteX5" fmla="*/ 4600362 w 4600362"/>
              <a:gd name="connsiteY5" fmla="*/ 370349 h 4999652"/>
              <a:gd name="connsiteX6" fmla="*/ 4600362 w 4600362"/>
              <a:gd name="connsiteY6" fmla="*/ 379203 h 4999652"/>
              <a:gd name="connsiteX7" fmla="*/ 4600362 w 4600362"/>
              <a:gd name="connsiteY7" fmla="*/ 400047 h 4999652"/>
              <a:gd name="connsiteX8" fmla="*/ 4600362 w 4600362"/>
              <a:gd name="connsiteY8" fmla="*/ 400231 h 4999652"/>
              <a:gd name="connsiteX9" fmla="*/ 4600362 w 4600362"/>
              <a:gd name="connsiteY9" fmla="*/ 471201 h 4999652"/>
              <a:gd name="connsiteX10" fmla="*/ 4600362 w 4600362"/>
              <a:gd name="connsiteY10" fmla="*/ 475720 h 4999652"/>
              <a:gd name="connsiteX11" fmla="*/ 4600362 w 4600362"/>
              <a:gd name="connsiteY11" fmla="*/ 508691 h 4999652"/>
              <a:gd name="connsiteX12" fmla="*/ 4600362 w 4600362"/>
              <a:gd name="connsiteY12" fmla="*/ 554483 h 4999652"/>
              <a:gd name="connsiteX13" fmla="*/ 4600362 w 4600362"/>
              <a:gd name="connsiteY13" fmla="*/ 563014 h 4999652"/>
              <a:gd name="connsiteX14" fmla="*/ 4600362 w 4600362"/>
              <a:gd name="connsiteY14" fmla="*/ 609404 h 4999652"/>
              <a:gd name="connsiteX15" fmla="*/ 4600362 w 4600362"/>
              <a:gd name="connsiteY15" fmla="*/ 662758 h 4999652"/>
              <a:gd name="connsiteX16" fmla="*/ 4600362 w 4600362"/>
              <a:gd name="connsiteY16" fmla="*/ 674287 h 4999652"/>
              <a:gd name="connsiteX17" fmla="*/ 4600362 w 4600362"/>
              <a:gd name="connsiteY17" fmla="*/ 749960 h 4999652"/>
              <a:gd name="connsiteX18" fmla="*/ 4600362 w 4600362"/>
              <a:gd name="connsiteY18" fmla="*/ 775784 h 4999652"/>
              <a:gd name="connsiteX19" fmla="*/ 4600362 w 4600362"/>
              <a:gd name="connsiteY19" fmla="*/ 837254 h 4999652"/>
              <a:gd name="connsiteX20" fmla="*/ 4600362 w 4600362"/>
              <a:gd name="connsiteY20" fmla="*/ 902920 h 4999652"/>
              <a:gd name="connsiteX21" fmla="*/ 4600362 w 4600362"/>
              <a:gd name="connsiteY21" fmla="*/ 936998 h 4999652"/>
              <a:gd name="connsiteX22" fmla="*/ 4600362 w 4600362"/>
              <a:gd name="connsiteY22" fmla="*/ 1044998 h 4999652"/>
              <a:gd name="connsiteX23" fmla="*/ 4600362 w 4600362"/>
              <a:gd name="connsiteY23" fmla="*/ 1050024 h 4999652"/>
              <a:gd name="connsiteX24" fmla="*/ 4600362 w 4600362"/>
              <a:gd name="connsiteY24" fmla="*/ 1177160 h 4999652"/>
              <a:gd name="connsiteX25" fmla="*/ 4600362 w 4600362"/>
              <a:gd name="connsiteY25" fmla="*/ 1202846 h 4999652"/>
              <a:gd name="connsiteX26" fmla="*/ 4600362 w 4600362"/>
              <a:gd name="connsiteY26" fmla="*/ 1319238 h 4999652"/>
              <a:gd name="connsiteX27" fmla="*/ 4600362 w 4600362"/>
              <a:gd name="connsiteY27" fmla="*/ 1377295 h 4999652"/>
              <a:gd name="connsiteX28" fmla="*/ 4600362 w 4600362"/>
              <a:gd name="connsiteY28" fmla="*/ 1477086 h 4999652"/>
              <a:gd name="connsiteX29" fmla="*/ 4600362 w 4600362"/>
              <a:gd name="connsiteY29" fmla="*/ 1569176 h 4999652"/>
              <a:gd name="connsiteX30" fmla="*/ 4600362 w 4600362"/>
              <a:gd name="connsiteY30" fmla="*/ 1651535 h 4999652"/>
              <a:gd name="connsiteX31" fmla="*/ 4600362 w 4600362"/>
              <a:gd name="connsiteY31" fmla="*/ 1779317 h 4999652"/>
              <a:gd name="connsiteX32" fmla="*/ 4600362 w 4600362"/>
              <a:gd name="connsiteY32" fmla="*/ 1843416 h 4999652"/>
              <a:gd name="connsiteX33" fmla="*/ 4600362 w 4600362"/>
              <a:gd name="connsiteY33" fmla="*/ 2008550 h 4999652"/>
              <a:gd name="connsiteX34" fmla="*/ 4600362 w 4600362"/>
              <a:gd name="connsiteY34" fmla="*/ 2053557 h 4999652"/>
              <a:gd name="connsiteX35" fmla="*/ 4600362 w 4600362"/>
              <a:gd name="connsiteY35" fmla="*/ 2257704 h 4999652"/>
              <a:gd name="connsiteX36" fmla="*/ 4600362 w 4600362"/>
              <a:gd name="connsiteY36" fmla="*/ 2282790 h 4999652"/>
              <a:gd name="connsiteX37" fmla="*/ 4600362 w 4600362"/>
              <a:gd name="connsiteY37" fmla="*/ 2527609 h 4999652"/>
              <a:gd name="connsiteX38" fmla="*/ 4600362 w 4600362"/>
              <a:gd name="connsiteY38" fmla="*/ 2531944 h 4999652"/>
              <a:gd name="connsiteX39" fmla="*/ 4600362 w 4600362"/>
              <a:gd name="connsiteY39" fmla="*/ 2801850 h 4999652"/>
              <a:gd name="connsiteX40" fmla="*/ 4600362 w 4600362"/>
              <a:gd name="connsiteY40" fmla="*/ 2819096 h 4999652"/>
              <a:gd name="connsiteX41" fmla="*/ 4600362 w 4600362"/>
              <a:gd name="connsiteY41" fmla="*/ 3093336 h 4999652"/>
              <a:gd name="connsiteX42" fmla="*/ 4600362 w 4600362"/>
              <a:gd name="connsiteY42" fmla="*/ 3132994 h 4999652"/>
              <a:gd name="connsiteX43" fmla="*/ 4600362 w 4600362"/>
              <a:gd name="connsiteY43" fmla="*/ 3407235 h 4999652"/>
              <a:gd name="connsiteX44" fmla="*/ 4600362 w 4600362"/>
              <a:gd name="connsiteY44" fmla="*/ 3470134 h 4999652"/>
              <a:gd name="connsiteX45" fmla="*/ 4600362 w 4600362"/>
              <a:gd name="connsiteY45" fmla="*/ 3744374 h 4999652"/>
              <a:gd name="connsiteX46" fmla="*/ 4600362 w 4600362"/>
              <a:gd name="connsiteY46" fmla="*/ 3831345 h 4999652"/>
              <a:gd name="connsiteX47" fmla="*/ 4600362 w 4600362"/>
              <a:gd name="connsiteY47" fmla="*/ 4105585 h 4999652"/>
              <a:gd name="connsiteX48" fmla="*/ 4600362 w 4600362"/>
              <a:gd name="connsiteY48" fmla="*/ 4217458 h 4999652"/>
              <a:gd name="connsiteX49" fmla="*/ 4600362 w 4600362"/>
              <a:gd name="connsiteY49" fmla="*/ 4491698 h 4999652"/>
              <a:gd name="connsiteX50" fmla="*/ 4600362 w 4600362"/>
              <a:gd name="connsiteY50" fmla="*/ 4629302 h 4999652"/>
              <a:gd name="connsiteX51" fmla="*/ 4600362 w 4600362"/>
              <a:gd name="connsiteY51" fmla="*/ 4903542 h 4999652"/>
              <a:gd name="connsiteX52" fmla="*/ 4504365 w 4600362"/>
              <a:gd name="connsiteY52" fmla="*/ 4999652 h 4999652"/>
              <a:gd name="connsiteX53" fmla="*/ 144766 w 4600362"/>
              <a:gd name="connsiteY53" fmla="*/ 4999652 h 4999652"/>
              <a:gd name="connsiteX54" fmla="*/ 0 w 4600362"/>
              <a:gd name="connsiteY54" fmla="*/ 4999652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600362" h="4999652">
                <a:moveTo>
                  <a:pt x="0" y="0"/>
                </a:moveTo>
                <a:lnTo>
                  <a:pt x="4504373" y="0"/>
                </a:lnTo>
                <a:lnTo>
                  <a:pt x="4536051" y="4129"/>
                </a:lnTo>
                <a:cubicBezTo>
                  <a:pt x="4600362" y="22525"/>
                  <a:pt x="4600362" y="96109"/>
                  <a:pt x="4600362" y="96109"/>
                </a:cubicBezTo>
                <a:cubicBezTo>
                  <a:pt x="4600362" y="96109"/>
                  <a:pt x="4600362" y="96109"/>
                  <a:pt x="4600362" y="335164"/>
                </a:cubicBezTo>
                <a:lnTo>
                  <a:pt x="4600362" y="370349"/>
                </a:lnTo>
                <a:cubicBezTo>
                  <a:pt x="4600362" y="370349"/>
                  <a:pt x="4600362" y="370349"/>
                  <a:pt x="4600362" y="379203"/>
                </a:cubicBezTo>
                <a:lnTo>
                  <a:pt x="4600362" y="400047"/>
                </a:lnTo>
                <a:lnTo>
                  <a:pt x="4600362" y="400231"/>
                </a:lnTo>
                <a:cubicBezTo>
                  <a:pt x="4600362" y="415172"/>
                  <a:pt x="4600362" y="437584"/>
                  <a:pt x="4600362" y="471201"/>
                </a:cubicBezTo>
                <a:lnTo>
                  <a:pt x="4600362" y="475720"/>
                </a:lnTo>
                <a:lnTo>
                  <a:pt x="4600362" y="508691"/>
                </a:lnTo>
                <a:cubicBezTo>
                  <a:pt x="4600362" y="522526"/>
                  <a:pt x="4600362" y="537743"/>
                  <a:pt x="4600362" y="554483"/>
                </a:cubicBezTo>
                <a:lnTo>
                  <a:pt x="4600362" y="563014"/>
                </a:lnTo>
                <a:lnTo>
                  <a:pt x="4600362" y="609404"/>
                </a:lnTo>
                <a:lnTo>
                  <a:pt x="4600362" y="662758"/>
                </a:lnTo>
                <a:lnTo>
                  <a:pt x="4600362" y="674287"/>
                </a:lnTo>
                <a:cubicBezTo>
                  <a:pt x="4600362" y="697667"/>
                  <a:pt x="4600362" y="722845"/>
                  <a:pt x="4600362" y="749960"/>
                </a:cubicBezTo>
                <a:lnTo>
                  <a:pt x="4600362" y="775784"/>
                </a:lnTo>
                <a:lnTo>
                  <a:pt x="4600362" y="837254"/>
                </a:lnTo>
                <a:lnTo>
                  <a:pt x="4600362" y="902920"/>
                </a:lnTo>
                <a:lnTo>
                  <a:pt x="4600362" y="936998"/>
                </a:lnTo>
                <a:lnTo>
                  <a:pt x="4600362" y="1044998"/>
                </a:lnTo>
                <a:lnTo>
                  <a:pt x="4600362" y="1050024"/>
                </a:lnTo>
                <a:cubicBezTo>
                  <a:pt x="4600362" y="1090005"/>
                  <a:pt x="4600362" y="1132337"/>
                  <a:pt x="4600362" y="1177160"/>
                </a:cubicBezTo>
                <a:lnTo>
                  <a:pt x="4600362" y="1202846"/>
                </a:lnTo>
                <a:lnTo>
                  <a:pt x="4600362" y="1319238"/>
                </a:lnTo>
                <a:lnTo>
                  <a:pt x="4600362" y="1377295"/>
                </a:lnTo>
                <a:lnTo>
                  <a:pt x="4600362" y="1477086"/>
                </a:lnTo>
                <a:lnTo>
                  <a:pt x="4600362" y="1569176"/>
                </a:lnTo>
                <a:lnTo>
                  <a:pt x="4600362" y="1651535"/>
                </a:lnTo>
                <a:lnTo>
                  <a:pt x="4600362" y="1779317"/>
                </a:lnTo>
                <a:lnTo>
                  <a:pt x="4600362" y="1843416"/>
                </a:lnTo>
                <a:lnTo>
                  <a:pt x="4600362" y="2008550"/>
                </a:lnTo>
                <a:lnTo>
                  <a:pt x="4600362" y="2053557"/>
                </a:lnTo>
                <a:lnTo>
                  <a:pt x="4600362" y="2257704"/>
                </a:lnTo>
                <a:lnTo>
                  <a:pt x="4600362" y="2282790"/>
                </a:lnTo>
                <a:lnTo>
                  <a:pt x="4600362" y="2527609"/>
                </a:lnTo>
                <a:lnTo>
                  <a:pt x="4600362" y="2531944"/>
                </a:lnTo>
                <a:cubicBezTo>
                  <a:pt x="4600362" y="2618408"/>
                  <a:pt x="4600362" y="2708330"/>
                  <a:pt x="4600362" y="2801850"/>
                </a:cubicBezTo>
                <a:lnTo>
                  <a:pt x="4600362" y="2819096"/>
                </a:lnTo>
                <a:lnTo>
                  <a:pt x="4600362" y="3093336"/>
                </a:lnTo>
                <a:lnTo>
                  <a:pt x="4600362" y="3132994"/>
                </a:lnTo>
                <a:lnTo>
                  <a:pt x="4600362" y="3407235"/>
                </a:lnTo>
                <a:lnTo>
                  <a:pt x="4600362" y="3470134"/>
                </a:lnTo>
                <a:lnTo>
                  <a:pt x="4600362" y="3744374"/>
                </a:lnTo>
                <a:lnTo>
                  <a:pt x="4600362" y="3831345"/>
                </a:lnTo>
                <a:lnTo>
                  <a:pt x="4600362" y="4105585"/>
                </a:lnTo>
                <a:lnTo>
                  <a:pt x="4600362" y="4217458"/>
                </a:lnTo>
                <a:lnTo>
                  <a:pt x="4600362" y="4491698"/>
                </a:lnTo>
                <a:lnTo>
                  <a:pt x="4600362" y="4629302"/>
                </a:lnTo>
                <a:lnTo>
                  <a:pt x="4600362" y="4903542"/>
                </a:lnTo>
                <a:cubicBezTo>
                  <a:pt x="4600362" y="4999652"/>
                  <a:pt x="4504365" y="4999652"/>
                  <a:pt x="4504365" y="4999652"/>
                </a:cubicBezTo>
                <a:cubicBezTo>
                  <a:pt x="4504365" y="4999652"/>
                  <a:pt x="4504365" y="4999652"/>
                  <a:pt x="144766" y="4999652"/>
                </a:cubicBezTo>
                <a:lnTo>
                  <a:pt x="0" y="4999652"/>
                </a:lnTo>
                <a:close/>
              </a:path>
            </a:pathLst>
          </a:custGeom>
          <a:noFill/>
        </p:spPr>
        <p:txBody>
          <a:bodyPr wrap="square" tIns="107990">
            <a:noAutofit/>
          </a:bodyPr>
          <a:lstStyle/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9674146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308" userDrawn="1">
          <p15:clr>
            <a:srgbClr val="FBAE40"/>
          </p15:clr>
        </p15:guide>
        <p15:guide id="2" pos="4596" userDrawn="1">
          <p15:clr>
            <a:srgbClr val="FBAE4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696912" y="1201146"/>
            <a:ext cx="11199600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defTabSz="914400"/>
            <a:endParaRPr lang="de-DE" dirty="0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845575" y="1327150"/>
            <a:ext cx="10489176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838200" y="6498809"/>
            <a:ext cx="495300" cy="188119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de-DE" smtClean="0">
                <a:solidFill>
                  <a:srgbClr val="333333"/>
                </a:solidFill>
              </a:rPr>
              <a:pPr/>
              <a:t>‹#›</a:t>
            </a:fld>
            <a:endParaRPr lang="de-DE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40649049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Picture R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>
            <a:spLocks noChangeAspect="1"/>
          </p:cNvSpPr>
          <p:nvPr userDrawn="1"/>
        </p:nvSpPr>
        <p:spPr bwMode="gray">
          <a:xfrm>
            <a:off x="696912" y="1201146"/>
            <a:ext cx="11199600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defTabSz="914400"/>
            <a:endParaRPr lang="de-DE" dirty="0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845575" y="1327149"/>
            <a:ext cx="5987025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>
          <a:xfrm>
            <a:off x="838200" y="6498809"/>
            <a:ext cx="495300" cy="188119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de-DE" smtClean="0">
                <a:solidFill>
                  <a:srgbClr val="333333"/>
                </a:solidFill>
              </a:rPr>
              <a:pPr/>
              <a:t>‹#›</a:t>
            </a:fld>
            <a:endParaRPr lang="de-DE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7296150" y="1201147"/>
            <a:ext cx="4600362" cy="4999652"/>
          </a:xfrm>
          <a:custGeom>
            <a:avLst/>
            <a:gdLst>
              <a:gd name="connsiteX0" fmla="*/ 0 w 4600362"/>
              <a:gd name="connsiteY0" fmla="*/ 0 h 4999652"/>
              <a:gd name="connsiteX1" fmla="*/ 4504373 w 4600362"/>
              <a:gd name="connsiteY1" fmla="*/ 0 h 4999652"/>
              <a:gd name="connsiteX2" fmla="*/ 4536051 w 4600362"/>
              <a:gd name="connsiteY2" fmla="*/ 4129 h 4999652"/>
              <a:gd name="connsiteX3" fmla="*/ 4600362 w 4600362"/>
              <a:gd name="connsiteY3" fmla="*/ 96109 h 4999652"/>
              <a:gd name="connsiteX4" fmla="*/ 4600362 w 4600362"/>
              <a:gd name="connsiteY4" fmla="*/ 335164 h 4999652"/>
              <a:gd name="connsiteX5" fmla="*/ 4600362 w 4600362"/>
              <a:gd name="connsiteY5" fmla="*/ 370349 h 4999652"/>
              <a:gd name="connsiteX6" fmla="*/ 4600362 w 4600362"/>
              <a:gd name="connsiteY6" fmla="*/ 379203 h 4999652"/>
              <a:gd name="connsiteX7" fmla="*/ 4600362 w 4600362"/>
              <a:gd name="connsiteY7" fmla="*/ 400047 h 4999652"/>
              <a:gd name="connsiteX8" fmla="*/ 4600362 w 4600362"/>
              <a:gd name="connsiteY8" fmla="*/ 400231 h 4999652"/>
              <a:gd name="connsiteX9" fmla="*/ 4600362 w 4600362"/>
              <a:gd name="connsiteY9" fmla="*/ 471201 h 4999652"/>
              <a:gd name="connsiteX10" fmla="*/ 4600362 w 4600362"/>
              <a:gd name="connsiteY10" fmla="*/ 475720 h 4999652"/>
              <a:gd name="connsiteX11" fmla="*/ 4600362 w 4600362"/>
              <a:gd name="connsiteY11" fmla="*/ 508691 h 4999652"/>
              <a:gd name="connsiteX12" fmla="*/ 4600362 w 4600362"/>
              <a:gd name="connsiteY12" fmla="*/ 554483 h 4999652"/>
              <a:gd name="connsiteX13" fmla="*/ 4600362 w 4600362"/>
              <a:gd name="connsiteY13" fmla="*/ 563014 h 4999652"/>
              <a:gd name="connsiteX14" fmla="*/ 4600362 w 4600362"/>
              <a:gd name="connsiteY14" fmla="*/ 609404 h 4999652"/>
              <a:gd name="connsiteX15" fmla="*/ 4600362 w 4600362"/>
              <a:gd name="connsiteY15" fmla="*/ 662758 h 4999652"/>
              <a:gd name="connsiteX16" fmla="*/ 4600362 w 4600362"/>
              <a:gd name="connsiteY16" fmla="*/ 674287 h 4999652"/>
              <a:gd name="connsiteX17" fmla="*/ 4600362 w 4600362"/>
              <a:gd name="connsiteY17" fmla="*/ 749960 h 4999652"/>
              <a:gd name="connsiteX18" fmla="*/ 4600362 w 4600362"/>
              <a:gd name="connsiteY18" fmla="*/ 775784 h 4999652"/>
              <a:gd name="connsiteX19" fmla="*/ 4600362 w 4600362"/>
              <a:gd name="connsiteY19" fmla="*/ 837254 h 4999652"/>
              <a:gd name="connsiteX20" fmla="*/ 4600362 w 4600362"/>
              <a:gd name="connsiteY20" fmla="*/ 902920 h 4999652"/>
              <a:gd name="connsiteX21" fmla="*/ 4600362 w 4600362"/>
              <a:gd name="connsiteY21" fmla="*/ 936998 h 4999652"/>
              <a:gd name="connsiteX22" fmla="*/ 4600362 w 4600362"/>
              <a:gd name="connsiteY22" fmla="*/ 1044998 h 4999652"/>
              <a:gd name="connsiteX23" fmla="*/ 4600362 w 4600362"/>
              <a:gd name="connsiteY23" fmla="*/ 1050024 h 4999652"/>
              <a:gd name="connsiteX24" fmla="*/ 4600362 w 4600362"/>
              <a:gd name="connsiteY24" fmla="*/ 1177160 h 4999652"/>
              <a:gd name="connsiteX25" fmla="*/ 4600362 w 4600362"/>
              <a:gd name="connsiteY25" fmla="*/ 1202846 h 4999652"/>
              <a:gd name="connsiteX26" fmla="*/ 4600362 w 4600362"/>
              <a:gd name="connsiteY26" fmla="*/ 1319238 h 4999652"/>
              <a:gd name="connsiteX27" fmla="*/ 4600362 w 4600362"/>
              <a:gd name="connsiteY27" fmla="*/ 1377295 h 4999652"/>
              <a:gd name="connsiteX28" fmla="*/ 4600362 w 4600362"/>
              <a:gd name="connsiteY28" fmla="*/ 1477086 h 4999652"/>
              <a:gd name="connsiteX29" fmla="*/ 4600362 w 4600362"/>
              <a:gd name="connsiteY29" fmla="*/ 1569176 h 4999652"/>
              <a:gd name="connsiteX30" fmla="*/ 4600362 w 4600362"/>
              <a:gd name="connsiteY30" fmla="*/ 1651535 h 4999652"/>
              <a:gd name="connsiteX31" fmla="*/ 4600362 w 4600362"/>
              <a:gd name="connsiteY31" fmla="*/ 1779317 h 4999652"/>
              <a:gd name="connsiteX32" fmla="*/ 4600362 w 4600362"/>
              <a:gd name="connsiteY32" fmla="*/ 1843416 h 4999652"/>
              <a:gd name="connsiteX33" fmla="*/ 4600362 w 4600362"/>
              <a:gd name="connsiteY33" fmla="*/ 2008550 h 4999652"/>
              <a:gd name="connsiteX34" fmla="*/ 4600362 w 4600362"/>
              <a:gd name="connsiteY34" fmla="*/ 2053557 h 4999652"/>
              <a:gd name="connsiteX35" fmla="*/ 4600362 w 4600362"/>
              <a:gd name="connsiteY35" fmla="*/ 2257704 h 4999652"/>
              <a:gd name="connsiteX36" fmla="*/ 4600362 w 4600362"/>
              <a:gd name="connsiteY36" fmla="*/ 2282790 h 4999652"/>
              <a:gd name="connsiteX37" fmla="*/ 4600362 w 4600362"/>
              <a:gd name="connsiteY37" fmla="*/ 2527609 h 4999652"/>
              <a:gd name="connsiteX38" fmla="*/ 4600362 w 4600362"/>
              <a:gd name="connsiteY38" fmla="*/ 2531944 h 4999652"/>
              <a:gd name="connsiteX39" fmla="*/ 4600362 w 4600362"/>
              <a:gd name="connsiteY39" fmla="*/ 2801850 h 4999652"/>
              <a:gd name="connsiteX40" fmla="*/ 4600362 w 4600362"/>
              <a:gd name="connsiteY40" fmla="*/ 2819096 h 4999652"/>
              <a:gd name="connsiteX41" fmla="*/ 4600362 w 4600362"/>
              <a:gd name="connsiteY41" fmla="*/ 3093336 h 4999652"/>
              <a:gd name="connsiteX42" fmla="*/ 4600362 w 4600362"/>
              <a:gd name="connsiteY42" fmla="*/ 3132994 h 4999652"/>
              <a:gd name="connsiteX43" fmla="*/ 4600362 w 4600362"/>
              <a:gd name="connsiteY43" fmla="*/ 3407235 h 4999652"/>
              <a:gd name="connsiteX44" fmla="*/ 4600362 w 4600362"/>
              <a:gd name="connsiteY44" fmla="*/ 3470134 h 4999652"/>
              <a:gd name="connsiteX45" fmla="*/ 4600362 w 4600362"/>
              <a:gd name="connsiteY45" fmla="*/ 3744374 h 4999652"/>
              <a:gd name="connsiteX46" fmla="*/ 4600362 w 4600362"/>
              <a:gd name="connsiteY46" fmla="*/ 3831345 h 4999652"/>
              <a:gd name="connsiteX47" fmla="*/ 4600362 w 4600362"/>
              <a:gd name="connsiteY47" fmla="*/ 4105585 h 4999652"/>
              <a:gd name="connsiteX48" fmla="*/ 4600362 w 4600362"/>
              <a:gd name="connsiteY48" fmla="*/ 4217458 h 4999652"/>
              <a:gd name="connsiteX49" fmla="*/ 4600362 w 4600362"/>
              <a:gd name="connsiteY49" fmla="*/ 4491698 h 4999652"/>
              <a:gd name="connsiteX50" fmla="*/ 4600362 w 4600362"/>
              <a:gd name="connsiteY50" fmla="*/ 4629302 h 4999652"/>
              <a:gd name="connsiteX51" fmla="*/ 4600362 w 4600362"/>
              <a:gd name="connsiteY51" fmla="*/ 4903542 h 4999652"/>
              <a:gd name="connsiteX52" fmla="*/ 4504365 w 4600362"/>
              <a:gd name="connsiteY52" fmla="*/ 4999652 h 4999652"/>
              <a:gd name="connsiteX53" fmla="*/ 144766 w 4600362"/>
              <a:gd name="connsiteY53" fmla="*/ 4999652 h 4999652"/>
              <a:gd name="connsiteX54" fmla="*/ 0 w 4600362"/>
              <a:gd name="connsiteY54" fmla="*/ 4999652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600362" h="4999652">
                <a:moveTo>
                  <a:pt x="0" y="0"/>
                </a:moveTo>
                <a:lnTo>
                  <a:pt x="4504373" y="0"/>
                </a:lnTo>
                <a:lnTo>
                  <a:pt x="4536051" y="4129"/>
                </a:lnTo>
                <a:cubicBezTo>
                  <a:pt x="4600362" y="22525"/>
                  <a:pt x="4600362" y="96109"/>
                  <a:pt x="4600362" y="96109"/>
                </a:cubicBezTo>
                <a:cubicBezTo>
                  <a:pt x="4600362" y="96109"/>
                  <a:pt x="4600362" y="96109"/>
                  <a:pt x="4600362" y="335164"/>
                </a:cubicBezTo>
                <a:lnTo>
                  <a:pt x="4600362" y="370349"/>
                </a:lnTo>
                <a:cubicBezTo>
                  <a:pt x="4600362" y="370349"/>
                  <a:pt x="4600362" y="370349"/>
                  <a:pt x="4600362" y="379203"/>
                </a:cubicBezTo>
                <a:lnTo>
                  <a:pt x="4600362" y="400047"/>
                </a:lnTo>
                <a:lnTo>
                  <a:pt x="4600362" y="400231"/>
                </a:lnTo>
                <a:cubicBezTo>
                  <a:pt x="4600362" y="415172"/>
                  <a:pt x="4600362" y="437584"/>
                  <a:pt x="4600362" y="471201"/>
                </a:cubicBezTo>
                <a:lnTo>
                  <a:pt x="4600362" y="475720"/>
                </a:lnTo>
                <a:lnTo>
                  <a:pt x="4600362" y="508691"/>
                </a:lnTo>
                <a:cubicBezTo>
                  <a:pt x="4600362" y="522526"/>
                  <a:pt x="4600362" y="537743"/>
                  <a:pt x="4600362" y="554483"/>
                </a:cubicBezTo>
                <a:lnTo>
                  <a:pt x="4600362" y="563014"/>
                </a:lnTo>
                <a:lnTo>
                  <a:pt x="4600362" y="609404"/>
                </a:lnTo>
                <a:lnTo>
                  <a:pt x="4600362" y="662758"/>
                </a:lnTo>
                <a:lnTo>
                  <a:pt x="4600362" y="674287"/>
                </a:lnTo>
                <a:cubicBezTo>
                  <a:pt x="4600362" y="697667"/>
                  <a:pt x="4600362" y="722845"/>
                  <a:pt x="4600362" y="749960"/>
                </a:cubicBezTo>
                <a:lnTo>
                  <a:pt x="4600362" y="775784"/>
                </a:lnTo>
                <a:lnTo>
                  <a:pt x="4600362" y="837254"/>
                </a:lnTo>
                <a:lnTo>
                  <a:pt x="4600362" y="902920"/>
                </a:lnTo>
                <a:lnTo>
                  <a:pt x="4600362" y="936998"/>
                </a:lnTo>
                <a:lnTo>
                  <a:pt x="4600362" y="1044998"/>
                </a:lnTo>
                <a:lnTo>
                  <a:pt x="4600362" y="1050024"/>
                </a:lnTo>
                <a:cubicBezTo>
                  <a:pt x="4600362" y="1090005"/>
                  <a:pt x="4600362" y="1132337"/>
                  <a:pt x="4600362" y="1177160"/>
                </a:cubicBezTo>
                <a:lnTo>
                  <a:pt x="4600362" y="1202846"/>
                </a:lnTo>
                <a:lnTo>
                  <a:pt x="4600362" y="1319238"/>
                </a:lnTo>
                <a:lnTo>
                  <a:pt x="4600362" y="1377295"/>
                </a:lnTo>
                <a:lnTo>
                  <a:pt x="4600362" y="1477086"/>
                </a:lnTo>
                <a:lnTo>
                  <a:pt x="4600362" y="1569176"/>
                </a:lnTo>
                <a:lnTo>
                  <a:pt x="4600362" y="1651535"/>
                </a:lnTo>
                <a:lnTo>
                  <a:pt x="4600362" y="1779317"/>
                </a:lnTo>
                <a:lnTo>
                  <a:pt x="4600362" y="1843416"/>
                </a:lnTo>
                <a:lnTo>
                  <a:pt x="4600362" y="2008550"/>
                </a:lnTo>
                <a:lnTo>
                  <a:pt x="4600362" y="2053557"/>
                </a:lnTo>
                <a:lnTo>
                  <a:pt x="4600362" y="2257704"/>
                </a:lnTo>
                <a:lnTo>
                  <a:pt x="4600362" y="2282790"/>
                </a:lnTo>
                <a:lnTo>
                  <a:pt x="4600362" y="2527609"/>
                </a:lnTo>
                <a:lnTo>
                  <a:pt x="4600362" y="2531944"/>
                </a:lnTo>
                <a:cubicBezTo>
                  <a:pt x="4600362" y="2618408"/>
                  <a:pt x="4600362" y="2708330"/>
                  <a:pt x="4600362" y="2801850"/>
                </a:cubicBezTo>
                <a:lnTo>
                  <a:pt x="4600362" y="2819096"/>
                </a:lnTo>
                <a:lnTo>
                  <a:pt x="4600362" y="3093336"/>
                </a:lnTo>
                <a:lnTo>
                  <a:pt x="4600362" y="3132994"/>
                </a:lnTo>
                <a:lnTo>
                  <a:pt x="4600362" y="3407235"/>
                </a:lnTo>
                <a:lnTo>
                  <a:pt x="4600362" y="3470134"/>
                </a:lnTo>
                <a:lnTo>
                  <a:pt x="4600362" y="3744374"/>
                </a:lnTo>
                <a:lnTo>
                  <a:pt x="4600362" y="3831345"/>
                </a:lnTo>
                <a:lnTo>
                  <a:pt x="4600362" y="4105585"/>
                </a:lnTo>
                <a:lnTo>
                  <a:pt x="4600362" y="4217458"/>
                </a:lnTo>
                <a:lnTo>
                  <a:pt x="4600362" y="4491698"/>
                </a:lnTo>
                <a:lnTo>
                  <a:pt x="4600362" y="4629302"/>
                </a:lnTo>
                <a:lnTo>
                  <a:pt x="4600362" y="4903542"/>
                </a:lnTo>
                <a:cubicBezTo>
                  <a:pt x="4600362" y="4999652"/>
                  <a:pt x="4504365" y="4999652"/>
                  <a:pt x="4504365" y="4999652"/>
                </a:cubicBezTo>
                <a:cubicBezTo>
                  <a:pt x="4504365" y="4999652"/>
                  <a:pt x="4504365" y="4999652"/>
                  <a:pt x="144766" y="4999652"/>
                </a:cubicBezTo>
                <a:lnTo>
                  <a:pt x="0" y="4999652"/>
                </a:lnTo>
                <a:close/>
              </a:path>
            </a:pathLst>
          </a:custGeom>
          <a:noFill/>
        </p:spPr>
        <p:txBody>
          <a:bodyPr wrap="square" tIns="108000">
            <a:noAutofit/>
          </a:bodyPr>
          <a:lstStyle/>
          <a:p>
            <a:r>
              <a:rPr lang="de-DE" noProof="0" smtClean="0"/>
              <a:t>Bild durch Klicken auf Symbol hinzufüg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35885614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308">
          <p15:clr>
            <a:srgbClr val="FBAE40"/>
          </p15:clr>
        </p15:guide>
        <p15:guide id="2" pos="4596">
          <p15:clr>
            <a:srgbClr val="FBAE4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9"/>
          <p:cNvSpPr>
            <a:spLocks noChangeAspect="1"/>
          </p:cNvSpPr>
          <p:nvPr userDrawn="1"/>
        </p:nvSpPr>
        <p:spPr bwMode="gray">
          <a:xfrm>
            <a:off x="0" y="1695450"/>
            <a:ext cx="11350800" cy="2382290"/>
          </a:xfrm>
          <a:custGeom>
            <a:avLst/>
            <a:gdLst>
              <a:gd name="T0" fmla="*/ 0 w 2680"/>
              <a:gd name="T1" fmla="*/ 560 h 560"/>
              <a:gd name="T2" fmla="*/ 2648 w 2680"/>
              <a:gd name="T3" fmla="*/ 560 h 560"/>
              <a:gd name="T4" fmla="*/ 2680 w 2680"/>
              <a:gd name="T5" fmla="*/ 528 h 560"/>
              <a:gd name="T6" fmla="*/ 2680 w 2680"/>
              <a:gd name="T7" fmla="*/ 32 h 560"/>
              <a:gd name="T8" fmla="*/ 2648 w 2680"/>
              <a:gd name="T9" fmla="*/ 0 h 560"/>
              <a:gd name="T10" fmla="*/ 0 w 2680"/>
              <a:gd name="T11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0" h="560">
                <a:moveTo>
                  <a:pt x="0" y="560"/>
                </a:moveTo>
                <a:cubicBezTo>
                  <a:pt x="2648" y="560"/>
                  <a:pt x="2648" y="560"/>
                  <a:pt x="2648" y="560"/>
                </a:cubicBezTo>
                <a:cubicBezTo>
                  <a:pt x="2648" y="560"/>
                  <a:pt x="2680" y="560"/>
                  <a:pt x="2680" y="528"/>
                </a:cubicBezTo>
                <a:cubicBezTo>
                  <a:pt x="2680" y="32"/>
                  <a:pt x="2680" y="32"/>
                  <a:pt x="2680" y="32"/>
                </a:cubicBezTo>
                <a:cubicBezTo>
                  <a:pt x="2680" y="32"/>
                  <a:pt x="2680" y="0"/>
                  <a:pt x="264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de-DE" dirty="0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842433" y="1695451"/>
            <a:ext cx="10313209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Orange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255, 98, 0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15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Light Grey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168, 168, 168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16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17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Indigo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82, 81, 153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18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19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Sky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96, 166, 218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20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200" b="1" dirty="0" err="1" smtClean="0">
                  <a:solidFill>
                    <a:srgbClr val="333333"/>
                  </a:solidFill>
                </a:rPr>
                <a:t>Colour</a:t>
              </a:r>
              <a:r>
                <a:rPr lang="de-DE" altLang="en-US" sz="1200" b="1" dirty="0" smtClean="0">
                  <a:solidFill>
                    <a:srgbClr val="333333"/>
                  </a:solidFill>
                </a:rPr>
                <a:t> Guidelines</a:t>
              </a:r>
              <a:endParaRPr lang="de-DE" altLang="en-US" sz="1200" b="1" dirty="0">
                <a:solidFill>
                  <a:srgbClr val="333333"/>
                </a:solidFill>
              </a:endParaRPr>
            </a:p>
          </p:txBody>
        </p:sp>
        <p:sp>
          <p:nvSpPr>
            <p:cNvPr id="21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22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Fuchsia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171, 0, 102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23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24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</a:t>
              </a:r>
              <a:r>
                <a:rPr lang="de-DE" altLang="en-US" sz="1000" dirty="0" err="1" smtClean="0">
                  <a:solidFill>
                    <a:srgbClr val="333333"/>
                  </a:solidFill>
                </a:rPr>
                <a:t>Lime</a:t>
              </a:r>
              <a:endParaRPr lang="de-DE" altLang="en-US" sz="1000" dirty="0" smtClean="0">
                <a:solidFill>
                  <a:srgbClr val="333333"/>
                </a:solidFill>
              </a:endParaRP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208, 217, 60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25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26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</a:t>
              </a:r>
              <a:r>
                <a:rPr lang="de-DE" altLang="en-US" sz="1000" dirty="0" err="1" smtClean="0">
                  <a:solidFill>
                    <a:srgbClr val="333333"/>
                  </a:solidFill>
                </a:rPr>
                <a:t>Leaf</a:t>
              </a:r>
              <a:endParaRPr lang="de-DE" altLang="en-US" sz="1000" dirty="0" smtClean="0">
                <a:solidFill>
                  <a:srgbClr val="333333"/>
                </a:solidFill>
              </a:endParaRP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52, 150, 81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27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28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Mid Grey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118, 118, 118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29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30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Text </a:t>
              </a:r>
              <a:r>
                <a:rPr lang="de-DE" altLang="en-US" sz="1000" dirty="0" err="1" smtClean="0">
                  <a:solidFill>
                    <a:srgbClr val="333333"/>
                  </a:solidFill>
                </a:rPr>
                <a:t>Colour</a:t>
              </a:r>
              <a:endParaRPr lang="de-DE" altLang="en-US" sz="1000" dirty="0" smtClean="0">
                <a:solidFill>
                  <a:srgbClr val="333333"/>
                </a:solidFill>
              </a:endParaRP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51, 51, 51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90" y="4402733"/>
            <a:ext cx="154783" cy="138908"/>
          </a:xfrm>
          <a:prstGeom prst="rect">
            <a:avLst/>
          </a:prstGeom>
        </p:spPr>
      </p:pic>
      <p:pic>
        <p:nvPicPr>
          <p:cNvPr id="33" name="Picture 31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606" t="21885" r="8745" b="32127"/>
          <a:stretch/>
        </p:blipFill>
        <p:spPr>
          <a:xfrm>
            <a:off x="10058522" y="6318048"/>
            <a:ext cx="1877910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35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7"/>
          <p:cNvSpPr>
            <a:spLocks noGrp="1"/>
          </p:cNvSpPr>
          <p:nvPr>
            <p:ph type="pic" sz="quarter" idx="16"/>
          </p:nvPr>
        </p:nvSpPr>
        <p:spPr bwMode="gray">
          <a:xfrm>
            <a:off x="696912" y="1696718"/>
            <a:ext cx="11199600" cy="4504080"/>
          </a:xfrm>
          <a:custGeom>
            <a:avLst/>
            <a:gdLst>
              <a:gd name="connsiteX0" fmla="*/ 95997 w 11199600"/>
              <a:gd name="connsiteY0" fmla="*/ 0 h 4504080"/>
              <a:gd name="connsiteX1" fmla="*/ 11103603 w 11199600"/>
              <a:gd name="connsiteY1" fmla="*/ 0 h 4504080"/>
              <a:gd name="connsiteX2" fmla="*/ 11199600 w 11199600"/>
              <a:gd name="connsiteY2" fmla="*/ 96110 h 4504080"/>
              <a:gd name="connsiteX3" fmla="*/ 11199600 w 11199600"/>
              <a:gd name="connsiteY3" fmla="*/ 335165 h 4504080"/>
              <a:gd name="connsiteX4" fmla="*/ 11199600 w 11199600"/>
              <a:gd name="connsiteY4" fmla="*/ 370350 h 4504080"/>
              <a:gd name="connsiteX5" fmla="*/ 11199600 w 11199600"/>
              <a:gd name="connsiteY5" fmla="*/ 379204 h 4504080"/>
              <a:gd name="connsiteX6" fmla="*/ 11199600 w 11199600"/>
              <a:gd name="connsiteY6" fmla="*/ 400048 h 4504080"/>
              <a:gd name="connsiteX7" fmla="*/ 11199600 w 11199600"/>
              <a:gd name="connsiteY7" fmla="*/ 400232 h 4504080"/>
              <a:gd name="connsiteX8" fmla="*/ 11199600 w 11199600"/>
              <a:gd name="connsiteY8" fmla="*/ 471202 h 4504080"/>
              <a:gd name="connsiteX9" fmla="*/ 11199600 w 11199600"/>
              <a:gd name="connsiteY9" fmla="*/ 475721 h 4504080"/>
              <a:gd name="connsiteX10" fmla="*/ 11199600 w 11199600"/>
              <a:gd name="connsiteY10" fmla="*/ 508692 h 4504080"/>
              <a:gd name="connsiteX11" fmla="*/ 11199600 w 11199600"/>
              <a:gd name="connsiteY11" fmla="*/ 554484 h 4504080"/>
              <a:gd name="connsiteX12" fmla="*/ 11199600 w 11199600"/>
              <a:gd name="connsiteY12" fmla="*/ 563015 h 4504080"/>
              <a:gd name="connsiteX13" fmla="*/ 11199600 w 11199600"/>
              <a:gd name="connsiteY13" fmla="*/ 609405 h 4504080"/>
              <a:gd name="connsiteX14" fmla="*/ 11199600 w 11199600"/>
              <a:gd name="connsiteY14" fmla="*/ 662759 h 4504080"/>
              <a:gd name="connsiteX15" fmla="*/ 11199600 w 11199600"/>
              <a:gd name="connsiteY15" fmla="*/ 674288 h 4504080"/>
              <a:gd name="connsiteX16" fmla="*/ 11199600 w 11199600"/>
              <a:gd name="connsiteY16" fmla="*/ 749961 h 4504080"/>
              <a:gd name="connsiteX17" fmla="*/ 11199600 w 11199600"/>
              <a:gd name="connsiteY17" fmla="*/ 775785 h 4504080"/>
              <a:gd name="connsiteX18" fmla="*/ 11199600 w 11199600"/>
              <a:gd name="connsiteY18" fmla="*/ 837255 h 4504080"/>
              <a:gd name="connsiteX19" fmla="*/ 11199600 w 11199600"/>
              <a:gd name="connsiteY19" fmla="*/ 902921 h 4504080"/>
              <a:gd name="connsiteX20" fmla="*/ 11199600 w 11199600"/>
              <a:gd name="connsiteY20" fmla="*/ 936999 h 4504080"/>
              <a:gd name="connsiteX21" fmla="*/ 11199600 w 11199600"/>
              <a:gd name="connsiteY21" fmla="*/ 1044999 h 4504080"/>
              <a:gd name="connsiteX22" fmla="*/ 11199600 w 11199600"/>
              <a:gd name="connsiteY22" fmla="*/ 1050025 h 4504080"/>
              <a:gd name="connsiteX23" fmla="*/ 11199600 w 11199600"/>
              <a:gd name="connsiteY23" fmla="*/ 1177161 h 4504080"/>
              <a:gd name="connsiteX24" fmla="*/ 11199600 w 11199600"/>
              <a:gd name="connsiteY24" fmla="*/ 1202847 h 4504080"/>
              <a:gd name="connsiteX25" fmla="*/ 11199600 w 11199600"/>
              <a:gd name="connsiteY25" fmla="*/ 1319239 h 4504080"/>
              <a:gd name="connsiteX26" fmla="*/ 11199600 w 11199600"/>
              <a:gd name="connsiteY26" fmla="*/ 1377296 h 4504080"/>
              <a:gd name="connsiteX27" fmla="*/ 11199600 w 11199600"/>
              <a:gd name="connsiteY27" fmla="*/ 1477087 h 4504080"/>
              <a:gd name="connsiteX28" fmla="*/ 11199600 w 11199600"/>
              <a:gd name="connsiteY28" fmla="*/ 1569177 h 4504080"/>
              <a:gd name="connsiteX29" fmla="*/ 11199600 w 11199600"/>
              <a:gd name="connsiteY29" fmla="*/ 1626118 h 4504080"/>
              <a:gd name="connsiteX30" fmla="*/ 11199600 w 11199600"/>
              <a:gd name="connsiteY30" fmla="*/ 1651536 h 4504080"/>
              <a:gd name="connsiteX31" fmla="*/ 11199600 w 11199600"/>
              <a:gd name="connsiteY31" fmla="*/ 1762133 h 4504080"/>
              <a:gd name="connsiteX32" fmla="*/ 11199600 w 11199600"/>
              <a:gd name="connsiteY32" fmla="*/ 1779318 h 4504080"/>
              <a:gd name="connsiteX33" fmla="*/ 11199600 w 11199600"/>
              <a:gd name="connsiteY33" fmla="*/ 1787219 h 4504080"/>
              <a:gd name="connsiteX34" fmla="*/ 11199600 w 11199600"/>
              <a:gd name="connsiteY34" fmla="*/ 1843417 h 4504080"/>
              <a:gd name="connsiteX35" fmla="*/ 11199600 w 11199600"/>
              <a:gd name="connsiteY35" fmla="*/ 1984894 h 4504080"/>
              <a:gd name="connsiteX36" fmla="*/ 11199600 w 11199600"/>
              <a:gd name="connsiteY36" fmla="*/ 2032038 h 4504080"/>
              <a:gd name="connsiteX37" fmla="*/ 11199600 w 11199600"/>
              <a:gd name="connsiteY37" fmla="*/ 2036373 h 4504080"/>
              <a:gd name="connsiteX38" fmla="*/ 11199600 w 11199600"/>
              <a:gd name="connsiteY38" fmla="*/ 2306279 h 4504080"/>
              <a:gd name="connsiteX39" fmla="*/ 11199600 w 11199600"/>
              <a:gd name="connsiteY39" fmla="*/ 2323525 h 4504080"/>
              <a:gd name="connsiteX40" fmla="*/ 11199600 w 11199600"/>
              <a:gd name="connsiteY40" fmla="*/ 2597765 h 4504080"/>
              <a:gd name="connsiteX41" fmla="*/ 11199600 w 11199600"/>
              <a:gd name="connsiteY41" fmla="*/ 2637423 h 4504080"/>
              <a:gd name="connsiteX42" fmla="*/ 11199600 w 11199600"/>
              <a:gd name="connsiteY42" fmla="*/ 2911664 h 4504080"/>
              <a:gd name="connsiteX43" fmla="*/ 11199600 w 11199600"/>
              <a:gd name="connsiteY43" fmla="*/ 2974563 h 4504080"/>
              <a:gd name="connsiteX44" fmla="*/ 11199600 w 11199600"/>
              <a:gd name="connsiteY44" fmla="*/ 3248803 h 4504080"/>
              <a:gd name="connsiteX45" fmla="*/ 11199600 w 11199600"/>
              <a:gd name="connsiteY45" fmla="*/ 3335774 h 4504080"/>
              <a:gd name="connsiteX46" fmla="*/ 11199600 w 11199600"/>
              <a:gd name="connsiteY46" fmla="*/ 3610014 h 4504080"/>
              <a:gd name="connsiteX47" fmla="*/ 11199600 w 11199600"/>
              <a:gd name="connsiteY47" fmla="*/ 3721887 h 4504080"/>
              <a:gd name="connsiteX48" fmla="*/ 11199600 w 11199600"/>
              <a:gd name="connsiteY48" fmla="*/ 3996127 h 4504080"/>
              <a:gd name="connsiteX49" fmla="*/ 11199600 w 11199600"/>
              <a:gd name="connsiteY49" fmla="*/ 4133731 h 4504080"/>
              <a:gd name="connsiteX50" fmla="*/ 11199600 w 11199600"/>
              <a:gd name="connsiteY50" fmla="*/ 4407971 h 4504080"/>
              <a:gd name="connsiteX51" fmla="*/ 11118603 w 11199600"/>
              <a:gd name="connsiteY51" fmla="*/ 4502580 h 4504080"/>
              <a:gd name="connsiteX52" fmla="*/ 11103613 w 11199600"/>
              <a:gd name="connsiteY52" fmla="*/ 4504080 h 4504080"/>
              <a:gd name="connsiteX53" fmla="*/ 95989 w 11199600"/>
              <a:gd name="connsiteY53" fmla="*/ 4504080 h 4504080"/>
              <a:gd name="connsiteX54" fmla="*/ 64311 w 11199600"/>
              <a:gd name="connsiteY54" fmla="*/ 4499952 h 4504080"/>
              <a:gd name="connsiteX55" fmla="*/ 0 w 11199600"/>
              <a:gd name="connsiteY55" fmla="*/ 4407971 h 4504080"/>
              <a:gd name="connsiteX56" fmla="*/ 0 w 11199600"/>
              <a:gd name="connsiteY56" fmla="*/ 4404236 h 4504080"/>
              <a:gd name="connsiteX57" fmla="*/ 0 w 11199600"/>
              <a:gd name="connsiteY57" fmla="*/ 4395365 h 4504080"/>
              <a:gd name="connsiteX58" fmla="*/ 0 w 11199600"/>
              <a:gd name="connsiteY58" fmla="*/ 4378089 h 4504080"/>
              <a:gd name="connsiteX59" fmla="*/ 0 w 11199600"/>
              <a:gd name="connsiteY59" fmla="*/ 4349608 h 4504080"/>
              <a:gd name="connsiteX60" fmla="*/ 0 w 11199600"/>
              <a:gd name="connsiteY60" fmla="*/ 4307120 h 4504080"/>
              <a:gd name="connsiteX61" fmla="*/ 0 w 11199600"/>
              <a:gd name="connsiteY61" fmla="*/ 4247823 h 4504080"/>
              <a:gd name="connsiteX62" fmla="*/ 0 w 11199600"/>
              <a:gd name="connsiteY62" fmla="*/ 4168916 h 4504080"/>
              <a:gd name="connsiteX63" fmla="*/ 0 w 11199600"/>
              <a:gd name="connsiteY63" fmla="*/ 4133731 h 4504080"/>
              <a:gd name="connsiteX64" fmla="*/ 0 w 11199600"/>
              <a:gd name="connsiteY64" fmla="*/ 4132625 h 4504080"/>
              <a:gd name="connsiteX65" fmla="*/ 0 w 11199600"/>
              <a:gd name="connsiteY65" fmla="*/ 4124877 h 4504080"/>
              <a:gd name="connsiteX66" fmla="*/ 0 w 11199600"/>
              <a:gd name="connsiteY66" fmla="*/ 4104034 h 4504080"/>
              <a:gd name="connsiteX67" fmla="*/ 0 w 11199600"/>
              <a:gd name="connsiteY67" fmla="*/ 4103849 h 4504080"/>
              <a:gd name="connsiteX68" fmla="*/ 0 w 11199600"/>
              <a:gd name="connsiteY68" fmla="*/ 4062900 h 4504080"/>
              <a:gd name="connsiteX69" fmla="*/ 0 w 11199600"/>
              <a:gd name="connsiteY69" fmla="*/ 4032880 h 4504080"/>
              <a:gd name="connsiteX70" fmla="*/ 0 w 11199600"/>
              <a:gd name="connsiteY70" fmla="*/ 4028361 h 4504080"/>
              <a:gd name="connsiteX71" fmla="*/ 0 w 11199600"/>
              <a:gd name="connsiteY71" fmla="*/ 3995389 h 4504080"/>
              <a:gd name="connsiteX72" fmla="*/ 0 w 11199600"/>
              <a:gd name="connsiteY72" fmla="*/ 3949598 h 4504080"/>
              <a:gd name="connsiteX73" fmla="*/ 0 w 11199600"/>
              <a:gd name="connsiteY73" fmla="*/ 3941067 h 4504080"/>
              <a:gd name="connsiteX74" fmla="*/ 0 w 11199600"/>
              <a:gd name="connsiteY74" fmla="*/ 3894676 h 4504080"/>
              <a:gd name="connsiteX75" fmla="*/ 0 w 11199600"/>
              <a:gd name="connsiteY75" fmla="*/ 3841322 h 4504080"/>
              <a:gd name="connsiteX76" fmla="*/ 0 w 11199600"/>
              <a:gd name="connsiteY76" fmla="*/ 3829794 h 4504080"/>
              <a:gd name="connsiteX77" fmla="*/ 0 w 11199600"/>
              <a:gd name="connsiteY77" fmla="*/ 3754121 h 4504080"/>
              <a:gd name="connsiteX78" fmla="*/ 0 w 11199600"/>
              <a:gd name="connsiteY78" fmla="*/ 3728297 h 4504080"/>
              <a:gd name="connsiteX79" fmla="*/ 0 w 11199600"/>
              <a:gd name="connsiteY79" fmla="*/ 3666827 h 4504080"/>
              <a:gd name="connsiteX80" fmla="*/ 0 w 11199600"/>
              <a:gd name="connsiteY80" fmla="*/ 3601160 h 4504080"/>
              <a:gd name="connsiteX81" fmla="*/ 0 w 11199600"/>
              <a:gd name="connsiteY81" fmla="*/ 3567082 h 4504080"/>
              <a:gd name="connsiteX82" fmla="*/ 0 w 11199600"/>
              <a:gd name="connsiteY82" fmla="*/ 3459083 h 4504080"/>
              <a:gd name="connsiteX83" fmla="*/ 0 w 11199600"/>
              <a:gd name="connsiteY83" fmla="*/ 3454057 h 4504080"/>
              <a:gd name="connsiteX84" fmla="*/ 0 w 11199600"/>
              <a:gd name="connsiteY84" fmla="*/ 3326920 h 4504080"/>
              <a:gd name="connsiteX85" fmla="*/ 0 w 11199600"/>
              <a:gd name="connsiteY85" fmla="*/ 3301235 h 4504080"/>
              <a:gd name="connsiteX86" fmla="*/ 0 w 11199600"/>
              <a:gd name="connsiteY86" fmla="*/ 3184843 h 4504080"/>
              <a:gd name="connsiteX87" fmla="*/ 0 w 11199600"/>
              <a:gd name="connsiteY87" fmla="*/ 3126785 h 4504080"/>
              <a:gd name="connsiteX88" fmla="*/ 0 w 11199600"/>
              <a:gd name="connsiteY88" fmla="*/ 3026995 h 4504080"/>
              <a:gd name="connsiteX89" fmla="*/ 0 w 11199600"/>
              <a:gd name="connsiteY89" fmla="*/ 2934905 h 4504080"/>
              <a:gd name="connsiteX90" fmla="*/ 0 w 11199600"/>
              <a:gd name="connsiteY90" fmla="*/ 2852545 h 4504080"/>
              <a:gd name="connsiteX91" fmla="*/ 0 w 11199600"/>
              <a:gd name="connsiteY91" fmla="*/ 2724763 h 4504080"/>
              <a:gd name="connsiteX92" fmla="*/ 0 w 11199600"/>
              <a:gd name="connsiteY92" fmla="*/ 2660665 h 4504080"/>
              <a:gd name="connsiteX93" fmla="*/ 0 w 11199600"/>
              <a:gd name="connsiteY93" fmla="*/ 2495530 h 4504080"/>
              <a:gd name="connsiteX94" fmla="*/ 0 w 11199600"/>
              <a:gd name="connsiteY94" fmla="*/ 2450523 h 4504080"/>
              <a:gd name="connsiteX95" fmla="*/ 0 w 11199600"/>
              <a:gd name="connsiteY95" fmla="*/ 2246376 h 4504080"/>
              <a:gd name="connsiteX96" fmla="*/ 0 w 11199600"/>
              <a:gd name="connsiteY96" fmla="*/ 2221290 h 4504080"/>
              <a:gd name="connsiteX97" fmla="*/ 0 w 11199600"/>
              <a:gd name="connsiteY97" fmla="*/ 1984894 h 4504080"/>
              <a:gd name="connsiteX98" fmla="*/ 0 w 11199600"/>
              <a:gd name="connsiteY98" fmla="*/ 1976471 h 4504080"/>
              <a:gd name="connsiteX99" fmla="*/ 0 w 11199600"/>
              <a:gd name="connsiteY99" fmla="*/ 1972136 h 4504080"/>
              <a:gd name="connsiteX100" fmla="*/ 0 w 11199600"/>
              <a:gd name="connsiteY100" fmla="*/ 1906316 h 4504080"/>
              <a:gd name="connsiteX101" fmla="*/ 0 w 11199600"/>
              <a:gd name="connsiteY101" fmla="*/ 1866658 h 4504080"/>
              <a:gd name="connsiteX102" fmla="*/ 0 w 11199600"/>
              <a:gd name="connsiteY102" fmla="*/ 1702231 h 4504080"/>
              <a:gd name="connsiteX103" fmla="*/ 0 w 11199600"/>
              <a:gd name="connsiteY103" fmla="*/ 1684984 h 4504080"/>
              <a:gd name="connsiteX104" fmla="*/ 0 w 11199600"/>
              <a:gd name="connsiteY104" fmla="*/ 1626118 h 4504080"/>
              <a:gd name="connsiteX105" fmla="*/ 0 w 11199600"/>
              <a:gd name="connsiteY105" fmla="*/ 1592418 h 4504080"/>
              <a:gd name="connsiteX106" fmla="*/ 0 w 11199600"/>
              <a:gd name="connsiteY106" fmla="*/ 1529519 h 4504080"/>
              <a:gd name="connsiteX107" fmla="*/ 0 w 11199600"/>
              <a:gd name="connsiteY107" fmla="*/ 1255278 h 4504080"/>
              <a:gd name="connsiteX108" fmla="*/ 0 w 11199600"/>
              <a:gd name="connsiteY108" fmla="*/ 1168307 h 4504080"/>
              <a:gd name="connsiteX109" fmla="*/ 0 w 11199600"/>
              <a:gd name="connsiteY109" fmla="*/ 894067 h 4504080"/>
              <a:gd name="connsiteX110" fmla="*/ 0 w 11199600"/>
              <a:gd name="connsiteY110" fmla="*/ 782195 h 4504080"/>
              <a:gd name="connsiteX111" fmla="*/ 0 w 11199600"/>
              <a:gd name="connsiteY111" fmla="*/ 507955 h 4504080"/>
              <a:gd name="connsiteX112" fmla="*/ 0 w 11199600"/>
              <a:gd name="connsiteY112" fmla="*/ 370350 h 4504080"/>
              <a:gd name="connsiteX113" fmla="*/ 0 w 11199600"/>
              <a:gd name="connsiteY113" fmla="*/ 96110 h 4504080"/>
              <a:gd name="connsiteX114" fmla="*/ 95997 w 11199600"/>
              <a:gd name="connsiteY114" fmla="*/ 0 h 450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1199600" h="4504080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26118"/>
                </a:lnTo>
                <a:lnTo>
                  <a:pt x="11199600" y="1651536"/>
                </a:lnTo>
                <a:lnTo>
                  <a:pt x="11199600" y="1762133"/>
                </a:lnTo>
                <a:lnTo>
                  <a:pt x="11199600" y="1779318"/>
                </a:lnTo>
                <a:lnTo>
                  <a:pt x="11199600" y="1787219"/>
                </a:lnTo>
                <a:lnTo>
                  <a:pt x="11199600" y="1843417"/>
                </a:lnTo>
                <a:lnTo>
                  <a:pt x="11199600" y="1984894"/>
                </a:lnTo>
                <a:lnTo>
                  <a:pt x="11199600" y="2032038"/>
                </a:lnTo>
                <a:lnTo>
                  <a:pt x="11199600" y="2036373"/>
                </a:lnTo>
                <a:cubicBezTo>
                  <a:pt x="11199600" y="2122837"/>
                  <a:pt x="11199600" y="2212759"/>
                  <a:pt x="11199600" y="2306279"/>
                </a:cubicBezTo>
                <a:lnTo>
                  <a:pt x="11199600" y="2323525"/>
                </a:lnTo>
                <a:lnTo>
                  <a:pt x="11199600" y="2597765"/>
                </a:lnTo>
                <a:lnTo>
                  <a:pt x="11199600" y="2637423"/>
                </a:lnTo>
                <a:lnTo>
                  <a:pt x="11199600" y="2911664"/>
                </a:lnTo>
                <a:lnTo>
                  <a:pt x="11199600" y="2974563"/>
                </a:lnTo>
                <a:lnTo>
                  <a:pt x="11199600" y="3248803"/>
                </a:lnTo>
                <a:lnTo>
                  <a:pt x="11199600" y="3335774"/>
                </a:lnTo>
                <a:lnTo>
                  <a:pt x="11199600" y="3610014"/>
                </a:lnTo>
                <a:lnTo>
                  <a:pt x="11199600" y="3721887"/>
                </a:lnTo>
                <a:lnTo>
                  <a:pt x="11199600" y="3996127"/>
                </a:lnTo>
                <a:lnTo>
                  <a:pt x="11199600" y="4133731"/>
                </a:lnTo>
                <a:lnTo>
                  <a:pt x="11199600" y="4407971"/>
                </a:lnTo>
                <a:cubicBezTo>
                  <a:pt x="11199600" y="4480054"/>
                  <a:pt x="11145602" y="4498074"/>
                  <a:pt x="11118603" y="4502580"/>
                </a:cubicBezTo>
                <a:lnTo>
                  <a:pt x="11103613" y="4504080"/>
                </a:lnTo>
                <a:lnTo>
                  <a:pt x="95989" y="4504080"/>
                </a:lnTo>
                <a:lnTo>
                  <a:pt x="64311" y="4499952"/>
                </a:lnTo>
                <a:cubicBezTo>
                  <a:pt x="0" y="4481555"/>
                  <a:pt x="0" y="4407971"/>
                  <a:pt x="0" y="4407971"/>
                </a:cubicBezTo>
                <a:lnTo>
                  <a:pt x="0" y="4404236"/>
                </a:lnTo>
                <a:lnTo>
                  <a:pt x="0" y="4395365"/>
                </a:lnTo>
                <a:lnTo>
                  <a:pt x="0" y="4378089"/>
                </a:lnTo>
                <a:lnTo>
                  <a:pt x="0" y="4349608"/>
                </a:lnTo>
                <a:lnTo>
                  <a:pt x="0" y="4307120"/>
                </a:lnTo>
                <a:lnTo>
                  <a:pt x="0" y="4247823"/>
                </a:lnTo>
                <a:lnTo>
                  <a:pt x="0" y="4168916"/>
                </a:lnTo>
                <a:lnTo>
                  <a:pt x="0" y="4133731"/>
                </a:lnTo>
                <a:lnTo>
                  <a:pt x="0" y="4132625"/>
                </a:lnTo>
                <a:lnTo>
                  <a:pt x="0" y="4124877"/>
                </a:lnTo>
                <a:lnTo>
                  <a:pt x="0" y="4104034"/>
                </a:lnTo>
                <a:lnTo>
                  <a:pt x="0" y="4103849"/>
                </a:lnTo>
                <a:lnTo>
                  <a:pt x="0" y="4062900"/>
                </a:lnTo>
                <a:lnTo>
                  <a:pt x="0" y="4032880"/>
                </a:lnTo>
                <a:lnTo>
                  <a:pt x="0" y="4028361"/>
                </a:lnTo>
                <a:lnTo>
                  <a:pt x="0" y="3995389"/>
                </a:lnTo>
                <a:lnTo>
                  <a:pt x="0" y="3949598"/>
                </a:lnTo>
                <a:lnTo>
                  <a:pt x="0" y="3941067"/>
                </a:lnTo>
                <a:lnTo>
                  <a:pt x="0" y="3894676"/>
                </a:lnTo>
                <a:lnTo>
                  <a:pt x="0" y="3841322"/>
                </a:lnTo>
                <a:lnTo>
                  <a:pt x="0" y="3829794"/>
                </a:lnTo>
                <a:lnTo>
                  <a:pt x="0" y="3754121"/>
                </a:lnTo>
                <a:lnTo>
                  <a:pt x="0" y="3728297"/>
                </a:lnTo>
                <a:lnTo>
                  <a:pt x="0" y="3666827"/>
                </a:lnTo>
                <a:lnTo>
                  <a:pt x="0" y="3601160"/>
                </a:lnTo>
                <a:lnTo>
                  <a:pt x="0" y="3567082"/>
                </a:lnTo>
                <a:lnTo>
                  <a:pt x="0" y="3459083"/>
                </a:lnTo>
                <a:lnTo>
                  <a:pt x="0" y="3454057"/>
                </a:lnTo>
                <a:lnTo>
                  <a:pt x="0" y="3326920"/>
                </a:lnTo>
                <a:lnTo>
                  <a:pt x="0" y="3301235"/>
                </a:lnTo>
                <a:lnTo>
                  <a:pt x="0" y="3184843"/>
                </a:lnTo>
                <a:lnTo>
                  <a:pt x="0" y="3126785"/>
                </a:lnTo>
                <a:lnTo>
                  <a:pt x="0" y="3026995"/>
                </a:lnTo>
                <a:lnTo>
                  <a:pt x="0" y="2934905"/>
                </a:lnTo>
                <a:lnTo>
                  <a:pt x="0" y="2852545"/>
                </a:lnTo>
                <a:lnTo>
                  <a:pt x="0" y="2724763"/>
                </a:lnTo>
                <a:lnTo>
                  <a:pt x="0" y="2660665"/>
                </a:lnTo>
                <a:lnTo>
                  <a:pt x="0" y="2495530"/>
                </a:lnTo>
                <a:lnTo>
                  <a:pt x="0" y="2450523"/>
                </a:lnTo>
                <a:lnTo>
                  <a:pt x="0" y="2246376"/>
                </a:lnTo>
                <a:lnTo>
                  <a:pt x="0" y="2221290"/>
                </a:lnTo>
                <a:lnTo>
                  <a:pt x="0" y="1984894"/>
                </a:lnTo>
                <a:lnTo>
                  <a:pt x="0" y="1976471"/>
                </a:lnTo>
                <a:lnTo>
                  <a:pt x="0" y="197213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702231"/>
                </a:lnTo>
                <a:lnTo>
                  <a:pt x="0" y="1684984"/>
                </a:lnTo>
                <a:lnTo>
                  <a:pt x="0" y="162611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de-DE" noProof="0" smtClean="0"/>
              <a:t>Bild durch Klicken auf Symbol hinzufügen</a:t>
            </a:r>
            <a:endParaRPr lang="de-DE" noProof="0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838199" y="257725"/>
            <a:ext cx="11059319" cy="11798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4600"/>
              </a:lnSpc>
              <a:defRPr sz="4600"/>
            </a:lvl1pPr>
          </a:lstStyle>
          <a:p>
            <a:r>
              <a:rPr lang="de-DE" noProof="0" dirty="0" smtClean="0"/>
              <a:t>Click </a:t>
            </a:r>
            <a:r>
              <a:rPr lang="de-DE" noProof="0" dirty="0" err="1" smtClean="0"/>
              <a:t>to</a:t>
            </a:r>
            <a:r>
              <a:rPr lang="de-DE" noProof="0" dirty="0" smtClean="0"/>
              <a:t> </a:t>
            </a:r>
            <a:r>
              <a:rPr lang="de-DE" noProof="0" dirty="0" err="1" smtClean="0"/>
              <a:t>edit</a:t>
            </a:r>
            <a:r>
              <a:rPr lang="de-DE" noProof="0" dirty="0" smtClean="0"/>
              <a:t> </a:t>
            </a:r>
            <a:br>
              <a:rPr lang="de-DE" noProof="0" dirty="0" smtClean="0"/>
            </a:br>
            <a:r>
              <a:rPr lang="de-DE" noProof="0" dirty="0" smtClean="0"/>
              <a:t>Master title style</a:t>
            </a:r>
            <a:endParaRPr lang="de-DE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Orange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255, 98, 0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1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Light Grey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168, 168, 168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1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1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Indigo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82, 81, 153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1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1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Sky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96, 166, 218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1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200" b="1" dirty="0" err="1" smtClean="0">
                  <a:solidFill>
                    <a:srgbClr val="333333"/>
                  </a:solidFill>
                </a:rPr>
                <a:t>Colour</a:t>
              </a:r>
              <a:r>
                <a:rPr lang="de-DE" altLang="en-US" sz="1200" b="1" dirty="0" smtClean="0">
                  <a:solidFill>
                    <a:srgbClr val="333333"/>
                  </a:solidFill>
                </a:rPr>
                <a:t> Guidelines</a:t>
              </a:r>
              <a:endParaRPr lang="de-DE" altLang="en-US" sz="1200" b="1" dirty="0">
                <a:solidFill>
                  <a:srgbClr val="333333"/>
                </a:solidFill>
              </a:endParaRPr>
            </a:p>
          </p:txBody>
        </p:sp>
        <p:sp>
          <p:nvSpPr>
            <p:cNvPr id="2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2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Fuchsia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171, 0, 102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2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2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</a:t>
              </a:r>
              <a:r>
                <a:rPr lang="de-DE" altLang="en-US" sz="1000" dirty="0" err="1" smtClean="0">
                  <a:solidFill>
                    <a:srgbClr val="333333"/>
                  </a:solidFill>
                </a:rPr>
                <a:t>Lime</a:t>
              </a:r>
              <a:endParaRPr lang="de-DE" altLang="en-US" sz="1000" dirty="0" smtClean="0">
                <a:solidFill>
                  <a:srgbClr val="333333"/>
                </a:solidFill>
              </a:endParaRP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208, 217, 60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2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2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</a:t>
              </a:r>
              <a:r>
                <a:rPr lang="de-DE" altLang="en-US" sz="1000" dirty="0" err="1" smtClean="0">
                  <a:solidFill>
                    <a:srgbClr val="333333"/>
                  </a:solidFill>
                </a:rPr>
                <a:t>Leaf</a:t>
              </a:r>
              <a:endParaRPr lang="de-DE" altLang="en-US" sz="1000" dirty="0" smtClean="0">
                <a:solidFill>
                  <a:srgbClr val="333333"/>
                </a:solidFill>
              </a:endParaRP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52, 150, 81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2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2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Mid Grey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118, 118, 118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2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2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Text </a:t>
              </a:r>
              <a:r>
                <a:rPr lang="de-DE" altLang="en-US" sz="1000" dirty="0" err="1" smtClean="0">
                  <a:solidFill>
                    <a:srgbClr val="333333"/>
                  </a:solidFill>
                </a:rPr>
                <a:t>Colour</a:t>
              </a:r>
              <a:endParaRPr lang="de-DE" altLang="en-US" sz="1000" dirty="0" smtClean="0">
                <a:solidFill>
                  <a:srgbClr val="333333"/>
                </a:solidFill>
              </a:endParaRP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51, 51, 51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90" y="4402733"/>
            <a:ext cx="154783" cy="138908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606" t="21885" r="8745" b="32127"/>
          <a:stretch/>
        </p:blipFill>
        <p:spPr>
          <a:xfrm>
            <a:off x="10058522" y="6318048"/>
            <a:ext cx="1877910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283688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2">
          <p15:clr>
            <a:srgbClr val="FBAE4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000" y="1278384"/>
            <a:ext cx="5058750" cy="4921200"/>
          </a:xfrm>
        </p:spPr>
        <p:txBody>
          <a:bodyPr>
            <a:noAutofit/>
          </a:bodyPr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278384"/>
            <a:ext cx="5058000" cy="49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38200" y="6498809"/>
            <a:ext cx="495300" cy="188119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de-DE" smtClean="0">
                <a:solidFill>
                  <a:srgbClr val="333333"/>
                </a:solidFill>
              </a:rPr>
              <a:pPr/>
              <a:t>‹#›</a:t>
            </a:fld>
            <a:endParaRPr lang="de-DE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5575" y="280733"/>
            <a:ext cx="10489175" cy="854075"/>
          </a:xfrm>
        </p:spPr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95717511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000" y="1795636"/>
            <a:ext cx="5058750" cy="4403948"/>
          </a:xfrm>
        </p:spPr>
        <p:txBody>
          <a:bodyPr>
            <a:noAutofit/>
          </a:bodyPr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795636"/>
            <a:ext cx="5058000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38200" y="6498809"/>
            <a:ext cx="495300" cy="188119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de-DE" smtClean="0">
                <a:solidFill>
                  <a:srgbClr val="333333"/>
                </a:solidFill>
              </a:rPr>
              <a:pPr/>
              <a:t>‹#›</a:t>
            </a:fld>
            <a:endParaRPr lang="de-DE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5575" y="280733"/>
            <a:ext cx="10489175" cy="854075"/>
          </a:xfrm>
        </p:spPr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845574" y="1277982"/>
            <a:ext cx="505992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 dirty="0" smtClean="0"/>
              <a:t>Click </a:t>
            </a:r>
            <a:r>
              <a:rPr lang="de-DE" noProof="0" dirty="0" err="1" smtClean="0"/>
              <a:t>to</a:t>
            </a:r>
            <a:r>
              <a:rPr lang="de-DE" noProof="0" dirty="0" smtClean="0"/>
              <a:t> </a:t>
            </a:r>
            <a:r>
              <a:rPr lang="de-DE" noProof="0" dirty="0" err="1" smtClean="0"/>
              <a:t>edit</a:t>
            </a:r>
            <a:r>
              <a:rPr lang="de-DE" noProof="0" dirty="0" smtClean="0"/>
              <a:t>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274825" y="1277982"/>
            <a:ext cx="505992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 dirty="0" smtClean="0"/>
              <a:t>Click </a:t>
            </a:r>
            <a:r>
              <a:rPr lang="de-DE" noProof="0" dirty="0" err="1" smtClean="0"/>
              <a:t>to</a:t>
            </a:r>
            <a:r>
              <a:rPr lang="de-DE" noProof="0" dirty="0" smtClean="0"/>
              <a:t> </a:t>
            </a:r>
            <a:r>
              <a:rPr lang="de-DE" noProof="0" dirty="0" err="1" smtClean="0"/>
              <a:t>edit</a:t>
            </a:r>
            <a:r>
              <a:rPr lang="de-DE" noProof="0" dirty="0" smtClean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336677237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000" y="1278000"/>
            <a:ext cx="5058750" cy="4929584"/>
          </a:xfrm>
        </p:spPr>
        <p:txBody>
          <a:bodyPr>
            <a:noAutofit/>
          </a:bodyPr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795636"/>
            <a:ext cx="5058000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38200" y="6498809"/>
            <a:ext cx="495300" cy="188119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de-DE" smtClean="0">
                <a:solidFill>
                  <a:srgbClr val="333333"/>
                </a:solidFill>
              </a:rPr>
              <a:pPr/>
              <a:t>‹#›</a:t>
            </a:fld>
            <a:endParaRPr lang="de-DE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5575" y="280733"/>
            <a:ext cx="10489175" cy="854075"/>
          </a:xfrm>
        </p:spPr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845574" y="1277982"/>
            <a:ext cx="505992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 dirty="0" smtClean="0"/>
              <a:t>Click </a:t>
            </a:r>
            <a:r>
              <a:rPr lang="de-DE" noProof="0" dirty="0" err="1" smtClean="0"/>
              <a:t>to</a:t>
            </a:r>
            <a:r>
              <a:rPr lang="de-DE" noProof="0" dirty="0" smtClean="0"/>
              <a:t> </a:t>
            </a:r>
            <a:r>
              <a:rPr lang="de-DE" noProof="0" dirty="0" err="1" smtClean="0"/>
              <a:t>edit</a:t>
            </a:r>
            <a:r>
              <a:rPr lang="de-DE" noProof="0" dirty="0" smtClean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373159241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000" y="1795636"/>
            <a:ext cx="5058750" cy="4403948"/>
          </a:xfrm>
        </p:spPr>
        <p:txBody>
          <a:bodyPr>
            <a:noAutofit/>
          </a:bodyPr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278000"/>
            <a:ext cx="5058000" cy="49295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38200" y="6498809"/>
            <a:ext cx="495300" cy="188119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de-DE" smtClean="0">
                <a:solidFill>
                  <a:srgbClr val="333333"/>
                </a:solidFill>
              </a:rPr>
              <a:pPr/>
              <a:t>‹#›</a:t>
            </a:fld>
            <a:endParaRPr lang="de-DE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5575" y="280733"/>
            <a:ext cx="10489175" cy="854075"/>
          </a:xfrm>
        </p:spPr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274825" y="1277982"/>
            <a:ext cx="505992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 dirty="0" smtClean="0"/>
              <a:t>Click </a:t>
            </a:r>
            <a:r>
              <a:rPr lang="de-DE" noProof="0" dirty="0" err="1" smtClean="0"/>
              <a:t>to</a:t>
            </a:r>
            <a:r>
              <a:rPr lang="de-DE" noProof="0" dirty="0" smtClean="0"/>
              <a:t> </a:t>
            </a:r>
            <a:r>
              <a:rPr lang="de-DE" noProof="0" dirty="0" err="1" smtClean="0"/>
              <a:t>edit</a:t>
            </a:r>
            <a:r>
              <a:rPr lang="de-DE" noProof="0" dirty="0" smtClean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41944149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>
          <a:xfrm>
            <a:off x="838200" y="6498809"/>
            <a:ext cx="495300" cy="188119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de-DE" smtClean="0">
                <a:solidFill>
                  <a:srgbClr val="333333"/>
                </a:solidFill>
              </a:rPr>
              <a:pPr/>
              <a:t>‹#›</a:t>
            </a:fld>
            <a:endParaRPr lang="de-DE" dirty="0">
              <a:solidFill>
                <a:srgbClr val="333333"/>
              </a:solidFill>
            </a:endParaRPr>
          </a:p>
        </p:txBody>
      </p:sp>
      <p:sp>
        <p:nvSpPr>
          <p:cNvPr id="23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750" y="1278000"/>
            <a:ext cx="5058000" cy="2330177"/>
          </a:xfrm>
        </p:spPr>
        <p:txBody>
          <a:bodyPr>
            <a:noAutofit/>
          </a:bodyPr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24" name="Text Placeholder 2"/>
          <p:cNvSpPr>
            <a:spLocks noGrp="1"/>
          </p:cNvSpPr>
          <p:nvPr>
            <p:ph idx="28"/>
          </p:nvPr>
        </p:nvSpPr>
        <p:spPr bwMode="gray">
          <a:xfrm>
            <a:off x="845575" y="1278000"/>
            <a:ext cx="5058000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25" name="Content Placeholder 3"/>
          <p:cNvSpPr>
            <a:spLocks noGrp="1"/>
          </p:cNvSpPr>
          <p:nvPr>
            <p:ph sz="half" idx="29"/>
          </p:nvPr>
        </p:nvSpPr>
        <p:spPr bwMode="gray">
          <a:xfrm>
            <a:off x="6276750" y="3877591"/>
            <a:ext cx="5058000" cy="2330177"/>
          </a:xfrm>
        </p:spPr>
        <p:txBody>
          <a:bodyPr>
            <a:noAutofit/>
          </a:bodyPr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idx="30"/>
          </p:nvPr>
        </p:nvSpPr>
        <p:spPr bwMode="gray">
          <a:xfrm>
            <a:off x="845575" y="3877591"/>
            <a:ext cx="5058000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45575" y="280733"/>
            <a:ext cx="10489175" cy="854075"/>
          </a:xfrm>
        </p:spPr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72850821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  <p15:guide id="3" orient="horz" pos="2274">
          <p15:clr>
            <a:srgbClr val="FBAE40"/>
          </p15:clr>
        </p15:guide>
        <p15:guide id="4" orient="horz" pos="2442">
          <p15:clr>
            <a:srgbClr val="FBAE4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846907" y="1278384"/>
            <a:ext cx="3265200" cy="2329200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4458228" y="1278384"/>
            <a:ext cx="3265200" cy="2329200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8069550" y="1278384"/>
            <a:ext cx="3265200" cy="2329200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846908" y="3884250"/>
            <a:ext cx="3265200" cy="2329200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4458229" y="3884250"/>
            <a:ext cx="3265200" cy="2329200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8069550" y="3884250"/>
            <a:ext cx="3265200" cy="2329200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>
          <a:xfrm>
            <a:off x="838200" y="6498809"/>
            <a:ext cx="495300" cy="188119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de-DE" smtClean="0">
                <a:solidFill>
                  <a:srgbClr val="333333"/>
                </a:solidFill>
              </a:rPr>
              <a:pPr/>
              <a:t>‹#›</a:t>
            </a:fld>
            <a:endParaRPr lang="de-DE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45575" y="280733"/>
            <a:ext cx="10489175" cy="854075"/>
          </a:xfrm>
        </p:spPr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73562080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91">
          <p15:clr>
            <a:srgbClr val="FBAE40"/>
          </p15:clr>
        </p15:guide>
        <p15:guide id="2" pos="2808">
          <p15:clr>
            <a:srgbClr val="FBAE40"/>
          </p15:clr>
        </p15:guide>
        <p15:guide id="3" pos="4866">
          <p15:clr>
            <a:srgbClr val="FBAE40"/>
          </p15:clr>
        </p15:guide>
        <p15:guide id="4" pos="5082">
          <p15:clr>
            <a:srgbClr val="FBAE40"/>
          </p15:clr>
        </p15:guide>
        <p15:guide id="5" orient="horz" pos="2274">
          <p15:clr>
            <a:srgbClr val="FBAE40"/>
          </p15:clr>
        </p15:guide>
        <p15:guide id="6" orient="horz" pos="244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9"/>
          <p:cNvSpPr>
            <a:spLocks noChangeAspect="1"/>
          </p:cNvSpPr>
          <p:nvPr userDrawn="1"/>
        </p:nvSpPr>
        <p:spPr bwMode="gray">
          <a:xfrm>
            <a:off x="0" y="1695450"/>
            <a:ext cx="11350800" cy="2382290"/>
          </a:xfrm>
          <a:custGeom>
            <a:avLst/>
            <a:gdLst>
              <a:gd name="T0" fmla="*/ 0 w 2680"/>
              <a:gd name="T1" fmla="*/ 560 h 560"/>
              <a:gd name="T2" fmla="*/ 2648 w 2680"/>
              <a:gd name="T3" fmla="*/ 560 h 560"/>
              <a:gd name="T4" fmla="*/ 2680 w 2680"/>
              <a:gd name="T5" fmla="*/ 528 h 560"/>
              <a:gd name="T6" fmla="*/ 2680 w 2680"/>
              <a:gd name="T7" fmla="*/ 32 h 560"/>
              <a:gd name="T8" fmla="*/ 2648 w 2680"/>
              <a:gd name="T9" fmla="*/ 0 h 560"/>
              <a:gd name="T10" fmla="*/ 0 w 2680"/>
              <a:gd name="T11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0" h="560">
                <a:moveTo>
                  <a:pt x="0" y="560"/>
                </a:moveTo>
                <a:cubicBezTo>
                  <a:pt x="2648" y="560"/>
                  <a:pt x="2648" y="560"/>
                  <a:pt x="2648" y="560"/>
                </a:cubicBezTo>
                <a:cubicBezTo>
                  <a:pt x="2648" y="560"/>
                  <a:pt x="2680" y="560"/>
                  <a:pt x="2680" y="528"/>
                </a:cubicBezTo>
                <a:cubicBezTo>
                  <a:pt x="2680" y="32"/>
                  <a:pt x="2680" y="32"/>
                  <a:pt x="2680" y="32"/>
                </a:cubicBezTo>
                <a:cubicBezTo>
                  <a:pt x="2680" y="32"/>
                  <a:pt x="2680" y="0"/>
                  <a:pt x="264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842434" y="1695452"/>
            <a:ext cx="10313209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5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7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9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0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1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2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4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6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8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30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3433" y="6358070"/>
            <a:ext cx="1183250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0487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846907" y="1795637"/>
            <a:ext cx="3265200" cy="269698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4458228" y="1795637"/>
            <a:ext cx="3265200" cy="269698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8069550" y="1795637"/>
            <a:ext cx="3265200" cy="269698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846908" y="4760734"/>
            <a:ext cx="3265200" cy="1440042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4458229" y="4760734"/>
            <a:ext cx="3265200" cy="1440042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8069550" y="4760734"/>
            <a:ext cx="3265200" cy="1440042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>
          <a:xfrm>
            <a:off x="838200" y="6498809"/>
            <a:ext cx="495300" cy="188119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de-DE" smtClean="0">
                <a:solidFill>
                  <a:srgbClr val="333333"/>
                </a:solidFill>
              </a:rPr>
              <a:pPr/>
              <a:t>‹#›</a:t>
            </a:fld>
            <a:endParaRPr lang="de-DE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45575" y="280733"/>
            <a:ext cx="10489175" cy="854075"/>
          </a:xfrm>
        </p:spPr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845574" y="1277982"/>
            <a:ext cx="3265200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 dirty="0" smtClean="0"/>
              <a:t>Click </a:t>
            </a:r>
            <a:r>
              <a:rPr lang="de-DE" noProof="0" dirty="0" err="1" smtClean="0"/>
              <a:t>to</a:t>
            </a:r>
            <a:r>
              <a:rPr lang="de-DE" noProof="0" dirty="0" smtClean="0"/>
              <a:t> </a:t>
            </a:r>
            <a:r>
              <a:rPr lang="de-DE" noProof="0" dirty="0" err="1" smtClean="0"/>
              <a:t>edit</a:t>
            </a:r>
            <a:r>
              <a:rPr lang="de-DE" noProof="0" dirty="0" smtClean="0"/>
              <a:t> 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58228" y="1277982"/>
            <a:ext cx="3265200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 dirty="0" smtClean="0"/>
              <a:t>Click </a:t>
            </a:r>
            <a:r>
              <a:rPr lang="de-DE" noProof="0" dirty="0" err="1" smtClean="0"/>
              <a:t>to</a:t>
            </a:r>
            <a:r>
              <a:rPr lang="de-DE" noProof="0" dirty="0" smtClean="0"/>
              <a:t> </a:t>
            </a:r>
            <a:r>
              <a:rPr lang="de-DE" noProof="0" dirty="0" err="1" smtClean="0"/>
              <a:t>edit</a:t>
            </a:r>
            <a:r>
              <a:rPr lang="de-DE" noProof="0" dirty="0" smtClean="0"/>
              <a:t> title</a:t>
            </a:r>
            <a:endParaRPr lang="de-DE" noProof="0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8069550" y="1277982"/>
            <a:ext cx="3265200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 dirty="0" smtClean="0"/>
              <a:t>Click </a:t>
            </a:r>
            <a:r>
              <a:rPr lang="de-DE" noProof="0" dirty="0" err="1" smtClean="0"/>
              <a:t>to</a:t>
            </a:r>
            <a:r>
              <a:rPr lang="de-DE" noProof="0" dirty="0" smtClean="0"/>
              <a:t> </a:t>
            </a:r>
            <a:r>
              <a:rPr lang="de-DE" noProof="0" dirty="0" err="1" smtClean="0"/>
              <a:t>edit</a:t>
            </a:r>
            <a:r>
              <a:rPr lang="de-DE" noProof="0" dirty="0" smtClean="0"/>
              <a:t> tit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60372471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08">
          <p15:clr>
            <a:srgbClr val="FBAE40"/>
          </p15:clr>
        </p15:guide>
        <p15:guide id="2" pos="4866">
          <p15:clr>
            <a:srgbClr val="FBAE40"/>
          </p15:clr>
        </p15:guide>
        <p15:guide id="3" pos="5082">
          <p15:clr>
            <a:srgbClr val="FBAE40"/>
          </p15:clr>
        </p15:guide>
        <p15:guide id="4" orient="horz" pos="2830">
          <p15:clr>
            <a:srgbClr val="FBAE40"/>
          </p15:clr>
        </p15:guide>
        <p15:guide id="5" orient="horz" pos="2998">
          <p15:clr>
            <a:srgbClr val="FBAE40"/>
          </p15:clr>
        </p15:guide>
        <p15:guide id="6" pos="2592">
          <p15:clr>
            <a:srgbClr val="FBAE40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lit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845575" y="1279981"/>
            <a:ext cx="5058000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de-DE" noProof="0" dirty="0" smtClean="0"/>
              <a:t>Click </a:t>
            </a:r>
            <a:r>
              <a:rPr lang="de-DE" noProof="0" dirty="0" err="1" smtClean="0"/>
              <a:t>to</a:t>
            </a:r>
            <a:r>
              <a:rPr lang="de-DE" noProof="0" dirty="0" smtClean="0"/>
              <a:t> </a:t>
            </a:r>
            <a:r>
              <a:rPr lang="de-DE" noProof="0" dirty="0" err="1" smtClean="0"/>
              <a:t>edit</a:t>
            </a:r>
            <a:r>
              <a:rPr lang="de-DE" noProof="0" dirty="0" smtClean="0"/>
              <a:t>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845575" y="1754561"/>
            <a:ext cx="5058000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de-DE" noProof="0" dirty="0" smtClean="0"/>
              <a:t>Text </a:t>
            </a:r>
            <a:r>
              <a:rPr lang="de-DE" noProof="0" dirty="0" err="1" smtClean="0"/>
              <a:t>level</a:t>
            </a:r>
            <a:endParaRPr lang="de-DE" noProof="0" dirty="0" smtClean="0"/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45575" y="3877590"/>
            <a:ext cx="5058000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de-DE" noProof="0" dirty="0" smtClean="0"/>
              <a:t>Click </a:t>
            </a:r>
            <a:r>
              <a:rPr lang="de-DE" noProof="0" dirty="0" err="1" smtClean="0"/>
              <a:t>to</a:t>
            </a:r>
            <a:r>
              <a:rPr lang="de-DE" noProof="0" dirty="0" smtClean="0"/>
              <a:t> </a:t>
            </a:r>
            <a:r>
              <a:rPr lang="de-DE" noProof="0" dirty="0" err="1" smtClean="0"/>
              <a:t>edit</a:t>
            </a:r>
            <a:r>
              <a:rPr lang="de-DE" noProof="0" dirty="0" smtClean="0"/>
              <a:t> tit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845575" y="4346775"/>
            <a:ext cx="5058000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de-DE" noProof="0" dirty="0" smtClean="0"/>
              <a:t>Text </a:t>
            </a:r>
            <a:r>
              <a:rPr lang="de-DE" noProof="0" dirty="0" err="1" smtClean="0"/>
              <a:t>level</a:t>
            </a:r>
            <a:endParaRPr lang="de-DE" noProof="0" dirty="0" smtClean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845575" y="1682898"/>
            <a:ext cx="5058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845575" y="4278810"/>
            <a:ext cx="5058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6276750" y="1279981"/>
            <a:ext cx="5058000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de-DE" noProof="0" dirty="0" smtClean="0"/>
              <a:t>Click </a:t>
            </a:r>
            <a:r>
              <a:rPr lang="de-DE" noProof="0" dirty="0" err="1" smtClean="0"/>
              <a:t>to</a:t>
            </a:r>
            <a:r>
              <a:rPr lang="de-DE" noProof="0" dirty="0" smtClean="0"/>
              <a:t> </a:t>
            </a:r>
            <a:r>
              <a:rPr lang="de-DE" noProof="0" dirty="0" err="1" smtClean="0"/>
              <a:t>edit</a:t>
            </a:r>
            <a:r>
              <a:rPr lang="de-DE" noProof="0" dirty="0" smtClean="0"/>
              <a:t> title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276750" y="1754561"/>
            <a:ext cx="5058000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de-DE" noProof="0" dirty="0" smtClean="0"/>
              <a:t>Text </a:t>
            </a:r>
            <a:r>
              <a:rPr lang="de-DE" noProof="0" dirty="0" err="1" smtClean="0"/>
              <a:t>level</a:t>
            </a:r>
            <a:endParaRPr lang="de-DE" noProof="0" dirty="0" smtClean="0"/>
          </a:p>
        </p:txBody>
      </p:sp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276750" y="3877590"/>
            <a:ext cx="5058000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de-DE" noProof="0" dirty="0" smtClean="0"/>
              <a:t>Click </a:t>
            </a:r>
            <a:r>
              <a:rPr lang="de-DE" noProof="0" dirty="0" err="1" smtClean="0"/>
              <a:t>to</a:t>
            </a:r>
            <a:r>
              <a:rPr lang="de-DE" noProof="0" dirty="0" smtClean="0"/>
              <a:t> </a:t>
            </a:r>
            <a:r>
              <a:rPr lang="de-DE" noProof="0" dirty="0" err="1" smtClean="0"/>
              <a:t>edit</a:t>
            </a:r>
            <a:r>
              <a:rPr lang="de-DE" noProof="0" dirty="0" smtClean="0"/>
              <a:t> title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276750" y="4346775"/>
            <a:ext cx="5058000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de-DE" noProof="0" dirty="0" smtClean="0"/>
              <a:t>Text </a:t>
            </a:r>
            <a:r>
              <a:rPr lang="de-DE" noProof="0" dirty="0" err="1" smtClean="0"/>
              <a:t>level</a:t>
            </a:r>
            <a:endParaRPr lang="de-DE" noProof="0" dirty="0" smtClean="0"/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>
            <a:off x="6276750" y="1682898"/>
            <a:ext cx="5058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6276750" y="4278810"/>
            <a:ext cx="5058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>
          <a:xfrm>
            <a:off x="838200" y="6498809"/>
            <a:ext cx="495300" cy="188119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de-DE" smtClean="0">
                <a:solidFill>
                  <a:srgbClr val="333333"/>
                </a:solidFill>
              </a:rPr>
              <a:pPr/>
              <a:t>‹#›</a:t>
            </a:fld>
            <a:endParaRPr lang="de-DE" dirty="0">
              <a:solidFill>
                <a:srgbClr val="333333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45575" y="280733"/>
            <a:ext cx="10489175" cy="854075"/>
          </a:xfrm>
        </p:spPr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93667445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53">
          <p15:clr>
            <a:srgbClr val="FBAE40"/>
          </p15:clr>
        </p15:guide>
        <p15:guide id="3" orient="horz" pos="2274">
          <p15:clr>
            <a:srgbClr val="FBAE40"/>
          </p15:clr>
        </p15:guide>
        <p15:guide id="4" orient="horz" pos="2442">
          <p15:clr>
            <a:srgbClr val="FBAE4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845575" y="280733"/>
            <a:ext cx="10489175" cy="854075"/>
          </a:xfrm>
        </p:spPr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845575" y="1278384"/>
            <a:ext cx="326520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de-DE" noProof="0" dirty="0" smtClean="0"/>
              <a:t>Click </a:t>
            </a:r>
            <a:r>
              <a:rPr lang="de-DE" noProof="0" dirty="0" err="1" smtClean="0"/>
              <a:t>to</a:t>
            </a:r>
            <a:r>
              <a:rPr lang="de-DE" noProof="0" dirty="0" smtClean="0"/>
              <a:t> </a:t>
            </a:r>
            <a:r>
              <a:rPr lang="de-DE" noProof="0" dirty="0" err="1" smtClean="0"/>
              <a:t>edit</a:t>
            </a:r>
            <a:r>
              <a:rPr lang="de-DE" noProof="0" dirty="0" smtClean="0"/>
              <a:t>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845575" y="1757278"/>
            <a:ext cx="3265200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de-DE" noProof="0" dirty="0" smtClean="0"/>
              <a:t>Text </a:t>
            </a:r>
            <a:r>
              <a:rPr lang="de-DE" noProof="0" dirty="0" err="1" smtClean="0"/>
              <a:t>level</a:t>
            </a:r>
            <a:endParaRPr lang="de-DE" noProof="0" dirty="0" smtClean="0"/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45575" y="3878568"/>
            <a:ext cx="326520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de-DE" noProof="0" dirty="0" smtClean="0"/>
              <a:t>Click </a:t>
            </a:r>
            <a:r>
              <a:rPr lang="de-DE" noProof="0" dirty="0" err="1" smtClean="0"/>
              <a:t>to</a:t>
            </a:r>
            <a:r>
              <a:rPr lang="de-DE" noProof="0" dirty="0" smtClean="0"/>
              <a:t> </a:t>
            </a:r>
            <a:r>
              <a:rPr lang="de-DE" noProof="0" dirty="0" err="1" smtClean="0"/>
              <a:t>edit</a:t>
            </a:r>
            <a:r>
              <a:rPr lang="de-DE" noProof="0" dirty="0" smtClean="0"/>
              <a:t> tit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845575" y="4346776"/>
            <a:ext cx="326520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de-DE" noProof="0" dirty="0" smtClean="0"/>
              <a:t>Text </a:t>
            </a:r>
            <a:r>
              <a:rPr lang="de-DE" noProof="0" dirty="0" err="1" smtClean="0"/>
              <a:t>level</a:t>
            </a:r>
            <a:endParaRPr lang="de-DE" noProof="0" dirty="0" smtClean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845575" y="1685616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845575" y="4278810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8069550" y="1278384"/>
            <a:ext cx="326520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de-DE" noProof="0" dirty="0" smtClean="0"/>
              <a:t>Click </a:t>
            </a:r>
            <a:r>
              <a:rPr lang="de-DE" noProof="0" dirty="0" err="1" smtClean="0"/>
              <a:t>to</a:t>
            </a:r>
            <a:r>
              <a:rPr lang="de-DE" noProof="0" dirty="0" smtClean="0"/>
              <a:t> </a:t>
            </a:r>
            <a:r>
              <a:rPr lang="de-DE" noProof="0" dirty="0" err="1" smtClean="0"/>
              <a:t>edit</a:t>
            </a:r>
            <a:r>
              <a:rPr lang="de-DE" noProof="0" dirty="0" smtClean="0"/>
              <a:t> title</a:t>
            </a:r>
          </a:p>
        </p:txBody>
      </p:sp>
      <p:sp>
        <p:nvSpPr>
          <p:cNvPr id="41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069550" y="1757278"/>
            <a:ext cx="3265200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de-DE" noProof="0" dirty="0" smtClean="0"/>
              <a:t>Text </a:t>
            </a:r>
            <a:r>
              <a:rPr lang="de-DE" noProof="0" dirty="0" err="1" smtClean="0"/>
              <a:t>level</a:t>
            </a:r>
            <a:endParaRPr lang="de-DE" noProof="0" dirty="0" smtClean="0"/>
          </a:p>
        </p:txBody>
      </p:sp>
      <p:sp>
        <p:nvSpPr>
          <p:cNvPr id="42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069550" y="3878568"/>
            <a:ext cx="326520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de-DE" noProof="0" dirty="0" smtClean="0"/>
              <a:t>Click </a:t>
            </a:r>
            <a:r>
              <a:rPr lang="de-DE" noProof="0" dirty="0" err="1" smtClean="0"/>
              <a:t>to</a:t>
            </a:r>
            <a:r>
              <a:rPr lang="de-DE" noProof="0" dirty="0" smtClean="0"/>
              <a:t> </a:t>
            </a:r>
            <a:r>
              <a:rPr lang="de-DE" noProof="0" dirty="0" err="1" smtClean="0"/>
              <a:t>edit</a:t>
            </a:r>
            <a:r>
              <a:rPr lang="de-DE" noProof="0" dirty="0" smtClean="0"/>
              <a:t> title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069550" y="4346776"/>
            <a:ext cx="326520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de-DE" noProof="0" dirty="0" smtClean="0"/>
              <a:t>Text </a:t>
            </a:r>
            <a:r>
              <a:rPr lang="de-DE" noProof="0" dirty="0" err="1" smtClean="0"/>
              <a:t>level</a:t>
            </a:r>
            <a:endParaRPr lang="de-DE" noProof="0" dirty="0" smtClean="0"/>
          </a:p>
        </p:txBody>
      </p:sp>
      <p:cxnSp>
        <p:nvCxnSpPr>
          <p:cNvPr id="44" name="Straight Connector 43"/>
          <p:cNvCxnSpPr/>
          <p:nvPr userDrawn="1"/>
        </p:nvCxnSpPr>
        <p:spPr bwMode="gray">
          <a:xfrm>
            <a:off x="8069550" y="1685616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 bwMode="gray">
          <a:xfrm>
            <a:off x="8069550" y="4278810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4457562" y="1278384"/>
            <a:ext cx="326520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de-DE" noProof="0" dirty="0" smtClean="0"/>
              <a:t>Click </a:t>
            </a:r>
            <a:r>
              <a:rPr lang="de-DE" noProof="0" dirty="0" err="1" smtClean="0"/>
              <a:t>to</a:t>
            </a:r>
            <a:r>
              <a:rPr lang="de-DE" noProof="0" dirty="0" smtClean="0"/>
              <a:t> </a:t>
            </a:r>
            <a:r>
              <a:rPr lang="de-DE" noProof="0" dirty="0" err="1" smtClean="0"/>
              <a:t>edit</a:t>
            </a:r>
            <a:r>
              <a:rPr lang="de-DE" noProof="0" dirty="0" smtClean="0"/>
              <a:t> title</a:t>
            </a:r>
          </a:p>
        </p:txBody>
      </p:sp>
      <p:sp>
        <p:nvSpPr>
          <p:cNvPr id="47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4457562" y="1757278"/>
            <a:ext cx="3265200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de-DE" noProof="0" dirty="0" smtClean="0"/>
              <a:t>Text </a:t>
            </a:r>
            <a:r>
              <a:rPr lang="de-DE" noProof="0" dirty="0" err="1" smtClean="0"/>
              <a:t>level</a:t>
            </a:r>
            <a:endParaRPr lang="de-DE" noProof="0" dirty="0" smtClean="0"/>
          </a:p>
        </p:txBody>
      </p:sp>
      <p:sp>
        <p:nvSpPr>
          <p:cNvPr id="48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4457562" y="3878568"/>
            <a:ext cx="326520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de-DE" noProof="0" dirty="0" smtClean="0"/>
              <a:t>Click </a:t>
            </a:r>
            <a:r>
              <a:rPr lang="de-DE" noProof="0" dirty="0" err="1" smtClean="0"/>
              <a:t>to</a:t>
            </a:r>
            <a:r>
              <a:rPr lang="de-DE" noProof="0" dirty="0" smtClean="0"/>
              <a:t> </a:t>
            </a:r>
            <a:r>
              <a:rPr lang="de-DE" noProof="0" dirty="0" err="1" smtClean="0"/>
              <a:t>edit</a:t>
            </a:r>
            <a:r>
              <a:rPr lang="de-DE" noProof="0" dirty="0" smtClean="0"/>
              <a:t> title</a:t>
            </a:r>
          </a:p>
        </p:txBody>
      </p:sp>
      <p:sp>
        <p:nvSpPr>
          <p:cNvPr id="49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4457562" y="4346776"/>
            <a:ext cx="326520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de-DE" noProof="0" dirty="0" smtClean="0"/>
              <a:t>Text </a:t>
            </a:r>
            <a:r>
              <a:rPr lang="de-DE" noProof="0" dirty="0" err="1" smtClean="0"/>
              <a:t>level</a:t>
            </a:r>
            <a:endParaRPr lang="de-DE" noProof="0" dirty="0" smtClean="0"/>
          </a:p>
        </p:txBody>
      </p:sp>
      <p:cxnSp>
        <p:nvCxnSpPr>
          <p:cNvPr id="50" name="Straight Connector 49"/>
          <p:cNvCxnSpPr/>
          <p:nvPr userDrawn="1"/>
        </p:nvCxnSpPr>
        <p:spPr bwMode="gray">
          <a:xfrm>
            <a:off x="4457562" y="1685616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4457562" y="4278810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31"/>
          </p:nvPr>
        </p:nvSpPr>
        <p:spPr>
          <a:xfrm>
            <a:off x="838200" y="6498809"/>
            <a:ext cx="495300" cy="188119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de-DE" smtClean="0">
                <a:solidFill>
                  <a:srgbClr val="333333"/>
                </a:solidFill>
              </a:rPr>
              <a:pPr/>
              <a:t>‹#›</a:t>
            </a:fld>
            <a:endParaRPr lang="de-DE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657731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92">
          <p15:clr>
            <a:srgbClr val="FBAE40"/>
          </p15:clr>
        </p15:guide>
        <p15:guide id="2" pos="5082">
          <p15:clr>
            <a:srgbClr val="FBAE40"/>
          </p15:clr>
        </p15:guide>
        <p15:guide id="3" pos="2803">
          <p15:clr>
            <a:srgbClr val="FBAE40"/>
          </p15:clr>
        </p15:guide>
        <p15:guide id="4" pos="4866">
          <p15:clr>
            <a:srgbClr val="FBAE40"/>
          </p15:clr>
        </p15:guide>
        <p15:guide id="5" orient="horz" pos="2274">
          <p15:clr>
            <a:srgbClr val="FBAE40"/>
          </p15:clr>
        </p15:guide>
        <p15:guide id="6" orient="horz" pos="2442">
          <p15:clr>
            <a:srgbClr val="FBAE40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845575" y="280733"/>
            <a:ext cx="10489175" cy="854075"/>
          </a:xfrm>
        </p:spPr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845574" y="1278384"/>
            <a:ext cx="255600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de-DE" noProof="0" dirty="0" smtClean="0"/>
              <a:t>Click </a:t>
            </a:r>
            <a:r>
              <a:rPr lang="de-DE" noProof="0" dirty="0" err="1" smtClean="0"/>
              <a:t>to</a:t>
            </a:r>
            <a:r>
              <a:rPr lang="de-DE" noProof="0" dirty="0" smtClean="0"/>
              <a:t> </a:t>
            </a:r>
            <a:r>
              <a:rPr lang="de-DE" noProof="0" dirty="0" err="1" smtClean="0"/>
              <a:t>edit</a:t>
            </a:r>
            <a:r>
              <a:rPr lang="de-DE" noProof="0" dirty="0" smtClean="0"/>
              <a:t>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845574" y="1757279"/>
            <a:ext cx="255600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de-DE" noProof="0" dirty="0" smtClean="0"/>
              <a:t>Text </a:t>
            </a:r>
            <a:r>
              <a:rPr lang="de-DE" noProof="0" dirty="0" err="1" smtClean="0"/>
              <a:t>level</a:t>
            </a:r>
            <a:endParaRPr lang="de-DE" noProof="0" dirty="0" smtClean="0"/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45574" y="3878568"/>
            <a:ext cx="255600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de-DE" noProof="0" dirty="0" smtClean="0"/>
              <a:t>Click </a:t>
            </a:r>
            <a:r>
              <a:rPr lang="de-DE" noProof="0" dirty="0" err="1" smtClean="0"/>
              <a:t>to</a:t>
            </a:r>
            <a:r>
              <a:rPr lang="de-DE" noProof="0" dirty="0" smtClean="0"/>
              <a:t> </a:t>
            </a:r>
            <a:r>
              <a:rPr lang="de-DE" noProof="0" dirty="0" err="1" smtClean="0"/>
              <a:t>edit</a:t>
            </a:r>
            <a:r>
              <a:rPr lang="de-DE" noProof="0" dirty="0" smtClean="0"/>
              <a:t> tit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845574" y="4346776"/>
            <a:ext cx="255600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de-DE" noProof="0" dirty="0" smtClean="0"/>
              <a:t>Text </a:t>
            </a:r>
            <a:r>
              <a:rPr lang="de-DE" noProof="0" dirty="0" err="1" smtClean="0"/>
              <a:t>level</a:t>
            </a:r>
            <a:endParaRPr lang="de-DE" noProof="0" dirty="0" smtClean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845574" y="1685616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845574" y="4278810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89966" y="1278384"/>
            <a:ext cx="255600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de-DE" noProof="0" dirty="0" smtClean="0"/>
              <a:t>Click </a:t>
            </a:r>
            <a:r>
              <a:rPr lang="de-DE" noProof="0" dirty="0" err="1" smtClean="0"/>
              <a:t>to</a:t>
            </a:r>
            <a:r>
              <a:rPr lang="de-DE" noProof="0" dirty="0" smtClean="0"/>
              <a:t> </a:t>
            </a:r>
            <a:r>
              <a:rPr lang="de-DE" noProof="0" dirty="0" err="1" smtClean="0"/>
              <a:t>edit</a:t>
            </a:r>
            <a:r>
              <a:rPr lang="de-DE" noProof="0" dirty="0" smtClean="0"/>
              <a:t> title</a:t>
            </a:r>
          </a:p>
        </p:txBody>
      </p:sp>
      <p:sp>
        <p:nvSpPr>
          <p:cNvPr id="52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3489966" y="1757279"/>
            <a:ext cx="255600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de-DE" noProof="0" dirty="0" smtClean="0"/>
              <a:t>Text </a:t>
            </a:r>
            <a:r>
              <a:rPr lang="de-DE" noProof="0" dirty="0" err="1" smtClean="0"/>
              <a:t>level</a:t>
            </a:r>
            <a:endParaRPr lang="de-DE" noProof="0" dirty="0" smtClean="0"/>
          </a:p>
        </p:txBody>
      </p:sp>
      <p:sp>
        <p:nvSpPr>
          <p:cNvPr id="53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3489966" y="3878568"/>
            <a:ext cx="255600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de-DE" noProof="0" dirty="0" smtClean="0"/>
              <a:t>Click </a:t>
            </a:r>
            <a:r>
              <a:rPr lang="de-DE" noProof="0" dirty="0" err="1" smtClean="0"/>
              <a:t>to</a:t>
            </a:r>
            <a:r>
              <a:rPr lang="de-DE" noProof="0" dirty="0" smtClean="0"/>
              <a:t> </a:t>
            </a:r>
            <a:r>
              <a:rPr lang="de-DE" noProof="0" dirty="0" err="1" smtClean="0"/>
              <a:t>edit</a:t>
            </a:r>
            <a:r>
              <a:rPr lang="de-DE" noProof="0" dirty="0" smtClean="0"/>
              <a:t> title</a:t>
            </a:r>
          </a:p>
        </p:txBody>
      </p:sp>
      <p:sp>
        <p:nvSpPr>
          <p:cNvPr id="54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3489966" y="4346776"/>
            <a:ext cx="255600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de-DE" noProof="0" dirty="0" smtClean="0"/>
              <a:t>Text </a:t>
            </a:r>
            <a:r>
              <a:rPr lang="de-DE" noProof="0" dirty="0" err="1" smtClean="0"/>
              <a:t>level</a:t>
            </a:r>
            <a:endParaRPr lang="de-DE" noProof="0" dirty="0" smtClean="0"/>
          </a:p>
        </p:txBody>
      </p:sp>
      <p:cxnSp>
        <p:nvCxnSpPr>
          <p:cNvPr id="55" name="Straight Connector 54"/>
          <p:cNvCxnSpPr/>
          <p:nvPr userDrawn="1"/>
        </p:nvCxnSpPr>
        <p:spPr bwMode="gray">
          <a:xfrm>
            <a:off x="3489966" y="1685616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 bwMode="gray">
          <a:xfrm>
            <a:off x="3489966" y="4278810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6134358" y="1278384"/>
            <a:ext cx="255600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de-DE" noProof="0" dirty="0" smtClean="0"/>
              <a:t>Click </a:t>
            </a:r>
            <a:r>
              <a:rPr lang="de-DE" noProof="0" dirty="0" err="1" smtClean="0"/>
              <a:t>to</a:t>
            </a:r>
            <a:r>
              <a:rPr lang="de-DE" noProof="0" dirty="0" smtClean="0"/>
              <a:t> </a:t>
            </a:r>
            <a:r>
              <a:rPr lang="de-DE" noProof="0" dirty="0" err="1" smtClean="0"/>
              <a:t>edit</a:t>
            </a:r>
            <a:r>
              <a:rPr lang="de-DE" noProof="0" dirty="0" smtClean="0"/>
              <a:t> title</a:t>
            </a:r>
          </a:p>
        </p:txBody>
      </p:sp>
      <p:sp>
        <p:nvSpPr>
          <p:cNvPr id="58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6134358" y="1757279"/>
            <a:ext cx="255600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de-DE" noProof="0" dirty="0" smtClean="0"/>
              <a:t>Text </a:t>
            </a:r>
            <a:r>
              <a:rPr lang="de-DE" noProof="0" dirty="0" err="1" smtClean="0"/>
              <a:t>level</a:t>
            </a:r>
            <a:endParaRPr lang="de-DE" noProof="0" dirty="0" smtClean="0"/>
          </a:p>
        </p:txBody>
      </p:sp>
      <p:sp>
        <p:nvSpPr>
          <p:cNvPr id="59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6134358" y="3878568"/>
            <a:ext cx="255600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de-DE" noProof="0" dirty="0" smtClean="0"/>
              <a:t>Click </a:t>
            </a:r>
            <a:r>
              <a:rPr lang="de-DE" noProof="0" dirty="0" err="1" smtClean="0"/>
              <a:t>to</a:t>
            </a:r>
            <a:r>
              <a:rPr lang="de-DE" noProof="0" dirty="0" smtClean="0"/>
              <a:t> </a:t>
            </a:r>
            <a:r>
              <a:rPr lang="de-DE" noProof="0" dirty="0" err="1" smtClean="0"/>
              <a:t>edit</a:t>
            </a:r>
            <a:r>
              <a:rPr lang="de-DE" noProof="0" dirty="0" smtClean="0"/>
              <a:t> title</a:t>
            </a:r>
          </a:p>
        </p:txBody>
      </p:sp>
      <p:sp>
        <p:nvSpPr>
          <p:cNvPr id="60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6134358" y="4346776"/>
            <a:ext cx="255600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de-DE" noProof="0" dirty="0" smtClean="0"/>
              <a:t>Text </a:t>
            </a:r>
            <a:r>
              <a:rPr lang="de-DE" noProof="0" dirty="0" err="1" smtClean="0"/>
              <a:t>level</a:t>
            </a:r>
            <a:endParaRPr lang="de-DE" noProof="0" dirty="0" smtClean="0"/>
          </a:p>
        </p:txBody>
      </p:sp>
      <p:cxnSp>
        <p:nvCxnSpPr>
          <p:cNvPr id="61" name="Straight Connector 60"/>
          <p:cNvCxnSpPr/>
          <p:nvPr userDrawn="1"/>
        </p:nvCxnSpPr>
        <p:spPr bwMode="gray">
          <a:xfrm>
            <a:off x="6134358" y="1685616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 bwMode="gray">
          <a:xfrm>
            <a:off x="6134358" y="4278810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2"/>
          <p:cNvSpPr>
            <a:spLocks noGrp="1"/>
          </p:cNvSpPr>
          <p:nvPr>
            <p:ph idx="30" hasCustomPrompt="1"/>
          </p:nvPr>
        </p:nvSpPr>
        <p:spPr bwMode="gray">
          <a:xfrm>
            <a:off x="8778750" y="1278384"/>
            <a:ext cx="255600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de-DE" noProof="0" dirty="0" smtClean="0"/>
              <a:t>Click </a:t>
            </a:r>
            <a:r>
              <a:rPr lang="de-DE" noProof="0" dirty="0" err="1" smtClean="0"/>
              <a:t>to</a:t>
            </a:r>
            <a:r>
              <a:rPr lang="de-DE" noProof="0" dirty="0" smtClean="0"/>
              <a:t> </a:t>
            </a:r>
            <a:r>
              <a:rPr lang="de-DE" noProof="0" dirty="0" err="1" smtClean="0"/>
              <a:t>edit</a:t>
            </a:r>
            <a:r>
              <a:rPr lang="de-DE" noProof="0" dirty="0" smtClean="0"/>
              <a:t> title</a:t>
            </a:r>
          </a:p>
        </p:txBody>
      </p:sp>
      <p:sp>
        <p:nvSpPr>
          <p:cNvPr id="64" name="Content Placeholder 2"/>
          <p:cNvSpPr>
            <a:spLocks noGrp="1"/>
          </p:cNvSpPr>
          <p:nvPr>
            <p:ph idx="31" hasCustomPrompt="1"/>
          </p:nvPr>
        </p:nvSpPr>
        <p:spPr bwMode="gray">
          <a:xfrm>
            <a:off x="8778750" y="1757279"/>
            <a:ext cx="255600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de-DE" noProof="0" dirty="0" smtClean="0"/>
              <a:t>Text </a:t>
            </a:r>
            <a:r>
              <a:rPr lang="de-DE" noProof="0" dirty="0" err="1" smtClean="0"/>
              <a:t>level</a:t>
            </a:r>
            <a:endParaRPr lang="de-DE" noProof="0" dirty="0" smtClean="0"/>
          </a:p>
        </p:txBody>
      </p:sp>
      <p:sp>
        <p:nvSpPr>
          <p:cNvPr id="65" name="Content Placeholder 2"/>
          <p:cNvSpPr>
            <a:spLocks noGrp="1"/>
          </p:cNvSpPr>
          <p:nvPr>
            <p:ph idx="32" hasCustomPrompt="1"/>
          </p:nvPr>
        </p:nvSpPr>
        <p:spPr bwMode="gray">
          <a:xfrm>
            <a:off x="8778750" y="3878568"/>
            <a:ext cx="255600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de-DE" noProof="0" dirty="0" smtClean="0"/>
              <a:t>Click </a:t>
            </a:r>
            <a:r>
              <a:rPr lang="de-DE" noProof="0" dirty="0" err="1" smtClean="0"/>
              <a:t>to</a:t>
            </a:r>
            <a:r>
              <a:rPr lang="de-DE" noProof="0" dirty="0" smtClean="0"/>
              <a:t> </a:t>
            </a:r>
            <a:r>
              <a:rPr lang="de-DE" noProof="0" dirty="0" err="1" smtClean="0"/>
              <a:t>edit</a:t>
            </a:r>
            <a:r>
              <a:rPr lang="de-DE" noProof="0" dirty="0" smtClean="0"/>
              <a:t> title</a:t>
            </a:r>
          </a:p>
        </p:txBody>
      </p:sp>
      <p:sp>
        <p:nvSpPr>
          <p:cNvPr id="66" name="Content Placeholder 2"/>
          <p:cNvSpPr>
            <a:spLocks noGrp="1"/>
          </p:cNvSpPr>
          <p:nvPr>
            <p:ph idx="33" hasCustomPrompt="1"/>
          </p:nvPr>
        </p:nvSpPr>
        <p:spPr bwMode="gray">
          <a:xfrm>
            <a:off x="8778750" y="4346776"/>
            <a:ext cx="255600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de-DE" noProof="0" dirty="0" smtClean="0"/>
              <a:t>Text </a:t>
            </a:r>
            <a:r>
              <a:rPr lang="de-DE" noProof="0" dirty="0" err="1" smtClean="0"/>
              <a:t>level</a:t>
            </a:r>
            <a:endParaRPr lang="de-DE" noProof="0" dirty="0" smtClean="0"/>
          </a:p>
        </p:txBody>
      </p:sp>
      <p:cxnSp>
        <p:nvCxnSpPr>
          <p:cNvPr id="67" name="Straight Connector 66"/>
          <p:cNvCxnSpPr/>
          <p:nvPr userDrawn="1"/>
        </p:nvCxnSpPr>
        <p:spPr bwMode="gray">
          <a:xfrm>
            <a:off x="8778750" y="1685616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 userDrawn="1"/>
        </p:nvCxnSpPr>
        <p:spPr bwMode="gray">
          <a:xfrm>
            <a:off x="8778750" y="4278810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35"/>
          </p:nvPr>
        </p:nvSpPr>
        <p:spPr>
          <a:xfrm>
            <a:off x="838200" y="6498809"/>
            <a:ext cx="495300" cy="188119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de-DE" smtClean="0">
                <a:solidFill>
                  <a:srgbClr val="333333"/>
                </a:solidFill>
              </a:rPr>
              <a:pPr/>
              <a:t>‹#›</a:t>
            </a:fld>
            <a:endParaRPr lang="de-DE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057038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149">
          <p15:clr>
            <a:srgbClr val="FBAE40"/>
          </p15:clr>
        </p15:guide>
        <p15:guide id="2" pos="5480">
          <p15:clr>
            <a:srgbClr val="FBAE40"/>
          </p15:clr>
        </p15:guide>
        <p15:guide id="3" pos="3864">
          <p15:clr>
            <a:srgbClr val="FBAE40"/>
          </p15:clr>
        </p15:guide>
        <p15:guide id="4" pos="2196">
          <p15:clr>
            <a:srgbClr val="FBAE40"/>
          </p15:clr>
        </p15:guide>
        <p15:guide id="5" pos="3809">
          <p15:clr>
            <a:srgbClr val="FBAE40"/>
          </p15:clr>
        </p15:guide>
        <p15:guide id="6" pos="5528">
          <p15:clr>
            <a:srgbClr val="FBAE40"/>
          </p15:clr>
        </p15:guide>
        <p15:guide id="7" orient="horz" pos="2274">
          <p15:clr>
            <a:srgbClr val="FBAE40"/>
          </p15:clr>
        </p15:guide>
        <p15:guide id="8" orient="horz" pos="2442">
          <p15:clr>
            <a:srgbClr val="FBAE4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547528" y="1270000"/>
            <a:ext cx="6787224" cy="4978400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 bwMode="gray">
          <a:xfrm>
            <a:off x="693739" y="280732"/>
            <a:ext cx="3443287" cy="5920066"/>
          </a:xfrm>
          <a:custGeom>
            <a:avLst/>
            <a:gdLst>
              <a:gd name="connsiteX0" fmla="*/ 95997 w 3443287"/>
              <a:gd name="connsiteY0" fmla="*/ 0 h 5920066"/>
              <a:gd name="connsiteX1" fmla="*/ 3443287 w 3443287"/>
              <a:gd name="connsiteY1" fmla="*/ 0 h 5920066"/>
              <a:gd name="connsiteX2" fmla="*/ 3443287 w 3443287"/>
              <a:gd name="connsiteY2" fmla="*/ 5920066 h 5920066"/>
              <a:gd name="connsiteX3" fmla="*/ 95989 w 3443287"/>
              <a:gd name="connsiteY3" fmla="*/ 5920066 h 5920066"/>
              <a:gd name="connsiteX4" fmla="*/ 64311 w 3443287"/>
              <a:gd name="connsiteY4" fmla="*/ 5915938 h 5920066"/>
              <a:gd name="connsiteX5" fmla="*/ 0 w 3443287"/>
              <a:gd name="connsiteY5" fmla="*/ 5823957 h 5920066"/>
              <a:gd name="connsiteX6" fmla="*/ 0 w 3443287"/>
              <a:gd name="connsiteY6" fmla="*/ 5820222 h 5920066"/>
              <a:gd name="connsiteX7" fmla="*/ 0 w 3443287"/>
              <a:gd name="connsiteY7" fmla="*/ 5811351 h 5920066"/>
              <a:gd name="connsiteX8" fmla="*/ 0 w 3443287"/>
              <a:gd name="connsiteY8" fmla="*/ 5794075 h 5920066"/>
              <a:gd name="connsiteX9" fmla="*/ 0 w 3443287"/>
              <a:gd name="connsiteY9" fmla="*/ 5765594 h 5920066"/>
              <a:gd name="connsiteX10" fmla="*/ 0 w 3443287"/>
              <a:gd name="connsiteY10" fmla="*/ 5723106 h 5920066"/>
              <a:gd name="connsiteX11" fmla="*/ 0 w 3443287"/>
              <a:gd name="connsiteY11" fmla="*/ 5663809 h 5920066"/>
              <a:gd name="connsiteX12" fmla="*/ 0 w 3443287"/>
              <a:gd name="connsiteY12" fmla="*/ 5584902 h 5920066"/>
              <a:gd name="connsiteX13" fmla="*/ 0 w 3443287"/>
              <a:gd name="connsiteY13" fmla="*/ 5549717 h 5920066"/>
              <a:gd name="connsiteX14" fmla="*/ 0 w 3443287"/>
              <a:gd name="connsiteY14" fmla="*/ 5548611 h 5920066"/>
              <a:gd name="connsiteX15" fmla="*/ 0 w 3443287"/>
              <a:gd name="connsiteY15" fmla="*/ 5540863 h 5920066"/>
              <a:gd name="connsiteX16" fmla="*/ 0 w 3443287"/>
              <a:gd name="connsiteY16" fmla="*/ 5520020 h 5920066"/>
              <a:gd name="connsiteX17" fmla="*/ 0 w 3443287"/>
              <a:gd name="connsiteY17" fmla="*/ 5519835 h 5920066"/>
              <a:gd name="connsiteX18" fmla="*/ 0 w 3443287"/>
              <a:gd name="connsiteY18" fmla="*/ 5478886 h 5920066"/>
              <a:gd name="connsiteX19" fmla="*/ 0 w 3443287"/>
              <a:gd name="connsiteY19" fmla="*/ 5448866 h 5920066"/>
              <a:gd name="connsiteX20" fmla="*/ 0 w 3443287"/>
              <a:gd name="connsiteY20" fmla="*/ 5444347 h 5920066"/>
              <a:gd name="connsiteX21" fmla="*/ 0 w 3443287"/>
              <a:gd name="connsiteY21" fmla="*/ 5411375 h 5920066"/>
              <a:gd name="connsiteX22" fmla="*/ 0 w 3443287"/>
              <a:gd name="connsiteY22" fmla="*/ 5365584 h 5920066"/>
              <a:gd name="connsiteX23" fmla="*/ 0 w 3443287"/>
              <a:gd name="connsiteY23" fmla="*/ 5357053 h 5920066"/>
              <a:gd name="connsiteX24" fmla="*/ 0 w 3443287"/>
              <a:gd name="connsiteY24" fmla="*/ 5310662 h 5920066"/>
              <a:gd name="connsiteX25" fmla="*/ 0 w 3443287"/>
              <a:gd name="connsiteY25" fmla="*/ 5257308 h 5920066"/>
              <a:gd name="connsiteX26" fmla="*/ 0 w 3443287"/>
              <a:gd name="connsiteY26" fmla="*/ 5245780 h 5920066"/>
              <a:gd name="connsiteX27" fmla="*/ 0 w 3443287"/>
              <a:gd name="connsiteY27" fmla="*/ 5170107 h 5920066"/>
              <a:gd name="connsiteX28" fmla="*/ 0 w 3443287"/>
              <a:gd name="connsiteY28" fmla="*/ 5144283 h 5920066"/>
              <a:gd name="connsiteX29" fmla="*/ 0 w 3443287"/>
              <a:gd name="connsiteY29" fmla="*/ 5082813 h 5920066"/>
              <a:gd name="connsiteX30" fmla="*/ 0 w 3443287"/>
              <a:gd name="connsiteY30" fmla="*/ 5017146 h 5920066"/>
              <a:gd name="connsiteX31" fmla="*/ 0 w 3443287"/>
              <a:gd name="connsiteY31" fmla="*/ 4983068 h 5920066"/>
              <a:gd name="connsiteX32" fmla="*/ 0 w 3443287"/>
              <a:gd name="connsiteY32" fmla="*/ 4903543 h 5920066"/>
              <a:gd name="connsiteX33" fmla="*/ 0 w 3443287"/>
              <a:gd name="connsiteY33" fmla="*/ 4899808 h 5920066"/>
              <a:gd name="connsiteX34" fmla="*/ 0 w 3443287"/>
              <a:gd name="connsiteY34" fmla="*/ 4890937 h 5920066"/>
              <a:gd name="connsiteX35" fmla="*/ 0 w 3443287"/>
              <a:gd name="connsiteY35" fmla="*/ 4875069 h 5920066"/>
              <a:gd name="connsiteX36" fmla="*/ 0 w 3443287"/>
              <a:gd name="connsiteY36" fmla="*/ 4873661 h 5920066"/>
              <a:gd name="connsiteX37" fmla="*/ 0 w 3443287"/>
              <a:gd name="connsiteY37" fmla="*/ 4870043 h 5920066"/>
              <a:gd name="connsiteX38" fmla="*/ 0 w 3443287"/>
              <a:gd name="connsiteY38" fmla="*/ 4845180 h 5920066"/>
              <a:gd name="connsiteX39" fmla="*/ 0 w 3443287"/>
              <a:gd name="connsiteY39" fmla="*/ 4802692 h 5920066"/>
              <a:gd name="connsiteX40" fmla="*/ 0 w 3443287"/>
              <a:gd name="connsiteY40" fmla="*/ 4743395 h 5920066"/>
              <a:gd name="connsiteX41" fmla="*/ 0 w 3443287"/>
              <a:gd name="connsiteY41" fmla="*/ 4742906 h 5920066"/>
              <a:gd name="connsiteX42" fmla="*/ 0 w 3443287"/>
              <a:gd name="connsiteY42" fmla="*/ 4717221 h 5920066"/>
              <a:gd name="connsiteX43" fmla="*/ 0 w 3443287"/>
              <a:gd name="connsiteY43" fmla="*/ 4664488 h 5920066"/>
              <a:gd name="connsiteX44" fmla="*/ 0 w 3443287"/>
              <a:gd name="connsiteY44" fmla="*/ 4629303 h 5920066"/>
              <a:gd name="connsiteX45" fmla="*/ 0 w 3443287"/>
              <a:gd name="connsiteY45" fmla="*/ 4628197 h 5920066"/>
              <a:gd name="connsiteX46" fmla="*/ 0 w 3443287"/>
              <a:gd name="connsiteY46" fmla="*/ 4620449 h 5920066"/>
              <a:gd name="connsiteX47" fmla="*/ 0 w 3443287"/>
              <a:gd name="connsiteY47" fmla="*/ 4600829 h 5920066"/>
              <a:gd name="connsiteX48" fmla="*/ 0 w 3443287"/>
              <a:gd name="connsiteY48" fmla="*/ 4599606 h 5920066"/>
              <a:gd name="connsiteX49" fmla="*/ 0 w 3443287"/>
              <a:gd name="connsiteY49" fmla="*/ 4599421 h 5920066"/>
              <a:gd name="connsiteX50" fmla="*/ 0 w 3443287"/>
              <a:gd name="connsiteY50" fmla="*/ 4558472 h 5920066"/>
              <a:gd name="connsiteX51" fmla="*/ 0 w 3443287"/>
              <a:gd name="connsiteY51" fmla="*/ 4542771 h 5920066"/>
              <a:gd name="connsiteX52" fmla="*/ 0 w 3443287"/>
              <a:gd name="connsiteY52" fmla="*/ 4528452 h 5920066"/>
              <a:gd name="connsiteX53" fmla="*/ 0 w 3443287"/>
              <a:gd name="connsiteY53" fmla="*/ 4523933 h 5920066"/>
              <a:gd name="connsiteX54" fmla="*/ 0 w 3443287"/>
              <a:gd name="connsiteY54" fmla="*/ 4490961 h 5920066"/>
              <a:gd name="connsiteX55" fmla="*/ 0 w 3443287"/>
              <a:gd name="connsiteY55" fmla="*/ 4445170 h 5920066"/>
              <a:gd name="connsiteX56" fmla="*/ 0 w 3443287"/>
              <a:gd name="connsiteY56" fmla="*/ 4442981 h 5920066"/>
              <a:gd name="connsiteX57" fmla="*/ 0 w 3443287"/>
              <a:gd name="connsiteY57" fmla="*/ 4436639 h 5920066"/>
              <a:gd name="connsiteX58" fmla="*/ 0 w 3443287"/>
              <a:gd name="connsiteY58" fmla="*/ 4390248 h 5920066"/>
              <a:gd name="connsiteX59" fmla="*/ 0 w 3443287"/>
              <a:gd name="connsiteY59" fmla="*/ 4350891 h 5920066"/>
              <a:gd name="connsiteX60" fmla="*/ 0 w 3443287"/>
              <a:gd name="connsiteY60" fmla="*/ 4336894 h 5920066"/>
              <a:gd name="connsiteX61" fmla="*/ 0 w 3443287"/>
              <a:gd name="connsiteY61" fmla="*/ 4325366 h 5920066"/>
              <a:gd name="connsiteX62" fmla="*/ 0 w 3443287"/>
              <a:gd name="connsiteY62" fmla="*/ 4268531 h 5920066"/>
              <a:gd name="connsiteX63" fmla="*/ 0 w 3443287"/>
              <a:gd name="connsiteY63" fmla="*/ 4249693 h 5920066"/>
              <a:gd name="connsiteX64" fmla="*/ 0 w 3443287"/>
              <a:gd name="connsiteY64" fmla="*/ 4223869 h 5920066"/>
              <a:gd name="connsiteX65" fmla="*/ 0 w 3443287"/>
              <a:gd name="connsiteY65" fmla="*/ 4162399 h 5920066"/>
              <a:gd name="connsiteX66" fmla="*/ 0 w 3443287"/>
              <a:gd name="connsiteY66" fmla="*/ 4140749 h 5920066"/>
              <a:gd name="connsiteX67" fmla="*/ 0 w 3443287"/>
              <a:gd name="connsiteY67" fmla="*/ 4096732 h 5920066"/>
              <a:gd name="connsiteX68" fmla="*/ 0 w 3443287"/>
              <a:gd name="connsiteY68" fmla="*/ 4076651 h 5920066"/>
              <a:gd name="connsiteX69" fmla="*/ 0 w 3443287"/>
              <a:gd name="connsiteY69" fmla="*/ 4062654 h 5920066"/>
              <a:gd name="connsiteX70" fmla="*/ 0 w 3443287"/>
              <a:gd name="connsiteY70" fmla="*/ 3954655 h 5920066"/>
              <a:gd name="connsiteX71" fmla="*/ 0 w 3443287"/>
              <a:gd name="connsiteY71" fmla="*/ 3949629 h 5920066"/>
              <a:gd name="connsiteX72" fmla="*/ 0 w 3443287"/>
              <a:gd name="connsiteY72" fmla="*/ 3911516 h 5920066"/>
              <a:gd name="connsiteX73" fmla="*/ 0 w 3443287"/>
              <a:gd name="connsiteY73" fmla="*/ 3866509 h 5920066"/>
              <a:gd name="connsiteX74" fmla="*/ 0 w 3443287"/>
              <a:gd name="connsiteY74" fmla="*/ 3822492 h 5920066"/>
              <a:gd name="connsiteX75" fmla="*/ 0 w 3443287"/>
              <a:gd name="connsiteY75" fmla="*/ 3796807 h 5920066"/>
              <a:gd name="connsiteX76" fmla="*/ 0 w 3443287"/>
              <a:gd name="connsiteY76" fmla="*/ 3680415 h 5920066"/>
              <a:gd name="connsiteX77" fmla="*/ 0 w 3443287"/>
              <a:gd name="connsiteY77" fmla="*/ 3662362 h 5920066"/>
              <a:gd name="connsiteX78" fmla="*/ 0 w 3443287"/>
              <a:gd name="connsiteY78" fmla="*/ 3637276 h 5920066"/>
              <a:gd name="connsiteX79" fmla="*/ 0 w 3443287"/>
              <a:gd name="connsiteY79" fmla="*/ 3622357 h 5920066"/>
              <a:gd name="connsiteX80" fmla="*/ 0 w 3443287"/>
              <a:gd name="connsiteY80" fmla="*/ 3522567 h 5920066"/>
              <a:gd name="connsiteX81" fmla="*/ 0 w 3443287"/>
              <a:gd name="connsiteY81" fmla="*/ 3430477 h 5920066"/>
              <a:gd name="connsiteX82" fmla="*/ 0 w 3443287"/>
              <a:gd name="connsiteY82" fmla="*/ 3392457 h 5920066"/>
              <a:gd name="connsiteX83" fmla="*/ 0 w 3443287"/>
              <a:gd name="connsiteY83" fmla="*/ 3388122 h 5920066"/>
              <a:gd name="connsiteX84" fmla="*/ 0 w 3443287"/>
              <a:gd name="connsiteY84" fmla="*/ 3348117 h 5920066"/>
              <a:gd name="connsiteX85" fmla="*/ 0 w 3443287"/>
              <a:gd name="connsiteY85" fmla="*/ 3220335 h 5920066"/>
              <a:gd name="connsiteX86" fmla="*/ 0 w 3443287"/>
              <a:gd name="connsiteY86" fmla="*/ 3156237 h 5920066"/>
              <a:gd name="connsiteX87" fmla="*/ 0 w 3443287"/>
              <a:gd name="connsiteY87" fmla="*/ 3118217 h 5920066"/>
              <a:gd name="connsiteX88" fmla="*/ 0 w 3443287"/>
              <a:gd name="connsiteY88" fmla="*/ 3100970 h 5920066"/>
              <a:gd name="connsiteX89" fmla="*/ 0 w 3443287"/>
              <a:gd name="connsiteY89" fmla="*/ 2991102 h 5920066"/>
              <a:gd name="connsiteX90" fmla="*/ 0 w 3443287"/>
              <a:gd name="connsiteY90" fmla="*/ 2946095 h 5920066"/>
              <a:gd name="connsiteX91" fmla="*/ 0 w 3443287"/>
              <a:gd name="connsiteY91" fmla="*/ 2826730 h 5920066"/>
              <a:gd name="connsiteX92" fmla="*/ 0 w 3443287"/>
              <a:gd name="connsiteY92" fmla="*/ 2787072 h 5920066"/>
              <a:gd name="connsiteX93" fmla="*/ 0 w 3443287"/>
              <a:gd name="connsiteY93" fmla="*/ 2741948 h 5920066"/>
              <a:gd name="connsiteX94" fmla="*/ 0 w 3443287"/>
              <a:gd name="connsiteY94" fmla="*/ 2716862 h 5920066"/>
              <a:gd name="connsiteX95" fmla="*/ 0 w 3443287"/>
              <a:gd name="connsiteY95" fmla="*/ 2512832 h 5920066"/>
              <a:gd name="connsiteX96" fmla="*/ 0 w 3443287"/>
              <a:gd name="connsiteY96" fmla="*/ 2472043 h 5920066"/>
              <a:gd name="connsiteX97" fmla="*/ 0 w 3443287"/>
              <a:gd name="connsiteY97" fmla="*/ 2467708 h 5920066"/>
              <a:gd name="connsiteX98" fmla="*/ 0 w 3443287"/>
              <a:gd name="connsiteY98" fmla="*/ 2449933 h 5920066"/>
              <a:gd name="connsiteX99" fmla="*/ 0 w 3443287"/>
              <a:gd name="connsiteY99" fmla="*/ 2197803 h 5920066"/>
              <a:gd name="connsiteX100" fmla="*/ 0 w 3443287"/>
              <a:gd name="connsiteY100" fmla="*/ 2180556 h 5920066"/>
              <a:gd name="connsiteX101" fmla="*/ 0 w 3443287"/>
              <a:gd name="connsiteY101" fmla="*/ 2175692 h 5920066"/>
              <a:gd name="connsiteX102" fmla="*/ 0 w 3443287"/>
              <a:gd name="connsiteY102" fmla="*/ 2088721 h 5920066"/>
              <a:gd name="connsiteX103" fmla="*/ 0 w 3443287"/>
              <a:gd name="connsiteY103" fmla="*/ 1906316 h 5920066"/>
              <a:gd name="connsiteX104" fmla="*/ 0 w 3443287"/>
              <a:gd name="connsiteY104" fmla="*/ 1866658 h 5920066"/>
              <a:gd name="connsiteX105" fmla="*/ 0 w 3443287"/>
              <a:gd name="connsiteY105" fmla="*/ 1814481 h 5920066"/>
              <a:gd name="connsiteX106" fmla="*/ 0 w 3443287"/>
              <a:gd name="connsiteY106" fmla="*/ 1702609 h 5920066"/>
              <a:gd name="connsiteX107" fmla="*/ 0 w 3443287"/>
              <a:gd name="connsiteY107" fmla="*/ 1592418 h 5920066"/>
              <a:gd name="connsiteX108" fmla="*/ 0 w 3443287"/>
              <a:gd name="connsiteY108" fmla="*/ 1529519 h 5920066"/>
              <a:gd name="connsiteX109" fmla="*/ 0 w 3443287"/>
              <a:gd name="connsiteY109" fmla="*/ 1428369 h 5920066"/>
              <a:gd name="connsiteX110" fmla="*/ 0 w 3443287"/>
              <a:gd name="connsiteY110" fmla="*/ 1290764 h 5920066"/>
              <a:gd name="connsiteX111" fmla="*/ 0 w 3443287"/>
              <a:gd name="connsiteY111" fmla="*/ 1255278 h 5920066"/>
              <a:gd name="connsiteX112" fmla="*/ 0 w 3443287"/>
              <a:gd name="connsiteY112" fmla="*/ 1168307 h 5920066"/>
              <a:gd name="connsiteX113" fmla="*/ 0 w 3443287"/>
              <a:gd name="connsiteY113" fmla="*/ 1016524 h 5920066"/>
              <a:gd name="connsiteX114" fmla="*/ 0 w 3443287"/>
              <a:gd name="connsiteY114" fmla="*/ 894067 h 5920066"/>
              <a:gd name="connsiteX115" fmla="*/ 0 w 3443287"/>
              <a:gd name="connsiteY115" fmla="*/ 782195 h 5920066"/>
              <a:gd name="connsiteX116" fmla="*/ 0 w 3443287"/>
              <a:gd name="connsiteY116" fmla="*/ 507955 h 5920066"/>
              <a:gd name="connsiteX117" fmla="*/ 0 w 3443287"/>
              <a:gd name="connsiteY117" fmla="*/ 370350 h 5920066"/>
              <a:gd name="connsiteX118" fmla="*/ 0 w 3443287"/>
              <a:gd name="connsiteY118" fmla="*/ 96110 h 5920066"/>
              <a:gd name="connsiteX119" fmla="*/ 95997 w 3443287"/>
              <a:gd name="connsiteY119" fmla="*/ 0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3443287" h="5920066">
                <a:moveTo>
                  <a:pt x="95997" y="0"/>
                </a:moveTo>
                <a:lnTo>
                  <a:pt x="3443287" y="0"/>
                </a:lnTo>
                <a:lnTo>
                  <a:pt x="3443287" y="5920066"/>
                </a:lnTo>
                <a:lnTo>
                  <a:pt x="95989" y="5920066"/>
                </a:lnTo>
                <a:lnTo>
                  <a:pt x="64311" y="5915938"/>
                </a:lnTo>
                <a:cubicBezTo>
                  <a:pt x="0" y="5897541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de-DE" noProof="0" smtClean="0"/>
              <a:t>Bild durch Klicken auf Symbol hinzufügen</a:t>
            </a:r>
            <a:endParaRPr lang="de-DE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7527" y="280733"/>
            <a:ext cx="6787223" cy="854075"/>
          </a:xfrm>
        </p:spPr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>
          <a:xfrm>
            <a:off x="838200" y="6498809"/>
            <a:ext cx="495300" cy="188119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de-DE" smtClean="0">
                <a:solidFill>
                  <a:srgbClr val="333333"/>
                </a:solidFill>
              </a:rPr>
              <a:pPr/>
              <a:t>‹#›</a:t>
            </a:fld>
            <a:endParaRPr lang="de-DE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429241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54">
          <p15:clr>
            <a:srgbClr val="FBAE40"/>
          </p15:clr>
        </p15:guide>
        <p15:guide id="2" pos="2610">
          <p15:clr>
            <a:srgbClr val="FBAE40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838200" y="1270000"/>
            <a:ext cx="6786000" cy="4978400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8454232" y="280732"/>
            <a:ext cx="3442280" cy="5920066"/>
          </a:xfrm>
          <a:custGeom>
            <a:avLst/>
            <a:gdLst>
              <a:gd name="connsiteX0" fmla="*/ 0 w 3442280"/>
              <a:gd name="connsiteY0" fmla="*/ 0 h 5920066"/>
              <a:gd name="connsiteX1" fmla="*/ 3346283 w 3442280"/>
              <a:gd name="connsiteY1" fmla="*/ 0 h 5920066"/>
              <a:gd name="connsiteX2" fmla="*/ 3442280 w 3442280"/>
              <a:gd name="connsiteY2" fmla="*/ 96110 h 5920066"/>
              <a:gd name="connsiteX3" fmla="*/ 3442280 w 3442280"/>
              <a:gd name="connsiteY3" fmla="*/ 335165 h 5920066"/>
              <a:gd name="connsiteX4" fmla="*/ 3442280 w 3442280"/>
              <a:gd name="connsiteY4" fmla="*/ 370350 h 5920066"/>
              <a:gd name="connsiteX5" fmla="*/ 3442280 w 3442280"/>
              <a:gd name="connsiteY5" fmla="*/ 379204 h 5920066"/>
              <a:gd name="connsiteX6" fmla="*/ 3442280 w 3442280"/>
              <a:gd name="connsiteY6" fmla="*/ 400048 h 5920066"/>
              <a:gd name="connsiteX7" fmla="*/ 3442280 w 3442280"/>
              <a:gd name="connsiteY7" fmla="*/ 400232 h 5920066"/>
              <a:gd name="connsiteX8" fmla="*/ 3442280 w 3442280"/>
              <a:gd name="connsiteY8" fmla="*/ 471202 h 5920066"/>
              <a:gd name="connsiteX9" fmla="*/ 3442280 w 3442280"/>
              <a:gd name="connsiteY9" fmla="*/ 475721 h 5920066"/>
              <a:gd name="connsiteX10" fmla="*/ 3442280 w 3442280"/>
              <a:gd name="connsiteY10" fmla="*/ 508692 h 5920066"/>
              <a:gd name="connsiteX11" fmla="*/ 3442280 w 3442280"/>
              <a:gd name="connsiteY11" fmla="*/ 554484 h 5920066"/>
              <a:gd name="connsiteX12" fmla="*/ 3442280 w 3442280"/>
              <a:gd name="connsiteY12" fmla="*/ 563015 h 5920066"/>
              <a:gd name="connsiteX13" fmla="*/ 3442280 w 3442280"/>
              <a:gd name="connsiteY13" fmla="*/ 609405 h 5920066"/>
              <a:gd name="connsiteX14" fmla="*/ 3442280 w 3442280"/>
              <a:gd name="connsiteY14" fmla="*/ 662759 h 5920066"/>
              <a:gd name="connsiteX15" fmla="*/ 3442280 w 3442280"/>
              <a:gd name="connsiteY15" fmla="*/ 674288 h 5920066"/>
              <a:gd name="connsiteX16" fmla="*/ 3442280 w 3442280"/>
              <a:gd name="connsiteY16" fmla="*/ 749961 h 5920066"/>
              <a:gd name="connsiteX17" fmla="*/ 3442280 w 3442280"/>
              <a:gd name="connsiteY17" fmla="*/ 775785 h 5920066"/>
              <a:gd name="connsiteX18" fmla="*/ 3442280 w 3442280"/>
              <a:gd name="connsiteY18" fmla="*/ 837255 h 5920066"/>
              <a:gd name="connsiteX19" fmla="*/ 3442280 w 3442280"/>
              <a:gd name="connsiteY19" fmla="*/ 902921 h 5920066"/>
              <a:gd name="connsiteX20" fmla="*/ 3442280 w 3442280"/>
              <a:gd name="connsiteY20" fmla="*/ 936999 h 5920066"/>
              <a:gd name="connsiteX21" fmla="*/ 3442280 w 3442280"/>
              <a:gd name="connsiteY21" fmla="*/ 1016524 h 5920066"/>
              <a:gd name="connsiteX22" fmla="*/ 3442280 w 3442280"/>
              <a:gd name="connsiteY22" fmla="*/ 1029131 h 5920066"/>
              <a:gd name="connsiteX23" fmla="*/ 3442280 w 3442280"/>
              <a:gd name="connsiteY23" fmla="*/ 1044999 h 5920066"/>
              <a:gd name="connsiteX24" fmla="*/ 3442280 w 3442280"/>
              <a:gd name="connsiteY24" fmla="*/ 1046406 h 5920066"/>
              <a:gd name="connsiteX25" fmla="*/ 3442280 w 3442280"/>
              <a:gd name="connsiteY25" fmla="*/ 1050025 h 5920066"/>
              <a:gd name="connsiteX26" fmla="*/ 3442280 w 3442280"/>
              <a:gd name="connsiteY26" fmla="*/ 1074887 h 5920066"/>
              <a:gd name="connsiteX27" fmla="*/ 3442280 w 3442280"/>
              <a:gd name="connsiteY27" fmla="*/ 1176672 h 5920066"/>
              <a:gd name="connsiteX28" fmla="*/ 3442280 w 3442280"/>
              <a:gd name="connsiteY28" fmla="*/ 1177161 h 5920066"/>
              <a:gd name="connsiteX29" fmla="*/ 3442280 w 3442280"/>
              <a:gd name="connsiteY29" fmla="*/ 1202847 h 5920066"/>
              <a:gd name="connsiteX30" fmla="*/ 3442280 w 3442280"/>
              <a:gd name="connsiteY30" fmla="*/ 1255579 h 5920066"/>
              <a:gd name="connsiteX31" fmla="*/ 3442280 w 3442280"/>
              <a:gd name="connsiteY31" fmla="*/ 1290764 h 5920066"/>
              <a:gd name="connsiteX32" fmla="*/ 3442280 w 3442280"/>
              <a:gd name="connsiteY32" fmla="*/ 1299618 h 5920066"/>
              <a:gd name="connsiteX33" fmla="*/ 3442280 w 3442280"/>
              <a:gd name="connsiteY33" fmla="*/ 1319239 h 5920066"/>
              <a:gd name="connsiteX34" fmla="*/ 3442280 w 3442280"/>
              <a:gd name="connsiteY34" fmla="*/ 1320462 h 5920066"/>
              <a:gd name="connsiteX35" fmla="*/ 3442280 w 3442280"/>
              <a:gd name="connsiteY35" fmla="*/ 1320646 h 5920066"/>
              <a:gd name="connsiteX36" fmla="*/ 3442280 w 3442280"/>
              <a:gd name="connsiteY36" fmla="*/ 1349128 h 5920066"/>
              <a:gd name="connsiteX37" fmla="*/ 3442280 w 3442280"/>
              <a:gd name="connsiteY37" fmla="*/ 1377296 h 5920066"/>
              <a:gd name="connsiteX38" fmla="*/ 3442280 w 3442280"/>
              <a:gd name="connsiteY38" fmla="*/ 1391616 h 5920066"/>
              <a:gd name="connsiteX39" fmla="*/ 3442280 w 3442280"/>
              <a:gd name="connsiteY39" fmla="*/ 1396135 h 5920066"/>
              <a:gd name="connsiteX40" fmla="*/ 3442280 w 3442280"/>
              <a:gd name="connsiteY40" fmla="*/ 1429106 h 5920066"/>
              <a:gd name="connsiteX41" fmla="*/ 3442280 w 3442280"/>
              <a:gd name="connsiteY41" fmla="*/ 1474898 h 5920066"/>
              <a:gd name="connsiteX42" fmla="*/ 3442280 w 3442280"/>
              <a:gd name="connsiteY42" fmla="*/ 1477087 h 5920066"/>
              <a:gd name="connsiteX43" fmla="*/ 3442280 w 3442280"/>
              <a:gd name="connsiteY43" fmla="*/ 1483429 h 5920066"/>
              <a:gd name="connsiteX44" fmla="*/ 3442280 w 3442280"/>
              <a:gd name="connsiteY44" fmla="*/ 1529819 h 5920066"/>
              <a:gd name="connsiteX45" fmla="*/ 3442280 w 3442280"/>
              <a:gd name="connsiteY45" fmla="*/ 1569177 h 5920066"/>
              <a:gd name="connsiteX46" fmla="*/ 3442280 w 3442280"/>
              <a:gd name="connsiteY46" fmla="*/ 1583173 h 5920066"/>
              <a:gd name="connsiteX47" fmla="*/ 3442280 w 3442280"/>
              <a:gd name="connsiteY47" fmla="*/ 1594702 h 5920066"/>
              <a:gd name="connsiteX48" fmla="*/ 3442280 w 3442280"/>
              <a:gd name="connsiteY48" fmla="*/ 1651536 h 5920066"/>
              <a:gd name="connsiteX49" fmla="*/ 3442280 w 3442280"/>
              <a:gd name="connsiteY49" fmla="*/ 1670375 h 5920066"/>
              <a:gd name="connsiteX50" fmla="*/ 3442280 w 3442280"/>
              <a:gd name="connsiteY50" fmla="*/ 1696199 h 5920066"/>
              <a:gd name="connsiteX51" fmla="*/ 3442280 w 3442280"/>
              <a:gd name="connsiteY51" fmla="*/ 1757669 h 5920066"/>
              <a:gd name="connsiteX52" fmla="*/ 3442280 w 3442280"/>
              <a:gd name="connsiteY52" fmla="*/ 1779318 h 5920066"/>
              <a:gd name="connsiteX53" fmla="*/ 3442280 w 3442280"/>
              <a:gd name="connsiteY53" fmla="*/ 1823335 h 5920066"/>
              <a:gd name="connsiteX54" fmla="*/ 3442280 w 3442280"/>
              <a:gd name="connsiteY54" fmla="*/ 1843417 h 5920066"/>
              <a:gd name="connsiteX55" fmla="*/ 3442280 w 3442280"/>
              <a:gd name="connsiteY55" fmla="*/ 1857413 h 5920066"/>
              <a:gd name="connsiteX56" fmla="*/ 3442280 w 3442280"/>
              <a:gd name="connsiteY56" fmla="*/ 1965413 h 5920066"/>
              <a:gd name="connsiteX57" fmla="*/ 3442280 w 3442280"/>
              <a:gd name="connsiteY57" fmla="*/ 1970439 h 5920066"/>
              <a:gd name="connsiteX58" fmla="*/ 3442280 w 3442280"/>
              <a:gd name="connsiteY58" fmla="*/ 2008551 h 5920066"/>
              <a:gd name="connsiteX59" fmla="*/ 3442280 w 3442280"/>
              <a:gd name="connsiteY59" fmla="*/ 2053558 h 5920066"/>
              <a:gd name="connsiteX60" fmla="*/ 3442280 w 3442280"/>
              <a:gd name="connsiteY60" fmla="*/ 2097575 h 5920066"/>
              <a:gd name="connsiteX61" fmla="*/ 3442280 w 3442280"/>
              <a:gd name="connsiteY61" fmla="*/ 2123261 h 5920066"/>
              <a:gd name="connsiteX62" fmla="*/ 3442280 w 3442280"/>
              <a:gd name="connsiteY62" fmla="*/ 2239653 h 5920066"/>
              <a:gd name="connsiteX63" fmla="*/ 3442280 w 3442280"/>
              <a:gd name="connsiteY63" fmla="*/ 2257705 h 5920066"/>
              <a:gd name="connsiteX64" fmla="*/ 3442280 w 3442280"/>
              <a:gd name="connsiteY64" fmla="*/ 2282791 h 5920066"/>
              <a:gd name="connsiteX65" fmla="*/ 3442280 w 3442280"/>
              <a:gd name="connsiteY65" fmla="*/ 2297710 h 5920066"/>
              <a:gd name="connsiteX66" fmla="*/ 3442280 w 3442280"/>
              <a:gd name="connsiteY66" fmla="*/ 2397501 h 5920066"/>
              <a:gd name="connsiteX67" fmla="*/ 3442280 w 3442280"/>
              <a:gd name="connsiteY67" fmla="*/ 2489591 h 5920066"/>
              <a:gd name="connsiteX68" fmla="*/ 3442280 w 3442280"/>
              <a:gd name="connsiteY68" fmla="*/ 2527610 h 5920066"/>
              <a:gd name="connsiteX69" fmla="*/ 3442280 w 3442280"/>
              <a:gd name="connsiteY69" fmla="*/ 2531945 h 5920066"/>
              <a:gd name="connsiteX70" fmla="*/ 3442280 w 3442280"/>
              <a:gd name="connsiteY70" fmla="*/ 2571950 h 5920066"/>
              <a:gd name="connsiteX71" fmla="*/ 3442280 w 3442280"/>
              <a:gd name="connsiteY71" fmla="*/ 2699732 h 5920066"/>
              <a:gd name="connsiteX72" fmla="*/ 3442280 w 3442280"/>
              <a:gd name="connsiteY72" fmla="*/ 2763831 h 5920066"/>
              <a:gd name="connsiteX73" fmla="*/ 3442280 w 3442280"/>
              <a:gd name="connsiteY73" fmla="*/ 2801851 h 5920066"/>
              <a:gd name="connsiteX74" fmla="*/ 3442280 w 3442280"/>
              <a:gd name="connsiteY74" fmla="*/ 2819097 h 5920066"/>
              <a:gd name="connsiteX75" fmla="*/ 3442280 w 3442280"/>
              <a:gd name="connsiteY75" fmla="*/ 2928965 h 5920066"/>
              <a:gd name="connsiteX76" fmla="*/ 3442280 w 3442280"/>
              <a:gd name="connsiteY76" fmla="*/ 2973972 h 5920066"/>
              <a:gd name="connsiteX77" fmla="*/ 3442280 w 3442280"/>
              <a:gd name="connsiteY77" fmla="*/ 3093337 h 5920066"/>
              <a:gd name="connsiteX78" fmla="*/ 3442280 w 3442280"/>
              <a:gd name="connsiteY78" fmla="*/ 3132995 h 5920066"/>
              <a:gd name="connsiteX79" fmla="*/ 3442280 w 3442280"/>
              <a:gd name="connsiteY79" fmla="*/ 3178119 h 5920066"/>
              <a:gd name="connsiteX80" fmla="*/ 3442280 w 3442280"/>
              <a:gd name="connsiteY80" fmla="*/ 3203205 h 5920066"/>
              <a:gd name="connsiteX81" fmla="*/ 3442280 w 3442280"/>
              <a:gd name="connsiteY81" fmla="*/ 3407236 h 5920066"/>
              <a:gd name="connsiteX82" fmla="*/ 3442280 w 3442280"/>
              <a:gd name="connsiteY82" fmla="*/ 3448024 h 5920066"/>
              <a:gd name="connsiteX83" fmla="*/ 3442280 w 3442280"/>
              <a:gd name="connsiteY83" fmla="*/ 3452359 h 5920066"/>
              <a:gd name="connsiteX84" fmla="*/ 3442280 w 3442280"/>
              <a:gd name="connsiteY84" fmla="*/ 3470135 h 5920066"/>
              <a:gd name="connsiteX85" fmla="*/ 3442280 w 3442280"/>
              <a:gd name="connsiteY85" fmla="*/ 3722265 h 5920066"/>
              <a:gd name="connsiteX86" fmla="*/ 3442280 w 3442280"/>
              <a:gd name="connsiteY86" fmla="*/ 3739511 h 5920066"/>
              <a:gd name="connsiteX87" fmla="*/ 3442280 w 3442280"/>
              <a:gd name="connsiteY87" fmla="*/ 3744375 h 5920066"/>
              <a:gd name="connsiteX88" fmla="*/ 3442280 w 3442280"/>
              <a:gd name="connsiteY88" fmla="*/ 3831346 h 5920066"/>
              <a:gd name="connsiteX89" fmla="*/ 3442280 w 3442280"/>
              <a:gd name="connsiteY89" fmla="*/ 4013751 h 5920066"/>
              <a:gd name="connsiteX90" fmla="*/ 3442280 w 3442280"/>
              <a:gd name="connsiteY90" fmla="*/ 4053409 h 5920066"/>
              <a:gd name="connsiteX91" fmla="*/ 3442280 w 3442280"/>
              <a:gd name="connsiteY91" fmla="*/ 4105586 h 5920066"/>
              <a:gd name="connsiteX92" fmla="*/ 3442280 w 3442280"/>
              <a:gd name="connsiteY92" fmla="*/ 4217459 h 5920066"/>
              <a:gd name="connsiteX93" fmla="*/ 3442280 w 3442280"/>
              <a:gd name="connsiteY93" fmla="*/ 4327650 h 5920066"/>
              <a:gd name="connsiteX94" fmla="*/ 3442280 w 3442280"/>
              <a:gd name="connsiteY94" fmla="*/ 4390549 h 5920066"/>
              <a:gd name="connsiteX95" fmla="*/ 3442280 w 3442280"/>
              <a:gd name="connsiteY95" fmla="*/ 4491699 h 5920066"/>
              <a:gd name="connsiteX96" fmla="*/ 3442280 w 3442280"/>
              <a:gd name="connsiteY96" fmla="*/ 4629303 h 5920066"/>
              <a:gd name="connsiteX97" fmla="*/ 3442280 w 3442280"/>
              <a:gd name="connsiteY97" fmla="*/ 4664789 h 5920066"/>
              <a:gd name="connsiteX98" fmla="*/ 3442280 w 3442280"/>
              <a:gd name="connsiteY98" fmla="*/ 4751760 h 5920066"/>
              <a:gd name="connsiteX99" fmla="*/ 3442280 w 3442280"/>
              <a:gd name="connsiteY99" fmla="*/ 4903543 h 5920066"/>
              <a:gd name="connsiteX100" fmla="*/ 3442280 w 3442280"/>
              <a:gd name="connsiteY100" fmla="*/ 5026000 h 5920066"/>
              <a:gd name="connsiteX101" fmla="*/ 3442280 w 3442280"/>
              <a:gd name="connsiteY101" fmla="*/ 5137873 h 5920066"/>
              <a:gd name="connsiteX102" fmla="*/ 3442280 w 3442280"/>
              <a:gd name="connsiteY102" fmla="*/ 5412113 h 5920066"/>
              <a:gd name="connsiteX103" fmla="*/ 3442280 w 3442280"/>
              <a:gd name="connsiteY103" fmla="*/ 5549717 h 5920066"/>
              <a:gd name="connsiteX104" fmla="*/ 3442280 w 3442280"/>
              <a:gd name="connsiteY104" fmla="*/ 5823957 h 5920066"/>
              <a:gd name="connsiteX105" fmla="*/ 3361283 w 3442280"/>
              <a:gd name="connsiteY105" fmla="*/ 5918566 h 5920066"/>
              <a:gd name="connsiteX106" fmla="*/ 3346294 w 3442280"/>
              <a:gd name="connsiteY106" fmla="*/ 5920066 h 5920066"/>
              <a:gd name="connsiteX107" fmla="*/ 0 w 3442280"/>
              <a:gd name="connsiteY107" fmla="*/ 5920066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442280" h="5920066">
                <a:moveTo>
                  <a:pt x="0" y="0"/>
                </a:moveTo>
                <a:lnTo>
                  <a:pt x="3346283" y="0"/>
                </a:lnTo>
                <a:cubicBezTo>
                  <a:pt x="3442280" y="0"/>
                  <a:pt x="3442280" y="96110"/>
                  <a:pt x="3442280" y="96110"/>
                </a:cubicBezTo>
                <a:cubicBezTo>
                  <a:pt x="3442280" y="96110"/>
                  <a:pt x="3442280" y="96110"/>
                  <a:pt x="3442280" y="335165"/>
                </a:cubicBezTo>
                <a:lnTo>
                  <a:pt x="3442280" y="370350"/>
                </a:lnTo>
                <a:cubicBezTo>
                  <a:pt x="3442280" y="370350"/>
                  <a:pt x="3442280" y="370350"/>
                  <a:pt x="3442280" y="379204"/>
                </a:cubicBezTo>
                <a:lnTo>
                  <a:pt x="3442280" y="400048"/>
                </a:lnTo>
                <a:lnTo>
                  <a:pt x="3442280" y="400232"/>
                </a:lnTo>
                <a:cubicBezTo>
                  <a:pt x="3442280" y="415173"/>
                  <a:pt x="3442280" y="437585"/>
                  <a:pt x="3442280" y="471202"/>
                </a:cubicBezTo>
                <a:lnTo>
                  <a:pt x="3442280" y="475721"/>
                </a:lnTo>
                <a:lnTo>
                  <a:pt x="3442280" y="508692"/>
                </a:lnTo>
                <a:cubicBezTo>
                  <a:pt x="3442280" y="522527"/>
                  <a:pt x="3442280" y="537744"/>
                  <a:pt x="3442280" y="554484"/>
                </a:cubicBezTo>
                <a:lnTo>
                  <a:pt x="3442280" y="563015"/>
                </a:lnTo>
                <a:lnTo>
                  <a:pt x="3442280" y="609405"/>
                </a:lnTo>
                <a:lnTo>
                  <a:pt x="3442280" y="662759"/>
                </a:lnTo>
                <a:lnTo>
                  <a:pt x="3442280" y="674288"/>
                </a:lnTo>
                <a:cubicBezTo>
                  <a:pt x="3442280" y="697668"/>
                  <a:pt x="3442280" y="722846"/>
                  <a:pt x="3442280" y="749961"/>
                </a:cubicBezTo>
                <a:lnTo>
                  <a:pt x="3442280" y="775785"/>
                </a:lnTo>
                <a:lnTo>
                  <a:pt x="3442280" y="837255"/>
                </a:lnTo>
                <a:lnTo>
                  <a:pt x="3442280" y="902921"/>
                </a:lnTo>
                <a:lnTo>
                  <a:pt x="3442280" y="936999"/>
                </a:lnTo>
                <a:lnTo>
                  <a:pt x="3442280" y="1016524"/>
                </a:lnTo>
                <a:cubicBezTo>
                  <a:pt x="3442280" y="1016524"/>
                  <a:pt x="3442280" y="1016524"/>
                  <a:pt x="3442280" y="1029131"/>
                </a:cubicBezTo>
                <a:lnTo>
                  <a:pt x="3442280" y="1044999"/>
                </a:lnTo>
                <a:lnTo>
                  <a:pt x="3442280" y="1046406"/>
                </a:lnTo>
                <a:lnTo>
                  <a:pt x="3442280" y="1050025"/>
                </a:lnTo>
                <a:lnTo>
                  <a:pt x="3442280" y="1074887"/>
                </a:lnTo>
                <a:cubicBezTo>
                  <a:pt x="3442280" y="1098232"/>
                  <a:pt x="3442280" y="1130916"/>
                  <a:pt x="3442280" y="1176672"/>
                </a:cubicBezTo>
                <a:lnTo>
                  <a:pt x="3442280" y="1177161"/>
                </a:lnTo>
                <a:lnTo>
                  <a:pt x="3442280" y="1202847"/>
                </a:lnTo>
                <a:lnTo>
                  <a:pt x="3442280" y="1255579"/>
                </a:lnTo>
                <a:lnTo>
                  <a:pt x="3442280" y="1290764"/>
                </a:lnTo>
                <a:cubicBezTo>
                  <a:pt x="3442280" y="1290764"/>
                  <a:pt x="3442280" y="1290764"/>
                  <a:pt x="3442280" y="1299618"/>
                </a:cubicBezTo>
                <a:lnTo>
                  <a:pt x="3442280" y="1319239"/>
                </a:lnTo>
                <a:lnTo>
                  <a:pt x="3442280" y="1320462"/>
                </a:lnTo>
                <a:lnTo>
                  <a:pt x="3442280" y="1320646"/>
                </a:lnTo>
                <a:cubicBezTo>
                  <a:pt x="3442280" y="1328117"/>
                  <a:pt x="3442280" y="1337455"/>
                  <a:pt x="3442280" y="1349128"/>
                </a:cubicBezTo>
                <a:lnTo>
                  <a:pt x="3442280" y="1377296"/>
                </a:lnTo>
                <a:lnTo>
                  <a:pt x="3442280" y="1391616"/>
                </a:lnTo>
                <a:lnTo>
                  <a:pt x="3442280" y="1396135"/>
                </a:lnTo>
                <a:lnTo>
                  <a:pt x="3442280" y="1429106"/>
                </a:lnTo>
                <a:cubicBezTo>
                  <a:pt x="3442280" y="1442941"/>
                  <a:pt x="3442280" y="1458158"/>
                  <a:pt x="3442280" y="1474898"/>
                </a:cubicBezTo>
                <a:lnTo>
                  <a:pt x="3442280" y="1477087"/>
                </a:lnTo>
                <a:lnTo>
                  <a:pt x="3442280" y="1483429"/>
                </a:lnTo>
                <a:lnTo>
                  <a:pt x="3442280" y="1529819"/>
                </a:lnTo>
                <a:lnTo>
                  <a:pt x="3442280" y="1569177"/>
                </a:lnTo>
                <a:lnTo>
                  <a:pt x="3442280" y="1583173"/>
                </a:lnTo>
                <a:lnTo>
                  <a:pt x="3442280" y="1594702"/>
                </a:lnTo>
                <a:lnTo>
                  <a:pt x="3442280" y="1651536"/>
                </a:lnTo>
                <a:lnTo>
                  <a:pt x="3442280" y="1670375"/>
                </a:lnTo>
                <a:lnTo>
                  <a:pt x="3442280" y="1696199"/>
                </a:lnTo>
                <a:lnTo>
                  <a:pt x="3442280" y="1757669"/>
                </a:lnTo>
                <a:lnTo>
                  <a:pt x="3442280" y="1779318"/>
                </a:lnTo>
                <a:lnTo>
                  <a:pt x="3442280" y="1823335"/>
                </a:lnTo>
                <a:lnTo>
                  <a:pt x="3442280" y="1843417"/>
                </a:lnTo>
                <a:lnTo>
                  <a:pt x="3442280" y="1857413"/>
                </a:lnTo>
                <a:lnTo>
                  <a:pt x="3442280" y="1965413"/>
                </a:lnTo>
                <a:lnTo>
                  <a:pt x="3442280" y="1970439"/>
                </a:lnTo>
                <a:lnTo>
                  <a:pt x="3442280" y="2008551"/>
                </a:lnTo>
                <a:lnTo>
                  <a:pt x="3442280" y="2053558"/>
                </a:lnTo>
                <a:lnTo>
                  <a:pt x="3442280" y="2097575"/>
                </a:lnTo>
                <a:lnTo>
                  <a:pt x="3442280" y="2123261"/>
                </a:lnTo>
                <a:lnTo>
                  <a:pt x="3442280" y="2239653"/>
                </a:lnTo>
                <a:lnTo>
                  <a:pt x="3442280" y="2257705"/>
                </a:lnTo>
                <a:lnTo>
                  <a:pt x="3442280" y="2282791"/>
                </a:lnTo>
                <a:lnTo>
                  <a:pt x="3442280" y="2297710"/>
                </a:lnTo>
                <a:lnTo>
                  <a:pt x="3442280" y="2397501"/>
                </a:lnTo>
                <a:lnTo>
                  <a:pt x="3442280" y="2489591"/>
                </a:lnTo>
                <a:lnTo>
                  <a:pt x="3442280" y="2527610"/>
                </a:lnTo>
                <a:lnTo>
                  <a:pt x="3442280" y="2531945"/>
                </a:lnTo>
                <a:lnTo>
                  <a:pt x="3442280" y="2571950"/>
                </a:lnTo>
                <a:lnTo>
                  <a:pt x="3442280" y="2699732"/>
                </a:lnTo>
                <a:lnTo>
                  <a:pt x="3442280" y="2763831"/>
                </a:lnTo>
                <a:lnTo>
                  <a:pt x="3442280" y="2801851"/>
                </a:lnTo>
                <a:lnTo>
                  <a:pt x="3442280" y="2819097"/>
                </a:lnTo>
                <a:lnTo>
                  <a:pt x="3442280" y="2928965"/>
                </a:lnTo>
                <a:lnTo>
                  <a:pt x="3442280" y="2973972"/>
                </a:lnTo>
                <a:lnTo>
                  <a:pt x="3442280" y="3093337"/>
                </a:lnTo>
                <a:lnTo>
                  <a:pt x="3442280" y="3132995"/>
                </a:lnTo>
                <a:lnTo>
                  <a:pt x="3442280" y="3178119"/>
                </a:lnTo>
                <a:lnTo>
                  <a:pt x="3442280" y="3203205"/>
                </a:lnTo>
                <a:lnTo>
                  <a:pt x="3442280" y="3407236"/>
                </a:lnTo>
                <a:lnTo>
                  <a:pt x="3442280" y="3448024"/>
                </a:lnTo>
                <a:lnTo>
                  <a:pt x="3442280" y="3452359"/>
                </a:lnTo>
                <a:lnTo>
                  <a:pt x="3442280" y="3470135"/>
                </a:lnTo>
                <a:lnTo>
                  <a:pt x="3442280" y="3722265"/>
                </a:lnTo>
                <a:lnTo>
                  <a:pt x="3442280" y="3739511"/>
                </a:lnTo>
                <a:lnTo>
                  <a:pt x="3442280" y="3744375"/>
                </a:lnTo>
                <a:lnTo>
                  <a:pt x="3442280" y="3831346"/>
                </a:lnTo>
                <a:lnTo>
                  <a:pt x="3442280" y="4013751"/>
                </a:lnTo>
                <a:lnTo>
                  <a:pt x="3442280" y="4053409"/>
                </a:lnTo>
                <a:lnTo>
                  <a:pt x="3442280" y="4105586"/>
                </a:lnTo>
                <a:lnTo>
                  <a:pt x="3442280" y="4217459"/>
                </a:lnTo>
                <a:lnTo>
                  <a:pt x="3442280" y="4327650"/>
                </a:lnTo>
                <a:lnTo>
                  <a:pt x="3442280" y="4390549"/>
                </a:lnTo>
                <a:lnTo>
                  <a:pt x="3442280" y="4491699"/>
                </a:lnTo>
                <a:lnTo>
                  <a:pt x="3442280" y="4629303"/>
                </a:lnTo>
                <a:lnTo>
                  <a:pt x="3442280" y="4664789"/>
                </a:lnTo>
                <a:lnTo>
                  <a:pt x="3442280" y="4751760"/>
                </a:lnTo>
                <a:lnTo>
                  <a:pt x="3442280" y="4903543"/>
                </a:lnTo>
                <a:lnTo>
                  <a:pt x="3442280" y="5026000"/>
                </a:lnTo>
                <a:lnTo>
                  <a:pt x="3442280" y="5137873"/>
                </a:lnTo>
                <a:lnTo>
                  <a:pt x="3442280" y="5412113"/>
                </a:lnTo>
                <a:lnTo>
                  <a:pt x="3442280" y="5549717"/>
                </a:lnTo>
                <a:lnTo>
                  <a:pt x="3442280" y="5823957"/>
                </a:lnTo>
                <a:cubicBezTo>
                  <a:pt x="3442280" y="5896040"/>
                  <a:pt x="3388282" y="5914060"/>
                  <a:pt x="3361283" y="5918566"/>
                </a:cubicBezTo>
                <a:lnTo>
                  <a:pt x="3346294" y="5920066"/>
                </a:lnTo>
                <a:lnTo>
                  <a:pt x="0" y="5920066"/>
                </a:ln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de-DE" noProof="0" smtClean="0"/>
              <a:t>Bild durch Klicken auf Symbol hinzufügen</a:t>
            </a:r>
            <a:endParaRPr lang="de-DE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>
          <a:xfrm>
            <a:off x="838200" y="6498809"/>
            <a:ext cx="495300" cy="188119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de-DE" smtClean="0">
                <a:solidFill>
                  <a:srgbClr val="333333"/>
                </a:solidFill>
              </a:rPr>
              <a:pPr/>
              <a:t>‹#›</a:t>
            </a:fld>
            <a:endParaRPr lang="de-DE" dirty="0">
              <a:solidFill>
                <a:srgbClr val="333333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45575" y="280733"/>
            <a:ext cx="6778625" cy="854075"/>
          </a:xfrm>
        </p:spPr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21672835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806">
          <p15:clr>
            <a:srgbClr val="FBAE40"/>
          </p15:clr>
        </p15:guide>
        <p15:guide id="2" pos="5322">
          <p15:clr>
            <a:srgbClr val="FBAE4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>
          <a:xfrm>
            <a:off x="838200" y="6498809"/>
            <a:ext cx="495300" cy="188119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de-DE" smtClean="0">
                <a:solidFill>
                  <a:srgbClr val="333333"/>
                </a:solidFill>
              </a:rPr>
              <a:pPr/>
              <a:t>‹#›</a:t>
            </a:fld>
            <a:endParaRPr lang="de-DE" dirty="0">
              <a:solidFill>
                <a:srgbClr val="333333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696912" y="1201147"/>
            <a:ext cx="11199600" cy="4999652"/>
          </a:xfrm>
          <a:custGeom>
            <a:avLst/>
            <a:gdLst>
              <a:gd name="connsiteX0" fmla="*/ 95997 w 11199600"/>
              <a:gd name="connsiteY0" fmla="*/ 0 h 4999652"/>
              <a:gd name="connsiteX1" fmla="*/ 11103603 w 11199600"/>
              <a:gd name="connsiteY1" fmla="*/ 0 h 4999652"/>
              <a:gd name="connsiteX2" fmla="*/ 11199600 w 11199600"/>
              <a:gd name="connsiteY2" fmla="*/ 96110 h 4999652"/>
              <a:gd name="connsiteX3" fmla="*/ 11199600 w 11199600"/>
              <a:gd name="connsiteY3" fmla="*/ 335165 h 4999652"/>
              <a:gd name="connsiteX4" fmla="*/ 11199600 w 11199600"/>
              <a:gd name="connsiteY4" fmla="*/ 370350 h 4999652"/>
              <a:gd name="connsiteX5" fmla="*/ 11199600 w 11199600"/>
              <a:gd name="connsiteY5" fmla="*/ 379204 h 4999652"/>
              <a:gd name="connsiteX6" fmla="*/ 11199600 w 11199600"/>
              <a:gd name="connsiteY6" fmla="*/ 400048 h 4999652"/>
              <a:gd name="connsiteX7" fmla="*/ 11199600 w 11199600"/>
              <a:gd name="connsiteY7" fmla="*/ 400232 h 4999652"/>
              <a:gd name="connsiteX8" fmla="*/ 11199600 w 11199600"/>
              <a:gd name="connsiteY8" fmla="*/ 471202 h 4999652"/>
              <a:gd name="connsiteX9" fmla="*/ 11199600 w 11199600"/>
              <a:gd name="connsiteY9" fmla="*/ 475721 h 4999652"/>
              <a:gd name="connsiteX10" fmla="*/ 11199600 w 11199600"/>
              <a:gd name="connsiteY10" fmla="*/ 508692 h 4999652"/>
              <a:gd name="connsiteX11" fmla="*/ 11199600 w 11199600"/>
              <a:gd name="connsiteY11" fmla="*/ 554484 h 4999652"/>
              <a:gd name="connsiteX12" fmla="*/ 11199600 w 11199600"/>
              <a:gd name="connsiteY12" fmla="*/ 563015 h 4999652"/>
              <a:gd name="connsiteX13" fmla="*/ 11199600 w 11199600"/>
              <a:gd name="connsiteY13" fmla="*/ 609405 h 4999652"/>
              <a:gd name="connsiteX14" fmla="*/ 11199600 w 11199600"/>
              <a:gd name="connsiteY14" fmla="*/ 662759 h 4999652"/>
              <a:gd name="connsiteX15" fmla="*/ 11199600 w 11199600"/>
              <a:gd name="connsiteY15" fmla="*/ 674288 h 4999652"/>
              <a:gd name="connsiteX16" fmla="*/ 11199600 w 11199600"/>
              <a:gd name="connsiteY16" fmla="*/ 749961 h 4999652"/>
              <a:gd name="connsiteX17" fmla="*/ 11199600 w 11199600"/>
              <a:gd name="connsiteY17" fmla="*/ 775785 h 4999652"/>
              <a:gd name="connsiteX18" fmla="*/ 11199600 w 11199600"/>
              <a:gd name="connsiteY18" fmla="*/ 837255 h 4999652"/>
              <a:gd name="connsiteX19" fmla="*/ 11199600 w 11199600"/>
              <a:gd name="connsiteY19" fmla="*/ 902921 h 4999652"/>
              <a:gd name="connsiteX20" fmla="*/ 11199600 w 11199600"/>
              <a:gd name="connsiteY20" fmla="*/ 936999 h 4999652"/>
              <a:gd name="connsiteX21" fmla="*/ 11199600 w 11199600"/>
              <a:gd name="connsiteY21" fmla="*/ 1016524 h 4999652"/>
              <a:gd name="connsiteX22" fmla="*/ 11199600 w 11199600"/>
              <a:gd name="connsiteY22" fmla="*/ 1029131 h 4999652"/>
              <a:gd name="connsiteX23" fmla="*/ 11199600 w 11199600"/>
              <a:gd name="connsiteY23" fmla="*/ 1044999 h 4999652"/>
              <a:gd name="connsiteX24" fmla="*/ 11199600 w 11199600"/>
              <a:gd name="connsiteY24" fmla="*/ 1046406 h 4999652"/>
              <a:gd name="connsiteX25" fmla="*/ 11199600 w 11199600"/>
              <a:gd name="connsiteY25" fmla="*/ 1050025 h 4999652"/>
              <a:gd name="connsiteX26" fmla="*/ 11199600 w 11199600"/>
              <a:gd name="connsiteY26" fmla="*/ 1074887 h 4999652"/>
              <a:gd name="connsiteX27" fmla="*/ 11199600 w 11199600"/>
              <a:gd name="connsiteY27" fmla="*/ 1176672 h 4999652"/>
              <a:gd name="connsiteX28" fmla="*/ 11199600 w 11199600"/>
              <a:gd name="connsiteY28" fmla="*/ 1177161 h 4999652"/>
              <a:gd name="connsiteX29" fmla="*/ 11199600 w 11199600"/>
              <a:gd name="connsiteY29" fmla="*/ 1202847 h 4999652"/>
              <a:gd name="connsiteX30" fmla="*/ 11199600 w 11199600"/>
              <a:gd name="connsiteY30" fmla="*/ 1208224 h 4999652"/>
              <a:gd name="connsiteX31" fmla="*/ 11199600 w 11199600"/>
              <a:gd name="connsiteY31" fmla="*/ 1255579 h 4999652"/>
              <a:gd name="connsiteX32" fmla="*/ 11199600 w 11199600"/>
              <a:gd name="connsiteY32" fmla="*/ 1290764 h 4999652"/>
              <a:gd name="connsiteX33" fmla="*/ 11199600 w 11199600"/>
              <a:gd name="connsiteY33" fmla="*/ 1299618 h 4999652"/>
              <a:gd name="connsiteX34" fmla="*/ 11199600 w 11199600"/>
              <a:gd name="connsiteY34" fmla="*/ 1319238 h 4999652"/>
              <a:gd name="connsiteX35" fmla="*/ 11199600 w 11199600"/>
              <a:gd name="connsiteY35" fmla="*/ 1319239 h 4999652"/>
              <a:gd name="connsiteX36" fmla="*/ 11199600 w 11199600"/>
              <a:gd name="connsiteY36" fmla="*/ 1320462 h 4999652"/>
              <a:gd name="connsiteX37" fmla="*/ 11199600 w 11199600"/>
              <a:gd name="connsiteY37" fmla="*/ 1320646 h 4999652"/>
              <a:gd name="connsiteX38" fmla="*/ 11199600 w 11199600"/>
              <a:gd name="connsiteY38" fmla="*/ 1337290 h 4999652"/>
              <a:gd name="connsiteX39" fmla="*/ 11199600 w 11199600"/>
              <a:gd name="connsiteY39" fmla="*/ 1349128 h 4999652"/>
              <a:gd name="connsiteX40" fmla="*/ 11199600 w 11199600"/>
              <a:gd name="connsiteY40" fmla="*/ 1362376 h 4999652"/>
              <a:gd name="connsiteX41" fmla="*/ 11199600 w 11199600"/>
              <a:gd name="connsiteY41" fmla="*/ 1377295 h 4999652"/>
              <a:gd name="connsiteX42" fmla="*/ 11199600 w 11199600"/>
              <a:gd name="connsiteY42" fmla="*/ 1377296 h 4999652"/>
              <a:gd name="connsiteX43" fmla="*/ 11199600 w 11199600"/>
              <a:gd name="connsiteY43" fmla="*/ 1391616 h 4999652"/>
              <a:gd name="connsiteX44" fmla="*/ 11199600 w 11199600"/>
              <a:gd name="connsiteY44" fmla="*/ 1396135 h 4999652"/>
              <a:gd name="connsiteX45" fmla="*/ 11199600 w 11199600"/>
              <a:gd name="connsiteY45" fmla="*/ 1429106 h 4999652"/>
              <a:gd name="connsiteX46" fmla="*/ 11199600 w 11199600"/>
              <a:gd name="connsiteY46" fmla="*/ 1474898 h 4999652"/>
              <a:gd name="connsiteX47" fmla="*/ 11199600 w 11199600"/>
              <a:gd name="connsiteY47" fmla="*/ 1477086 h 4999652"/>
              <a:gd name="connsiteX48" fmla="*/ 11199600 w 11199600"/>
              <a:gd name="connsiteY48" fmla="*/ 1477087 h 4999652"/>
              <a:gd name="connsiteX49" fmla="*/ 11199600 w 11199600"/>
              <a:gd name="connsiteY49" fmla="*/ 1483429 h 4999652"/>
              <a:gd name="connsiteX50" fmla="*/ 11199600 w 11199600"/>
              <a:gd name="connsiteY50" fmla="*/ 1529819 h 4999652"/>
              <a:gd name="connsiteX51" fmla="*/ 11199600 w 11199600"/>
              <a:gd name="connsiteY51" fmla="*/ 1569176 h 4999652"/>
              <a:gd name="connsiteX52" fmla="*/ 11199600 w 11199600"/>
              <a:gd name="connsiteY52" fmla="*/ 1569177 h 4999652"/>
              <a:gd name="connsiteX53" fmla="*/ 11199600 w 11199600"/>
              <a:gd name="connsiteY53" fmla="*/ 1583173 h 4999652"/>
              <a:gd name="connsiteX54" fmla="*/ 11199600 w 11199600"/>
              <a:gd name="connsiteY54" fmla="*/ 1594702 h 4999652"/>
              <a:gd name="connsiteX55" fmla="*/ 11199600 w 11199600"/>
              <a:gd name="connsiteY55" fmla="*/ 1607195 h 4999652"/>
              <a:gd name="connsiteX56" fmla="*/ 11199600 w 11199600"/>
              <a:gd name="connsiteY56" fmla="*/ 1611530 h 4999652"/>
              <a:gd name="connsiteX57" fmla="*/ 11199600 w 11199600"/>
              <a:gd name="connsiteY57" fmla="*/ 1651535 h 4999652"/>
              <a:gd name="connsiteX58" fmla="*/ 11199600 w 11199600"/>
              <a:gd name="connsiteY58" fmla="*/ 1651536 h 4999652"/>
              <a:gd name="connsiteX59" fmla="*/ 11199600 w 11199600"/>
              <a:gd name="connsiteY59" fmla="*/ 1670375 h 4999652"/>
              <a:gd name="connsiteX60" fmla="*/ 11199600 w 11199600"/>
              <a:gd name="connsiteY60" fmla="*/ 1696199 h 4999652"/>
              <a:gd name="connsiteX61" fmla="*/ 11199600 w 11199600"/>
              <a:gd name="connsiteY61" fmla="*/ 1757669 h 4999652"/>
              <a:gd name="connsiteX62" fmla="*/ 11199600 w 11199600"/>
              <a:gd name="connsiteY62" fmla="*/ 1779317 h 4999652"/>
              <a:gd name="connsiteX63" fmla="*/ 11199600 w 11199600"/>
              <a:gd name="connsiteY63" fmla="*/ 1779318 h 4999652"/>
              <a:gd name="connsiteX64" fmla="*/ 11199600 w 11199600"/>
              <a:gd name="connsiteY64" fmla="*/ 1823335 h 4999652"/>
              <a:gd name="connsiteX65" fmla="*/ 11199600 w 11199600"/>
              <a:gd name="connsiteY65" fmla="*/ 1843416 h 4999652"/>
              <a:gd name="connsiteX66" fmla="*/ 11199600 w 11199600"/>
              <a:gd name="connsiteY66" fmla="*/ 1843417 h 4999652"/>
              <a:gd name="connsiteX67" fmla="*/ 11199600 w 11199600"/>
              <a:gd name="connsiteY67" fmla="*/ 1857413 h 4999652"/>
              <a:gd name="connsiteX68" fmla="*/ 11199600 w 11199600"/>
              <a:gd name="connsiteY68" fmla="*/ 1881436 h 4999652"/>
              <a:gd name="connsiteX69" fmla="*/ 11199600 w 11199600"/>
              <a:gd name="connsiteY69" fmla="*/ 1898682 h 4999652"/>
              <a:gd name="connsiteX70" fmla="*/ 11199600 w 11199600"/>
              <a:gd name="connsiteY70" fmla="*/ 1965413 h 4999652"/>
              <a:gd name="connsiteX71" fmla="*/ 11199600 w 11199600"/>
              <a:gd name="connsiteY71" fmla="*/ 1970439 h 4999652"/>
              <a:gd name="connsiteX72" fmla="*/ 11199600 w 11199600"/>
              <a:gd name="connsiteY72" fmla="*/ 2008550 h 4999652"/>
              <a:gd name="connsiteX73" fmla="*/ 11199600 w 11199600"/>
              <a:gd name="connsiteY73" fmla="*/ 2008551 h 4999652"/>
              <a:gd name="connsiteX74" fmla="*/ 11199600 w 11199600"/>
              <a:gd name="connsiteY74" fmla="*/ 2053557 h 4999652"/>
              <a:gd name="connsiteX75" fmla="*/ 11199600 w 11199600"/>
              <a:gd name="connsiteY75" fmla="*/ 2053558 h 4999652"/>
              <a:gd name="connsiteX76" fmla="*/ 11199600 w 11199600"/>
              <a:gd name="connsiteY76" fmla="*/ 2097575 h 4999652"/>
              <a:gd name="connsiteX77" fmla="*/ 11199600 w 11199600"/>
              <a:gd name="connsiteY77" fmla="*/ 2123261 h 4999652"/>
              <a:gd name="connsiteX78" fmla="*/ 11199600 w 11199600"/>
              <a:gd name="connsiteY78" fmla="*/ 2172922 h 4999652"/>
              <a:gd name="connsiteX79" fmla="*/ 11199600 w 11199600"/>
              <a:gd name="connsiteY79" fmla="*/ 2212580 h 4999652"/>
              <a:gd name="connsiteX80" fmla="*/ 11199600 w 11199600"/>
              <a:gd name="connsiteY80" fmla="*/ 2239653 h 4999652"/>
              <a:gd name="connsiteX81" fmla="*/ 11199600 w 11199600"/>
              <a:gd name="connsiteY81" fmla="*/ 2257704 h 4999652"/>
              <a:gd name="connsiteX82" fmla="*/ 11199600 w 11199600"/>
              <a:gd name="connsiteY82" fmla="*/ 2257705 h 4999652"/>
              <a:gd name="connsiteX83" fmla="*/ 11199600 w 11199600"/>
              <a:gd name="connsiteY83" fmla="*/ 2282790 h 4999652"/>
              <a:gd name="connsiteX84" fmla="*/ 11199600 w 11199600"/>
              <a:gd name="connsiteY84" fmla="*/ 2282791 h 4999652"/>
              <a:gd name="connsiteX85" fmla="*/ 11199600 w 11199600"/>
              <a:gd name="connsiteY85" fmla="*/ 2297710 h 4999652"/>
              <a:gd name="connsiteX86" fmla="*/ 11199600 w 11199600"/>
              <a:gd name="connsiteY86" fmla="*/ 2397501 h 4999652"/>
              <a:gd name="connsiteX87" fmla="*/ 11199600 w 11199600"/>
              <a:gd name="connsiteY87" fmla="*/ 2486821 h 4999652"/>
              <a:gd name="connsiteX88" fmla="*/ 11199600 w 11199600"/>
              <a:gd name="connsiteY88" fmla="*/ 2489591 h 4999652"/>
              <a:gd name="connsiteX89" fmla="*/ 11199600 w 11199600"/>
              <a:gd name="connsiteY89" fmla="*/ 2527609 h 4999652"/>
              <a:gd name="connsiteX90" fmla="*/ 11199600 w 11199600"/>
              <a:gd name="connsiteY90" fmla="*/ 2527610 h 4999652"/>
              <a:gd name="connsiteX91" fmla="*/ 11199600 w 11199600"/>
              <a:gd name="connsiteY91" fmla="*/ 2531944 h 4999652"/>
              <a:gd name="connsiteX92" fmla="*/ 11199600 w 11199600"/>
              <a:gd name="connsiteY92" fmla="*/ 2531945 h 4999652"/>
              <a:gd name="connsiteX93" fmla="*/ 11199600 w 11199600"/>
              <a:gd name="connsiteY93" fmla="*/ 2549720 h 4999652"/>
              <a:gd name="connsiteX94" fmla="*/ 11199600 w 11199600"/>
              <a:gd name="connsiteY94" fmla="*/ 2571950 h 4999652"/>
              <a:gd name="connsiteX95" fmla="*/ 11199600 w 11199600"/>
              <a:gd name="connsiteY95" fmla="*/ 2699732 h 4999652"/>
              <a:gd name="connsiteX96" fmla="*/ 11199600 w 11199600"/>
              <a:gd name="connsiteY96" fmla="*/ 2763831 h 4999652"/>
              <a:gd name="connsiteX97" fmla="*/ 11199600 w 11199600"/>
              <a:gd name="connsiteY97" fmla="*/ 2790282 h 4999652"/>
              <a:gd name="connsiteX98" fmla="*/ 11199600 w 11199600"/>
              <a:gd name="connsiteY98" fmla="*/ 2801850 h 4999652"/>
              <a:gd name="connsiteX99" fmla="*/ 11199600 w 11199600"/>
              <a:gd name="connsiteY99" fmla="*/ 2819096 h 4999652"/>
              <a:gd name="connsiteX100" fmla="*/ 11199600 w 11199600"/>
              <a:gd name="connsiteY100" fmla="*/ 2823960 h 4999652"/>
              <a:gd name="connsiteX101" fmla="*/ 11199600 w 11199600"/>
              <a:gd name="connsiteY101" fmla="*/ 2910931 h 4999652"/>
              <a:gd name="connsiteX102" fmla="*/ 11199600 w 11199600"/>
              <a:gd name="connsiteY102" fmla="*/ 3093336 h 4999652"/>
              <a:gd name="connsiteX103" fmla="*/ 11199600 w 11199600"/>
              <a:gd name="connsiteY103" fmla="*/ 3132994 h 4999652"/>
              <a:gd name="connsiteX104" fmla="*/ 11199600 w 11199600"/>
              <a:gd name="connsiteY104" fmla="*/ 3185171 h 4999652"/>
              <a:gd name="connsiteX105" fmla="*/ 11199600 w 11199600"/>
              <a:gd name="connsiteY105" fmla="*/ 3297044 h 4999652"/>
              <a:gd name="connsiteX106" fmla="*/ 11199600 w 11199600"/>
              <a:gd name="connsiteY106" fmla="*/ 3407235 h 4999652"/>
              <a:gd name="connsiteX107" fmla="*/ 11199600 w 11199600"/>
              <a:gd name="connsiteY107" fmla="*/ 3470134 h 4999652"/>
              <a:gd name="connsiteX108" fmla="*/ 11199600 w 11199600"/>
              <a:gd name="connsiteY108" fmla="*/ 3571284 h 4999652"/>
              <a:gd name="connsiteX109" fmla="*/ 11199600 w 11199600"/>
              <a:gd name="connsiteY109" fmla="*/ 3708888 h 4999652"/>
              <a:gd name="connsiteX110" fmla="*/ 11199600 w 11199600"/>
              <a:gd name="connsiteY110" fmla="*/ 3744374 h 4999652"/>
              <a:gd name="connsiteX111" fmla="*/ 11199600 w 11199600"/>
              <a:gd name="connsiteY111" fmla="*/ 3831345 h 4999652"/>
              <a:gd name="connsiteX112" fmla="*/ 11199600 w 11199600"/>
              <a:gd name="connsiteY112" fmla="*/ 3983128 h 4999652"/>
              <a:gd name="connsiteX113" fmla="*/ 11199600 w 11199600"/>
              <a:gd name="connsiteY113" fmla="*/ 4105585 h 4999652"/>
              <a:gd name="connsiteX114" fmla="*/ 11199600 w 11199600"/>
              <a:gd name="connsiteY114" fmla="*/ 4217458 h 4999652"/>
              <a:gd name="connsiteX115" fmla="*/ 11199600 w 11199600"/>
              <a:gd name="connsiteY115" fmla="*/ 4491698 h 4999652"/>
              <a:gd name="connsiteX116" fmla="*/ 11199600 w 11199600"/>
              <a:gd name="connsiteY116" fmla="*/ 4629302 h 4999652"/>
              <a:gd name="connsiteX117" fmla="*/ 11199600 w 11199600"/>
              <a:gd name="connsiteY117" fmla="*/ 4903542 h 4999652"/>
              <a:gd name="connsiteX118" fmla="*/ 11103603 w 11199600"/>
              <a:gd name="connsiteY118" fmla="*/ 4999652 h 4999652"/>
              <a:gd name="connsiteX119" fmla="*/ 95997 w 11199600"/>
              <a:gd name="connsiteY119" fmla="*/ 4999652 h 4999652"/>
              <a:gd name="connsiteX120" fmla="*/ 0 w 11199600"/>
              <a:gd name="connsiteY120" fmla="*/ 4903542 h 4999652"/>
              <a:gd name="connsiteX121" fmla="*/ 0 w 11199600"/>
              <a:gd name="connsiteY121" fmla="*/ 4899807 h 4999652"/>
              <a:gd name="connsiteX122" fmla="*/ 0 w 11199600"/>
              <a:gd name="connsiteY122" fmla="*/ 4890936 h 4999652"/>
              <a:gd name="connsiteX123" fmla="*/ 0 w 11199600"/>
              <a:gd name="connsiteY123" fmla="*/ 4873660 h 4999652"/>
              <a:gd name="connsiteX124" fmla="*/ 0 w 11199600"/>
              <a:gd name="connsiteY124" fmla="*/ 4845179 h 4999652"/>
              <a:gd name="connsiteX125" fmla="*/ 0 w 11199600"/>
              <a:gd name="connsiteY125" fmla="*/ 4802691 h 4999652"/>
              <a:gd name="connsiteX126" fmla="*/ 0 w 11199600"/>
              <a:gd name="connsiteY126" fmla="*/ 4743394 h 4999652"/>
              <a:gd name="connsiteX127" fmla="*/ 0 w 11199600"/>
              <a:gd name="connsiteY127" fmla="*/ 4664487 h 4999652"/>
              <a:gd name="connsiteX128" fmla="*/ 0 w 11199600"/>
              <a:gd name="connsiteY128" fmla="*/ 4629302 h 4999652"/>
              <a:gd name="connsiteX129" fmla="*/ 0 w 11199600"/>
              <a:gd name="connsiteY129" fmla="*/ 4628196 h 4999652"/>
              <a:gd name="connsiteX130" fmla="*/ 0 w 11199600"/>
              <a:gd name="connsiteY130" fmla="*/ 4620448 h 4999652"/>
              <a:gd name="connsiteX131" fmla="*/ 0 w 11199600"/>
              <a:gd name="connsiteY131" fmla="*/ 4599605 h 4999652"/>
              <a:gd name="connsiteX132" fmla="*/ 0 w 11199600"/>
              <a:gd name="connsiteY132" fmla="*/ 4599420 h 4999652"/>
              <a:gd name="connsiteX133" fmla="*/ 0 w 11199600"/>
              <a:gd name="connsiteY133" fmla="*/ 4558471 h 4999652"/>
              <a:gd name="connsiteX134" fmla="*/ 0 w 11199600"/>
              <a:gd name="connsiteY134" fmla="*/ 4528451 h 4999652"/>
              <a:gd name="connsiteX135" fmla="*/ 0 w 11199600"/>
              <a:gd name="connsiteY135" fmla="*/ 4523932 h 4999652"/>
              <a:gd name="connsiteX136" fmla="*/ 0 w 11199600"/>
              <a:gd name="connsiteY136" fmla="*/ 4490960 h 4999652"/>
              <a:gd name="connsiteX137" fmla="*/ 0 w 11199600"/>
              <a:gd name="connsiteY137" fmla="*/ 4445169 h 4999652"/>
              <a:gd name="connsiteX138" fmla="*/ 0 w 11199600"/>
              <a:gd name="connsiteY138" fmla="*/ 4436638 h 4999652"/>
              <a:gd name="connsiteX139" fmla="*/ 0 w 11199600"/>
              <a:gd name="connsiteY139" fmla="*/ 4390247 h 4999652"/>
              <a:gd name="connsiteX140" fmla="*/ 0 w 11199600"/>
              <a:gd name="connsiteY140" fmla="*/ 4336893 h 4999652"/>
              <a:gd name="connsiteX141" fmla="*/ 0 w 11199600"/>
              <a:gd name="connsiteY141" fmla="*/ 4325365 h 4999652"/>
              <a:gd name="connsiteX142" fmla="*/ 0 w 11199600"/>
              <a:gd name="connsiteY142" fmla="*/ 4249692 h 4999652"/>
              <a:gd name="connsiteX143" fmla="*/ 0 w 11199600"/>
              <a:gd name="connsiteY143" fmla="*/ 4223868 h 4999652"/>
              <a:gd name="connsiteX144" fmla="*/ 0 w 11199600"/>
              <a:gd name="connsiteY144" fmla="*/ 4162398 h 4999652"/>
              <a:gd name="connsiteX145" fmla="*/ 0 w 11199600"/>
              <a:gd name="connsiteY145" fmla="*/ 4096731 h 4999652"/>
              <a:gd name="connsiteX146" fmla="*/ 0 w 11199600"/>
              <a:gd name="connsiteY146" fmla="*/ 4062653 h 4999652"/>
              <a:gd name="connsiteX147" fmla="*/ 0 w 11199600"/>
              <a:gd name="connsiteY147" fmla="*/ 3983128 h 4999652"/>
              <a:gd name="connsiteX148" fmla="*/ 0 w 11199600"/>
              <a:gd name="connsiteY148" fmla="*/ 3979393 h 4999652"/>
              <a:gd name="connsiteX149" fmla="*/ 0 w 11199600"/>
              <a:gd name="connsiteY149" fmla="*/ 3970522 h 4999652"/>
              <a:gd name="connsiteX150" fmla="*/ 0 w 11199600"/>
              <a:gd name="connsiteY150" fmla="*/ 3954654 h 4999652"/>
              <a:gd name="connsiteX151" fmla="*/ 0 w 11199600"/>
              <a:gd name="connsiteY151" fmla="*/ 3953246 h 4999652"/>
              <a:gd name="connsiteX152" fmla="*/ 0 w 11199600"/>
              <a:gd name="connsiteY152" fmla="*/ 3949628 h 4999652"/>
              <a:gd name="connsiteX153" fmla="*/ 0 w 11199600"/>
              <a:gd name="connsiteY153" fmla="*/ 3924765 h 4999652"/>
              <a:gd name="connsiteX154" fmla="*/ 0 w 11199600"/>
              <a:gd name="connsiteY154" fmla="*/ 3882277 h 4999652"/>
              <a:gd name="connsiteX155" fmla="*/ 0 w 11199600"/>
              <a:gd name="connsiteY155" fmla="*/ 3822980 h 4999652"/>
              <a:gd name="connsiteX156" fmla="*/ 0 w 11199600"/>
              <a:gd name="connsiteY156" fmla="*/ 3822491 h 4999652"/>
              <a:gd name="connsiteX157" fmla="*/ 0 w 11199600"/>
              <a:gd name="connsiteY157" fmla="*/ 3796806 h 4999652"/>
              <a:gd name="connsiteX158" fmla="*/ 0 w 11199600"/>
              <a:gd name="connsiteY158" fmla="*/ 3744073 h 4999652"/>
              <a:gd name="connsiteX159" fmla="*/ 0 w 11199600"/>
              <a:gd name="connsiteY159" fmla="*/ 3708888 h 4999652"/>
              <a:gd name="connsiteX160" fmla="*/ 0 w 11199600"/>
              <a:gd name="connsiteY160" fmla="*/ 3707782 h 4999652"/>
              <a:gd name="connsiteX161" fmla="*/ 0 w 11199600"/>
              <a:gd name="connsiteY161" fmla="*/ 3700034 h 4999652"/>
              <a:gd name="connsiteX162" fmla="*/ 0 w 11199600"/>
              <a:gd name="connsiteY162" fmla="*/ 3680414 h 4999652"/>
              <a:gd name="connsiteX163" fmla="*/ 0 w 11199600"/>
              <a:gd name="connsiteY163" fmla="*/ 3679191 h 4999652"/>
              <a:gd name="connsiteX164" fmla="*/ 0 w 11199600"/>
              <a:gd name="connsiteY164" fmla="*/ 3679006 h 4999652"/>
              <a:gd name="connsiteX165" fmla="*/ 0 w 11199600"/>
              <a:gd name="connsiteY165" fmla="*/ 3638057 h 4999652"/>
              <a:gd name="connsiteX166" fmla="*/ 0 w 11199600"/>
              <a:gd name="connsiteY166" fmla="*/ 3622356 h 4999652"/>
              <a:gd name="connsiteX167" fmla="*/ 0 w 11199600"/>
              <a:gd name="connsiteY167" fmla="*/ 3608037 h 4999652"/>
              <a:gd name="connsiteX168" fmla="*/ 0 w 11199600"/>
              <a:gd name="connsiteY168" fmla="*/ 3603518 h 4999652"/>
              <a:gd name="connsiteX169" fmla="*/ 0 w 11199600"/>
              <a:gd name="connsiteY169" fmla="*/ 3570546 h 4999652"/>
              <a:gd name="connsiteX170" fmla="*/ 0 w 11199600"/>
              <a:gd name="connsiteY170" fmla="*/ 3524755 h 4999652"/>
              <a:gd name="connsiteX171" fmla="*/ 0 w 11199600"/>
              <a:gd name="connsiteY171" fmla="*/ 3522566 h 4999652"/>
              <a:gd name="connsiteX172" fmla="*/ 0 w 11199600"/>
              <a:gd name="connsiteY172" fmla="*/ 3516224 h 4999652"/>
              <a:gd name="connsiteX173" fmla="*/ 0 w 11199600"/>
              <a:gd name="connsiteY173" fmla="*/ 3469833 h 4999652"/>
              <a:gd name="connsiteX174" fmla="*/ 0 w 11199600"/>
              <a:gd name="connsiteY174" fmla="*/ 3430476 h 4999652"/>
              <a:gd name="connsiteX175" fmla="*/ 0 w 11199600"/>
              <a:gd name="connsiteY175" fmla="*/ 3416479 h 4999652"/>
              <a:gd name="connsiteX176" fmla="*/ 0 w 11199600"/>
              <a:gd name="connsiteY176" fmla="*/ 3404951 h 4999652"/>
              <a:gd name="connsiteX177" fmla="*/ 0 w 11199600"/>
              <a:gd name="connsiteY177" fmla="*/ 3348116 h 4999652"/>
              <a:gd name="connsiteX178" fmla="*/ 0 w 11199600"/>
              <a:gd name="connsiteY178" fmla="*/ 3329278 h 4999652"/>
              <a:gd name="connsiteX179" fmla="*/ 0 w 11199600"/>
              <a:gd name="connsiteY179" fmla="*/ 3303454 h 4999652"/>
              <a:gd name="connsiteX180" fmla="*/ 0 w 11199600"/>
              <a:gd name="connsiteY180" fmla="*/ 3241984 h 4999652"/>
              <a:gd name="connsiteX181" fmla="*/ 0 w 11199600"/>
              <a:gd name="connsiteY181" fmla="*/ 3220334 h 4999652"/>
              <a:gd name="connsiteX182" fmla="*/ 0 w 11199600"/>
              <a:gd name="connsiteY182" fmla="*/ 3176317 h 4999652"/>
              <a:gd name="connsiteX183" fmla="*/ 0 w 11199600"/>
              <a:gd name="connsiteY183" fmla="*/ 3156236 h 4999652"/>
              <a:gd name="connsiteX184" fmla="*/ 0 w 11199600"/>
              <a:gd name="connsiteY184" fmla="*/ 3142239 h 4999652"/>
              <a:gd name="connsiteX185" fmla="*/ 0 w 11199600"/>
              <a:gd name="connsiteY185" fmla="*/ 3034240 h 4999652"/>
              <a:gd name="connsiteX186" fmla="*/ 0 w 11199600"/>
              <a:gd name="connsiteY186" fmla="*/ 3029214 h 4999652"/>
              <a:gd name="connsiteX187" fmla="*/ 0 w 11199600"/>
              <a:gd name="connsiteY187" fmla="*/ 2991101 h 4999652"/>
              <a:gd name="connsiteX188" fmla="*/ 0 w 11199600"/>
              <a:gd name="connsiteY188" fmla="*/ 2946094 h 4999652"/>
              <a:gd name="connsiteX189" fmla="*/ 0 w 11199600"/>
              <a:gd name="connsiteY189" fmla="*/ 2902077 h 4999652"/>
              <a:gd name="connsiteX190" fmla="*/ 0 w 11199600"/>
              <a:gd name="connsiteY190" fmla="*/ 2876392 h 4999652"/>
              <a:gd name="connsiteX191" fmla="*/ 0 w 11199600"/>
              <a:gd name="connsiteY191" fmla="*/ 2790282 h 4999652"/>
              <a:gd name="connsiteX192" fmla="*/ 0 w 11199600"/>
              <a:gd name="connsiteY192" fmla="*/ 2787072 h 4999652"/>
              <a:gd name="connsiteX193" fmla="*/ 0 w 11199600"/>
              <a:gd name="connsiteY193" fmla="*/ 2760000 h 4999652"/>
              <a:gd name="connsiteX194" fmla="*/ 0 w 11199600"/>
              <a:gd name="connsiteY194" fmla="*/ 2741948 h 4999652"/>
              <a:gd name="connsiteX195" fmla="*/ 0 w 11199600"/>
              <a:gd name="connsiteY195" fmla="*/ 2741947 h 4999652"/>
              <a:gd name="connsiteX196" fmla="*/ 0 w 11199600"/>
              <a:gd name="connsiteY196" fmla="*/ 2716862 h 4999652"/>
              <a:gd name="connsiteX197" fmla="*/ 0 w 11199600"/>
              <a:gd name="connsiteY197" fmla="*/ 2716861 h 4999652"/>
              <a:gd name="connsiteX198" fmla="*/ 0 w 11199600"/>
              <a:gd name="connsiteY198" fmla="*/ 2701942 h 4999652"/>
              <a:gd name="connsiteX199" fmla="*/ 0 w 11199600"/>
              <a:gd name="connsiteY199" fmla="*/ 2602152 h 4999652"/>
              <a:gd name="connsiteX200" fmla="*/ 0 w 11199600"/>
              <a:gd name="connsiteY200" fmla="*/ 2512832 h 4999652"/>
              <a:gd name="connsiteX201" fmla="*/ 0 w 11199600"/>
              <a:gd name="connsiteY201" fmla="*/ 2510062 h 4999652"/>
              <a:gd name="connsiteX202" fmla="*/ 0 w 11199600"/>
              <a:gd name="connsiteY202" fmla="*/ 2472043 h 4999652"/>
              <a:gd name="connsiteX203" fmla="*/ 0 w 11199600"/>
              <a:gd name="connsiteY203" fmla="*/ 2472042 h 4999652"/>
              <a:gd name="connsiteX204" fmla="*/ 0 w 11199600"/>
              <a:gd name="connsiteY204" fmla="*/ 2467708 h 4999652"/>
              <a:gd name="connsiteX205" fmla="*/ 0 w 11199600"/>
              <a:gd name="connsiteY205" fmla="*/ 2467707 h 4999652"/>
              <a:gd name="connsiteX206" fmla="*/ 0 w 11199600"/>
              <a:gd name="connsiteY206" fmla="*/ 2449933 h 4999652"/>
              <a:gd name="connsiteX207" fmla="*/ 0 w 11199600"/>
              <a:gd name="connsiteY207" fmla="*/ 2427702 h 4999652"/>
              <a:gd name="connsiteX208" fmla="*/ 0 w 11199600"/>
              <a:gd name="connsiteY208" fmla="*/ 2299920 h 4999652"/>
              <a:gd name="connsiteX209" fmla="*/ 0 w 11199600"/>
              <a:gd name="connsiteY209" fmla="*/ 2235822 h 4999652"/>
              <a:gd name="connsiteX210" fmla="*/ 0 w 11199600"/>
              <a:gd name="connsiteY210" fmla="*/ 2197803 h 4999652"/>
              <a:gd name="connsiteX211" fmla="*/ 0 w 11199600"/>
              <a:gd name="connsiteY211" fmla="*/ 2197802 h 4999652"/>
              <a:gd name="connsiteX212" fmla="*/ 0 w 11199600"/>
              <a:gd name="connsiteY212" fmla="*/ 2180556 h 4999652"/>
              <a:gd name="connsiteX213" fmla="*/ 0 w 11199600"/>
              <a:gd name="connsiteY213" fmla="*/ 2180555 h 4999652"/>
              <a:gd name="connsiteX214" fmla="*/ 0 w 11199600"/>
              <a:gd name="connsiteY214" fmla="*/ 2175692 h 4999652"/>
              <a:gd name="connsiteX215" fmla="*/ 0 w 11199600"/>
              <a:gd name="connsiteY215" fmla="*/ 2088721 h 4999652"/>
              <a:gd name="connsiteX216" fmla="*/ 0 w 11199600"/>
              <a:gd name="connsiteY216" fmla="*/ 2070687 h 4999652"/>
              <a:gd name="connsiteX217" fmla="*/ 0 w 11199600"/>
              <a:gd name="connsiteY217" fmla="*/ 2025680 h 4999652"/>
              <a:gd name="connsiteX218" fmla="*/ 0 w 11199600"/>
              <a:gd name="connsiteY218" fmla="*/ 1906316 h 4999652"/>
              <a:gd name="connsiteX219" fmla="*/ 0 w 11199600"/>
              <a:gd name="connsiteY219" fmla="*/ 1906315 h 4999652"/>
              <a:gd name="connsiteX220" fmla="*/ 0 w 11199600"/>
              <a:gd name="connsiteY220" fmla="*/ 1866658 h 4999652"/>
              <a:gd name="connsiteX221" fmla="*/ 0 w 11199600"/>
              <a:gd name="connsiteY221" fmla="*/ 1866657 h 4999652"/>
              <a:gd name="connsiteX222" fmla="*/ 0 w 11199600"/>
              <a:gd name="connsiteY222" fmla="*/ 1821533 h 4999652"/>
              <a:gd name="connsiteX223" fmla="*/ 0 w 11199600"/>
              <a:gd name="connsiteY223" fmla="*/ 1814481 h 4999652"/>
              <a:gd name="connsiteX224" fmla="*/ 0 w 11199600"/>
              <a:gd name="connsiteY224" fmla="*/ 1796447 h 4999652"/>
              <a:gd name="connsiteX225" fmla="*/ 0 w 11199600"/>
              <a:gd name="connsiteY225" fmla="*/ 1702609 h 4999652"/>
              <a:gd name="connsiteX226" fmla="*/ 0 w 11199600"/>
              <a:gd name="connsiteY226" fmla="*/ 1592418 h 4999652"/>
              <a:gd name="connsiteX227" fmla="*/ 0 w 11199600"/>
              <a:gd name="connsiteY227" fmla="*/ 1592417 h 4999652"/>
              <a:gd name="connsiteX228" fmla="*/ 0 w 11199600"/>
              <a:gd name="connsiteY228" fmla="*/ 1551628 h 4999652"/>
              <a:gd name="connsiteX229" fmla="*/ 0 w 11199600"/>
              <a:gd name="connsiteY229" fmla="*/ 1547293 h 4999652"/>
              <a:gd name="connsiteX230" fmla="*/ 0 w 11199600"/>
              <a:gd name="connsiteY230" fmla="*/ 1529519 h 4999652"/>
              <a:gd name="connsiteX231" fmla="*/ 0 w 11199600"/>
              <a:gd name="connsiteY231" fmla="*/ 1529518 h 4999652"/>
              <a:gd name="connsiteX232" fmla="*/ 0 w 11199600"/>
              <a:gd name="connsiteY232" fmla="*/ 1428369 h 4999652"/>
              <a:gd name="connsiteX233" fmla="*/ 0 w 11199600"/>
              <a:gd name="connsiteY233" fmla="*/ 1290764 h 4999652"/>
              <a:gd name="connsiteX234" fmla="*/ 0 w 11199600"/>
              <a:gd name="connsiteY234" fmla="*/ 1277388 h 4999652"/>
              <a:gd name="connsiteX235" fmla="*/ 0 w 11199600"/>
              <a:gd name="connsiteY235" fmla="*/ 1260141 h 4999652"/>
              <a:gd name="connsiteX236" fmla="*/ 0 w 11199600"/>
              <a:gd name="connsiteY236" fmla="*/ 1255278 h 4999652"/>
              <a:gd name="connsiteX237" fmla="*/ 0 w 11199600"/>
              <a:gd name="connsiteY237" fmla="*/ 1255277 h 4999652"/>
              <a:gd name="connsiteX238" fmla="*/ 0 w 11199600"/>
              <a:gd name="connsiteY238" fmla="*/ 1208224 h 4999652"/>
              <a:gd name="connsiteX239" fmla="*/ 0 w 11199600"/>
              <a:gd name="connsiteY239" fmla="*/ 1168307 h 4999652"/>
              <a:gd name="connsiteX240" fmla="*/ 0 w 11199600"/>
              <a:gd name="connsiteY240" fmla="*/ 1016524 h 4999652"/>
              <a:gd name="connsiteX241" fmla="*/ 0 w 11199600"/>
              <a:gd name="connsiteY241" fmla="*/ 894067 h 4999652"/>
              <a:gd name="connsiteX242" fmla="*/ 0 w 11199600"/>
              <a:gd name="connsiteY242" fmla="*/ 782195 h 4999652"/>
              <a:gd name="connsiteX243" fmla="*/ 0 w 11199600"/>
              <a:gd name="connsiteY243" fmla="*/ 507955 h 4999652"/>
              <a:gd name="connsiteX244" fmla="*/ 0 w 11199600"/>
              <a:gd name="connsiteY244" fmla="*/ 370350 h 4999652"/>
              <a:gd name="connsiteX245" fmla="*/ 0 w 11199600"/>
              <a:gd name="connsiteY245" fmla="*/ 96110 h 4999652"/>
              <a:gd name="connsiteX246" fmla="*/ 95997 w 11199600"/>
              <a:gd name="connsiteY246" fmla="*/ 0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</a:cxnLst>
            <a:rect l="l" t="t" r="r" b="b"/>
            <a:pathLst>
              <a:path w="11199600" h="4999652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08224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8"/>
                </a:ln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lnTo>
                  <a:pt x="11199600" y="1337290"/>
                </a:lnTo>
                <a:lnTo>
                  <a:pt x="11199600" y="1349128"/>
                </a:lnTo>
                <a:lnTo>
                  <a:pt x="11199600" y="1362376"/>
                </a:lnTo>
                <a:lnTo>
                  <a:pt x="11199600" y="1377295"/>
                </a:ln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6"/>
                </a:ln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6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07195"/>
                </a:lnTo>
                <a:lnTo>
                  <a:pt x="11199600" y="1611530"/>
                </a:lnTo>
                <a:lnTo>
                  <a:pt x="11199600" y="1651535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7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6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881436"/>
                </a:lnTo>
                <a:lnTo>
                  <a:pt x="11199600" y="1898682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0"/>
                </a:lnTo>
                <a:lnTo>
                  <a:pt x="11199600" y="2008551"/>
                </a:lnTo>
                <a:lnTo>
                  <a:pt x="11199600" y="2053557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172922"/>
                </a:lnTo>
                <a:lnTo>
                  <a:pt x="11199600" y="2212580"/>
                </a:lnTo>
                <a:lnTo>
                  <a:pt x="11199600" y="2239653"/>
                </a:lnTo>
                <a:lnTo>
                  <a:pt x="11199600" y="2257704"/>
                </a:lnTo>
                <a:lnTo>
                  <a:pt x="11199600" y="2257705"/>
                </a:lnTo>
                <a:lnTo>
                  <a:pt x="11199600" y="2282790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6821"/>
                </a:lnTo>
                <a:lnTo>
                  <a:pt x="11199600" y="2489591"/>
                </a:lnTo>
                <a:lnTo>
                  <a:pt x="11199600" y="2527609"/>
                </a:lnTo>
                <a:lnTo>
                  <a:pt x="11199600" y="2527610"/>
                </a:lnTo>
                <a:lnTo>
                  <a:pt x="11199600" y="2531944"/>
                </a:lnTo>
                <a:lnTo>
                  <a:pt x="11199600" y="2531945"/>
                </a:lnTo>
                <a:lnTo>
                  <a:pt x="11199600" y="2549720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790282"/>
                </a:lnTo>
                <a:lnTo>
                  <a:pt x="11199600" y="2801850"/>
                </a:lnTo>
                <a:lnTo>
                  <a:pt x="11199600" y="2819096"/>
                </a:lnTo>
                <a:lnTo>
                  <a:pt x="11199600" y="2823960"/>
                </a:lnTo>
                <a:lnTo>
                  <a:pt x="11199600" y="2910931"/>
                </a:lnTo>
                <a:lnTo>
                  <a:pt x="11199600" y="3093336"/>
                </a:lnTo>
                <a:lnTo>
                  <a:pt x="11199600" y="3132994"/>
                </a:lnTo>
                <a:lnTo>
                  <a:pt x="11199600" y="3185171"/>
                </a:lnTo>
                <a:lnTo>
                  <a:pt x="11199600" y="3297044"/>
                </a:lnTo>
                <a:lnTo>
                  <a:pt x="11199600" y="3407235"/>
                </a:lnTo>
                <a:lnTo>
                  <a:pt x="11199600" y="3470134"/>
                </a:lnTo>
                <a:lnTo>
                  <a:pt x="11199600" y="3571284"/>
                </a:lnTo>
                <a:lnTo>
                  <a:pt x="11199600" y="3708888"/>
                </a:lnTo>
                <a:lnTo>
                  <a:pt x="11199600" y="3744374"/>
                </a:lnTo>
                <a:lnTo>
                  <a:pt x="11199600" y="3831345"/>
                </a:lnTo>
                <a:lnTo>
                  <a:pt x="11199600" y="3983128"/>
                </a:lnTo>
                <a:lnTo>
                  <a:pt x="11199600" y="4105585"/>
                </a:lnTo>
                <a:lnTo>
                  <a:pt x="11199600" y="4217458"/>
                </a:lnTo>
                <a:lnTo>
                  <a:pt x="11199600" y="4491698"/>
                </a:lnTo>
                <a:lnTo>
                  <a:pt x="11199600" y="4629302"/>
                </a:lnTo>
                <a:lnTo>
                  <a:pt x="11199600" y="4903542"/>
                </a:lnTo>
                <a:cubicBezTo>
                  <a:pt x="11199600" y="4999652"/>
                  <a:pt x="11103603" y="4999652"/>
                  <a:pt x="11103603" y="4999652"/>
                </a:cubicBezTo>
                <a:cubicBezTo>
                  <a:pt x="11103603" y="4999652"/>
                  <a:pt x="11103603" y="4999652"/>
                  <a:pt x="95997" y="4999652"/>
                </a:cubicBezTo>
                <a:cubicBezTo>
                  <a:pt x="0" y="4999652"/>
                  <a:pt x="0" y="4903542"/>
                  <a:pt x="0" y="4903542"/>
                </a:cubicBezTo>
                <a:lnTo>
                  <a:pt x="0" y="4899807"/>
                </a:lnTo>
                <a:lnTo>
                  <a:pt x="0" y="4890936"/>
                </a:lnTo>
                <a:lnTo>
                  <a:pt x="0" y="4873660"/>
                </a:lnTo>
                <a:lnTo>
                  <a:pt x="0" y="4845179"/>
                </a:lnTo>
                <a:lnTo>
                  <a:pt x="0" y="4802691"/>
                </a:lnTo>
                <a:lnTo>
                  <a:pt x="0" y="4743394"/>
                </a:lnTo>
                <a:lnTo>
                  <a:pt x="0" y="4664487"/>
                </a:lnTo>
                <a:lnTo>
                  <a:pt x="0" y="4629302"/>
                </a:lnTo>
                <a:lnTo>
                  <a:pt x="0" y="4628196"/>
                </a:lnTo>
                <a:lnTo>
                  <a:pt x="0" y="4620448"/>
                </a:lnTo>
                <a:lnTo>
                  <a:pt x="0" y="4599605"/>
                </a:lnTo>
                <a:lnTo>
                  <a:pt x="0" y="4599420"/>
                </a:lnTo>
                <a:lnTo>
                  <a:pt x="0" y="4558471"/>
                </a:lnTo>
                <a:lnTo>
                  <a:pt x="0" y="4528451"/>
                </a:lnTo>
                <a:lnTo>
                  <a:pt x="0" y="4523932"/>
                </a:lnTo>
                <a:lnTo>
                  <a:pt x="0" y="4490960"/>
                </a:lnTo>
                <a:lnTo>
                  <a:pt x="0" y="4445169"/>
                </a:lnTo>
                <a:lnTo>
                  <a:pt x="0" y="4436638"/>
                </a:lnTo>
                <a:lnTo>
                  <a:pt x="0" y="4390247"/>
                </a:lnTo>
                <a:lnTo>
                  <a:pt x="0" y="4336893"/>
                </a:lnTo>
                <a:lnTo>
                  <a:pt x="0" y="4325365"/>
                </a:lnTo>
                <a:lnTo>
                  <a:pt x="0" y="4249692"/>
                </a:lnTo>
                <a:lnTo>
                  <a:pt x="0" y="4223868"/>
                </a:lnTo>
                <a:lnTo>
                  <a:pt x="0" y="4162398"/>
                </a:lnTo>
                <a:lnTo>
                  <a:pt x="0" y="4096731"/>
                </a:lnTo>
                <a:lnTo>
                  <a:pt x="0" y="4062653"/>
                </a:lnTo>
                <a:lnTo>
                  <a:pt x="0" y="3983128"/>
                </a:lnTo>
                <a:lnTo>
                  <a:pt x="0" y="3979393"/>
                </a:lnTo>
                <a:lnTo>
                  <a:pt x="0" y="3970522"/>
                </a:lnTo>
                <a:lnTo>
                  <a:pt x="0" y="3954654"/>
                </a:lnTo>
                <a:lnTo>
                  <a:pt x="0" y="3953246"/>
                </a:lnTo>
                <a:lnTo>
                  <a:pt x="0" y="3949628"/>
                </a:lnTo>
                <a:lnTo>
                  <a:pt x="0" y="3924765"/>
                </a:lnTo>
                <a:lnTo>
                  <a:pt x="0" y="3882277"/>
                </a:lnTo>
                <a:lnTo>
                  <a:pt x="0" y="3822980"/>
                </a:lnTo>
                <a:lnTo>
                  <a:pt x="0" y="3822491"/>
                </a:lnTo>
                <a:lnTo>
                  <a:pt x="0" y="3796806"/>
                </a:lnTo>
                <a:lnTo>
                  <a:pt x="0" y="3744073"/>
                </a:lnTo>
                <a:lnTo>
                  <a:pt x="0" y="3708888"/>
                </a:lnTo>
                <a:lnTo>
                  <a:pt x="0" y="3707782"/>
                </a:lnTo>
                <a:lnTo>
                  <a:pt x="0" y="3700034"/>
                </a:lnTo>
                <a:lnTo>
                  <a:pt x="0" y="3680414"/>
                </a:lnTo>
                <a:lnTo>
                  <a:pt x="0" y="3679191"/>
                </a:lnTo>
                <a:lnTo>
                  <a:pt x="0" y="3679006"/>
                </a:lnTo>
                <a:lnTo>
                  <a:pt x="0" y="3638057"/>
                </a:lnTo>
                <a:lnTo>
                  <a:pt x="0" y="3622356"/>
                </a:lnTo>
                <a:lnTo>
                  <a:pt x="0" y="3608037"/>
                </a:lnTo>
                <a:lnTo>
                  <a:pt x="0" y="3603518"/>
                </a:lnTo>
                <a:lnTo>
                  <a:pt x="0" y="3570546"/>
                </a:lnTo>
                <a:lnTo>
                  <a:pt x="0" y="3524755"/>
                </a:lnTo>
                <a:lnTo>
                  <a:pt x="0" y="3522566"/>
                </a:lnTo>
                <a:lnTo>
                  <a:pt x="0" y="3516224"/>
                </a:lnTo>
                <a:lnTo>
                  <a:pt x="0" y="3469833"/>
                </a:lnTo>
                <a:lnTo>
                  <a:pt x="0" y="3430476"/>
                </a:lnTo>
                <a:lnTo>
                  <a:pt x="0" y="3416479"/>
                </a:lnTo>
                <a:lnTo>
                  <a:pt x="0" y="3404951"/>
                </a:lnTo>
                <a:lnTo>
                  <a:pt x="0" y="3348116"/>
                </a:lnTo>
                <a:lnTo>
                  <a:pt x="0" y="3329278"/>
                </a:lnTo>
                <a:lnTo>
                  <a:pt x="0" y="3303454"/>
                </a:lnTo>
                <a:lnTo>
                  <a:pt x="0" y="3241984"/>
                </a:lnTo>
                <a:lnTo>
                  <a:pt x="0" y="3220334"/>
                </a:lnTo>
                <a:lnTo>
                  <a:pt x="0" y="3176317"/>
                </a:lnTo>
                <a:lnTo>
                  <a:pt x="0" y="3156236"/>
                </a:lnTo>
                <a:lnTo>
                  <a:pt x="0" y="3142239"/>
                </a:lnTo>
                <a:lnTo>
                  <a:pt x="0" y="3034240"/>
                </a:lnTo>
                <a:lnTo>
                  <a:pt x="0" y="3029214"/>
                </a:lnTo>
                <a:lnTo>
                  <a:pt x="0" y="2991101"/>
                </a:lnTo>
                <a:lnTo>
                  <a:pt x="0" y="2946094"/>
                </a:lnTo>
                <a:lnTo>
                  <a:pt x="0" y="2902077"/>
                </a:lnTo>
                <a:lnTo>
                  <a:pt x="0" y="2876392"/>
                </a:lnTo>
                <a:lnTo>
                  <a:pt x="0" y="2790282"/>
                </a:lnTo>
                <a:lnTo>
                  <a:pt x="0" y="2787072"/>
                </a:lnTo>
                <a:lnTo>
                  <a:pt x="0" y="2760000"/>
                </a:lnTo>
                <a:lnTo>
                  <a:pt x="0" y="2741948"/>
                </a:lnTo>
                <a:lnTo>
                  <a:pt x="0" y="2741947"/>
                </a:lnTo>
                <a:lnTo>
                  <a:pt x="0" y="2716862"/>
                </a:lnTo>
                <a:lnTo>
                  <a:pt x="0" y="2716861"/>
                </a:lnTo>
                <a:lnTo>
                  <a:pt x="0" y="2701942"/>
                </a:lnTo>
                <a:lnTo>
                  <a:pt x="0" y="2602152"/>
                </a:lnTo>
                <a:lnTo>
                  <a:pt x="0" y="2512832"/>
                </a:lnTo>
                <a:lnTo>
                  <a:pt x="0" y="2510062"/>
                </a:lnTo>
                <a:lnTo>
                  <a:pt x="0" y="2472043"/>
                </a:lnTo>
                <a:lnTo>
                  <a:pt x="0" y="2472042"/>
                </a:lnTo>
                <a:lnTo>
                  <a:pt x="0" y="2467708"/>
                </a:lnTo>
                <a:lnTo>
                  <a:pt x="0" y="2467707"/>
                </a:lnTo>
                <a:lnTo>
                  <a:pt x="0" y="2449933"/>
                </a:lnTo>
                <a:lnTo>
                  <a:pt x="0" y="2427702"/>
                </a:lnTo>
                <a:lnTo>
                  <a:pt x="0" y="2299920"/>
                </a:lnTo>
                <a:lnTo>
                  <a:pt x="0" y="2235822"/>
                </a:lnTo>
                <a:lnTo>
                  <a:pt x="0" y="2197803"/>
                </a:lnTo>
                <a:lnTo>
                  <a:pt x="0" y="2197802"/>
                </a:lnTo>
                <a:lnTo>
                  <a:pt x="0" y="2180556"/>
                </a:lnTo>
                <a:lnTo>
                  <a:pt x="0" y="2180555"/>
                </a:lnTo>
                <a:lnTo>
                  <a:pt x="0" y="2175692"/>
                </a:lnTo>
                <a:lnTo>
                  <a:pt x="0" y="2088721"/>
                </a:lnTo>
                <a:lnTo>
                  <a:pt x="0" y="2070687"/>
                </a:lnTo>
                <a:lnTo>
                  <a:pt x="0" y="2025680"/>
                </a:lnTo>
                <a:lnTo>
                  <a:pt x="0" y="1906316"/>
                </a:lnTo>
                <a:lnTo>
                  <a:pt x="0" y="1906315"/>
                </a:lnTo>
                <a:lnTo>
                  <a:pt x="0" y="1866658"/>
                </a:lnTo>
                <a:lnTo>
                  <a:pt x="0" y="1866657"/>
                </a:lnTo>
                <a:lnTo>
                  <a:pt x="0" y="1821533"/>
                </a:lnTo>
                <a:lnTo>
                  <a:pt x="0" y="1814481"/>
                </a:lnTo>
                <a:lnTo>
                  <a:pt x="0" y="1796447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92417"/>
                </a:lnTo>
                <a:lnTo>
                  <a:pt x="0" y="1551628"/>
                </a:lnTo>
                <a:lnTo>
                  <a:pt x="0" y="1547293"/>
                </a:lnTo>
                <a:lnTo>
                  <a:pt x="0" y="1529519"/>
                </a:lnTo>
                <a:lnTo>
                  <a:pt x="0" y="1529518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77388"/>
                </a:lnTo>
                <a:lnTo>
                  <a:pt x="0" y="1260141"/>
                </a:lnTo>
                <a:lnTo>
                  <a:pt x="0" y="1255278"/>
                </a:lnTo>
                <a:lnTo>
                  <a:pt x="0" y="1255277"/>
                </a:lnTo>
                <a:lnTo>
                  <a:pt x="0" y="1208224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de-DE" noProof="0" smtClean="0"/>
              <a:t>Bild durch Klicken auf Symbol hinzufüg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20033298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2">
          <p15:clr>
            <a:srgbClr val="FBAE4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696912" y="280733"/>
            <a:ext cx="11199600" cy="5920067"/>
          </a:xfrm>
          <a:custGeom>
            <a:avLst/>
            <a:gdLst>
              <a:gd name="connsiteX0" fmla="*/ 95997 w 11199600"/>
              <a:gd name="connsiteY0" fmla="*/ 0 h 5920067"/>
              <a:gd name="connsiteX1" fmla="*/ 11103603 w 11199600"/>
              <a:gd name="connsiteY1" fmla="*/ 0 h 5920067"/>
              <a:gd name="connsiteX2" fmla="*/ 11199600 w 11199600"/>
              <a:gd name="connsiteY2" fmla="*/ 96110 h 5920067"/>
              <a:gd name="connsiteX3" fmla="*/ 11199600 w 11199600"/>
              <a:gd name="connsiteY3" fmla="*/ 335165 h 5920067"/>
              <a:gd name="connsiteX4" fmla="*/ 11199600 w 11199600"/>
              <a:gd name="connsiteY4" fmla="*/ 370350 h 5920067"/>
              <a:gd name="connsiteX5" fmla="*/ 11199600 w 11199600"/>
              <a:gd name="connsiteY5" fmla="*/ 379204 h 5920067"/>
              <a:gd name="connsiteX6" fmla="*/ 11199600 w 11199600"/>
              <a:gd name="connsiteY6" fmla="*/ 400048 h 5920067"/>
              <a:gd name="connsiteX7" fmla="*/ 11199600 w 11199600"/>
              <a:gd name="connsiteY7" fmla="*/ 400232 h 5920067"/>
              <a:gd name="connsiteX8" fmla="*/ 11199600 w 11199600"/>
              <a:gd name="connsiteY8" fmla="*/ 471202 h 5920067"/>
              <a:gd name="connsiteX9" fmla="*/ 11199600 w 11199600"/>
              <a:gd name="connsiteY9" fmla="*/ 475721 h 5920067"/>
              <a:gd name="connsiteX10" fmla="*/ 11199600 w 11199600"/>
              <a:gd name="connsiteY10" fmla="*/ 508692 h 5920067"/>
              <a:gd name="connsiteX11" fmla="*/ 11199600 w 11199600"/>
              <a:gd name="connsiteY11" fmla="*/ 554484 h 5920067"/>
              <a:gd name="connsiteX12" fmla="*/ 11199600 w 11199600"/>
              <a:gd name="connsiteY12" fmla="*/ 563015 h 5920067"/>
              <a:gd name="connsiteX13" fmla="*/ 11199600 w 11199600"/>
              <a:gd name="connsiteY13" fmla="*/ 609405 h 5920067"/>
              <a:gd name="connsiteX14" fmla="*/ 11199600 w 11199600"/>
              <a:gd name="connsiteY14" fmla="*/ 662759 h 5920067"/>
              <a:gd name="connsiteX15" fmla="*/ 11199600 w 11199600"/>
              <a:gd name="connsiteY15" fmla="*/ 674288 h 5920067"/>
              <a:gd name="connsiteX16" fmla="*/ 11199600 w 11199600"/>
              <a:gd name="connsiteY16" fmla="*/ 749961 h 5920067"/>
              <a:gd name="connsiteX17" fmla="*/ 11199600 w 11199600"/>
              <a:gd name="connsiteY17" fmla="*/ 775785 h 5920067"/>
              <a:gd name="connsiteX18" fmla="*/ 11199600 w 11199600"/>
              <a:gd name="connsiteY18" fmla="*/ 837255 h 5920067"/>
              <a:gd name="connsiteX19" fmla="*/ 11199600 w 11199600"/>
              <a:gd name="connsiteY19" fmla="*/ 902921 h 5920067"/>
              <a:gd name="connsiteX20" fmla="*/ 11199600 w 11199600"/>
              <a:gd name="connsiteY20" fmla="*/ 936999 h 5920067"/>
              <a:gd name="connsiteX21" fmla="*/ 11199600 w 11199600"/>
              <a:gd name="connsiteY21" fmla="*/ 1016524 h 5920067"/>
              <a:gd name="connsiteX22" fmla="*/ 11199600 w 11199600"/>
              <a:gd name="connsiteY22" fmla="*/ 1029131 h 5920067"/>
              <a:gd name="connsiteX23" fmla="*/ 11199600 w 11199600"/>
              <a:gd name="connsiteY23" fmla="*/ 1044999 h 5920067"/>
              <a:gd name="connsiteX24" fmla="*/ 11199600 w 11199600"/>
              <a:gd name="connsiteY24" fmla="*/ 1046406 h 5920067"/>
              <a:gd name="connsiteX25" fmla="*/ 11199600 w 11199600"/>
              <a:gd name="connsiteY25" fmla="*/ 1050025 h 5920067"/>
              <a:gd name="connsiteX26" fmla="*/ 11199600 w 11199600"/>
              <a:gd name="connsiteY26" fmla="*/ 1074887 h 5920067"/>
              <a:gd name="connsiteX27" fmla="*/ 11199600 w 11199600"/>
              <a:gd name="connsiteY27" fmla="*/ 1176672 h 5920067"/>
              <a:gd name="connsiteX28" fmla="*/ 11199600 w 11199600"/>
              <a:gd name="connsiteY28" fmla="*/ 1177161 h 5920067"/>
              <a:gd name="connsiteX29" fmla="*/ 11199600 w 11199600"/>
              <a:gd name="connsiteY29" fmla="*/ 1202847 h 5920067"/>
              <a:gd name="connsiteX30" fmla="*/ 11199600 w 11199600"/>
              <a:gd name="connsiteY30" fmla="*/ 1255579 h 5920067"/>
              <a:gd name="connsiteX31" fmla="*/ 11199600 w 11199600"/>
              <a:gd name="connsiteY31" fmla="*/ 1290764 h 5920067"/>
              <a:gd name="connsiteX32" fmla="*/ 11199600 w 11199600"/>
              <a:gd name="connsiteY32" fmla="*/ 1299618 h 5920067"/>
              <a:gd name="connsiteX33" fmla="*/ 11199600 w 11199600"/>
              <a:gd name="connsiteY33" fmla="*/ 1319239 h 5920067"/>
              <a:gd name="connsiteX34" fmla="*/ 11199600 w 11199600"/>
              <a:gd name="connsiteY34" fmla="*/ 1320462 h 5920067"/>
              <a:gd name="connsiteX35" fmla="*/ 11199600 w 11199600"/>
              <a:gd name="connsiteY35" fmla="*/ 1320646 h 5920067"/>
              <a:gd name="connsiteX36" fmla="*/ 11199600 w 11199600"/>
              <a:gd name="connsiteY36" fmla="*/ 1349128 h 5920067"/>
              <a:gd name="connsiteX37" fmla="*/ 11199600 w 11199600"/>
              <a:gd name="connsiteY37" fmla="*/ 1377296 h 5920067"/>
              <a:gd name="connsiteX38" fmla="*/ 11199600 w 11199600"/>
              <a:gd name="connsiteY38" fmla="*/ 1391616 h 5920067"/>
              <a:gd name="connsiteX39" fmla="*/ 11199600 w 11199600"/>
              <a:gd name="connsiteY39" fmla="*/ 1396135 h 5920067"/>
              <a:gd name="connsiteX40" fmla="*/ 11199600 w 11199600"/>
              <a:gd name="connsiteY40" fmla="*/ 1429106 h 5920067"/>
              <a:gd name="connsiteX41" fmla="*/ 11199600 w 11199600"/>
              <a:gd name="connsiteY41" fmla="*/ 1474898 h 5920067"/>
              <a:gd name="connsiteX42" fmla="*/ 11199600 w 11199600"/>
              <a:gd name="connsiteY42" fmla="*/ 1477087 h 5920067"/>
              <a:gd name="connsiteX43" fmla="*/ 11199600 w 11199600"/>
              <a:gd name="connsiteY43" fmla="*/ 1483429 h 5920067"/>
              <a:gd name="connsiteX44" fmla="*/ 11199600 w 11199600"/>
              <a:gd name="connsiteY44" fmla="*/ 1529819 h 5920067"/>
              <a:gd name="connsiteX45" fmla="*/ 11199600 w 11199600"/>
              <a:gd name="connsiteY45" fmla="*/ 1569177 h 5920067"/>
              <a:gd name="connsiteX46" fmla="*/ 11199600 w 11199600"/>
              <a:gd name="connsiteY46" fmla="*/ 1583173 h 5920067"/>
              <a:gd name="connsiteX47" fmla="*/ 11199600 w 11199600"/>
              <a:gd name="connsiteY47" fmla="*/ 1594702 h 5920067"/>
              <a:gd name="connsiteX48" fmla="*/ 11199600 w 11199600"/>
              <a:gd name="connsiteY48" fmla="*/ 1651536 h 5920067"/>
              <a:gd name="connsiteX49" fmla="*/ 11199600 w 11199600"/>
              <a:gd name="connsiteY49" fmla="*/ 1670375 h 5920067"/>
              <a:gd name="connsiteX50" fmla="*/ 11199600 w 11199600"/>
              <a:gd name="connsiteY50" fmla="*/ 1696199 h 5920067"/>
              <a:gd name="connsiteX51" fmla="*/ 11199600 w 11199600"/>
              <a:gd name="connsiteY51" fmla="*/ 1757669 h 5920067"/>
              <a:gd name="connsiteX52" fmla="*/ 11199600 w 11199600"/>
              <a:gd name="connsiteY52" fmla="*/ 1779318 h 5920067"/>
              <a:gd name="connsiteX53" fmla="*/ 11199600 w 11199600"/>
              <a:gd name="connsiteY53" fmla="*/ 1823335 h 5920067"/>
              <a:gd name="connsiteX54" fmla="*/ 11199600 w 11199600"/>
              <a:gd name="connsiteY54" fmla="*/ 1843417 h 5920067"/>
              <a:gd name="connsiteX55" fmla="*/ 11199600 w 11199600"/>
              <a:gd name="connsiteY55" fmla="*/ 1857413 h 5920067"/>
              <a:gd name="connsiteX56" fmla="*/ 11199600 w 11199600"/>
              <a:gd name="connsiteY56" fmla="*/ 1965413 h 5920067"/>
              <a:gd name="connsiteX57" fmla="*/ 11199600 w 11199600"/>
              <a:gd name="connsiteY57" fmla="*/ 1970439 h 5920067"/>
              <a:gd name="connsiteX58" fmla="*/ 11199600 w 11199600"/>
              <a:gd name="connsiteY58" fmla="*/ 2008551 h 5920067"/>
              <a:gd name="connsiteX59" fmla="*/ 11199600 w 11199600"/>
              <a:gd name="connsiteY59" fmla="*/ 2053558 h 5920067"/>
              <a:gd name="connsiteX60" fmla="*/ 11199600 w 11199600"/>
              <a:gd name="connsiteY60" fmla="*/ 2097575 h 5920067"/>
              <a:gd name="connsiteX61" fmla="*/ 11199600 w 11199600"/>
              <a:gd name="connsiteY61" fmla="*/ 2123261 h 5920067"/>
              <a:gd name="connsiteX62" fmla="*/ 11199600 w 11199600"/>
              <a:gd name="connsiteY62" fmla="*/ 2239653 h 5920067"/>
              <a:gd name="connsiteX63" fmla="*/ 11199600 w 11199600"/>
              <a:gd name="connsiteY63" fmla="*/ 2257705 h 5920067"/>
              <a:gd name="connsiteX64" fmla="*/ 11199600 w 11199600"/>
              <a:gd name="connsiteY64" fmla="*/ 2282791 h 5920067"/>
              <a:gd name="connsiteX65" fmla="*/ 11199600 w 11199600"/>
              <a:gd name="connsiteY65" fmla="*/ 2297710 h 5920067"/>
              <a:gd name="connsiteX66" fmla="*/ 11199600 w 11199600"/>
              <a:gd name="connsiteY66" fmla="*/ 2397501 h 5920067"/>
              <a:gd name="connsiteX67" fmla="*/ 11199600 w 11199600"/>
              <a:gd name="connsiteY67" fmla="*/ 2489591 h 5920067"/>
              <a:gd name="connsiteX68" fmla="*/ 11199600 w 11199600"/>
              <a:gd name="connsiteY68" fmla="*/ 2527610 h 5920067"/>
              <a:gd name="connsiteX69" fmla="*/ 11199600 w 11199600"/>
              <a:gd name="connsiteY69" fmla="*/ 2531945 h 5920067"/>
              <a:gd name="connsiteX70" fmla="*/ 11199600 w 11199600"/>
              <a:gd name="connsiteY70" fmla="*/ 2571950 h 5920067"/>
              <a:gd name="connsiteX71" fmla="*/ 11199600 w 11199600"/>
              <a:gd name="connsiteY71" fmla="*/ 2699732 h 5920067"/>
              <a:gd name="connsiteX72" fmla="*/ 11199600 w 11199600"/>
              <a:gd name="connsiteY72" fmla="*/ 2763831 h 5920067"/>
              <a:gd name="connsiteX73" fmla="*/ 11199600 w 11199600"/>
              <a:gd name="connsiteY73" fmla="*/ 2801851 h 5920067"/>
              <a:gd name="connsiteX74" fmla="*/ 11199600 w 11199600"/>
              <a:gd name="connsiteY74" fmla="*/ 2819097 h 5920067"/>
              <a:gd name="connsiteX75" fmla="*/ 11199600 w 11199600"/>
              <a:gd name="connsiteY75" fmla="*/ 2928965 h 5920067"/>
              <a:gd name="connsiteX76" fmla="*/ 11199600 w 11199600"/>
              <a:gd name="connsiteY76" fmla="*/ 2973972 h 5920067"/>
              <a:gd name="connsiteX77" fmla="*/ 11199600 w 11199600"/>
              <a:gd name="connsiteY77" fmla="*/ 3093337 h 5920067"/>
              <a:gd name="connsiteX78" fmla="*/ 11199600 w 11199600"/>
              <a:gd name="connsiteY78" fmla="*/ 3132995 h 5920067"/>
              <a:gd name="connsiteX79" fmla="*/ 11199600 w 11199600"/>
              <a:gd name="connsiteY79" fmla="*/ 3178119 h 5920067"/>
              <a:gd name="connsiteX80" fmla="*/ 11199600 w 11199600"/>
              <a:gd name="connsiteY80" fmla="*/ 3203205 h 5920067"/>
              <a:gd name="connsiteX81" fmla="*/ 11199600 w 11199600"/>
              <a:gd name="connsiteY81" fmla="*/ 3407236 h 5920067"/>
              <a:gd name="connsiteX82" fmla="*/ 11199600 w 11199600"/>
              <a:gd name="connsiteY82" fmla="*/ 3448024 h 5920067"/>
              <a:gd name="connsiteX83" fmla="*/ 11199600 w 11199600"/>
              <a:gd name="connsiteY83" fmla="*/ 3452359 h 5920067"/>
              <a:gd name="connsiteX84" fmla="*/ 11199600 w 11199600"/>
              <a:gd name="connsiteY84" fmla="*/ 3470135 h 5920067"/>
              <a:gd name="connsiteX85" fmla="*/ 11199600 w 11199600"/>
              <a:gd name="connsiteY85" fmla="*/ 3722265 h 5920067"/>
              <a:gd name="connsiteX86" fmla="*/ 11199600 w 11199600"/>
              <a:gd name="connsiteY86" fmla="*/ 3739511 h 5920067"/>
              <a:gd name="connsiteX87" fmla="*/ 11199600 w 11199600"/>
              <a:gd name="connsiteY87" fmla="*/ 3744375 h 5920067"/>
              <a:gd name="connsiteX88" fmla="*/ 11199600 w 11199600"/>
              <a:gd name="connsiteY88" fmla="*/ 3831346 h 5920067"/>
              <a:gd name="connsiteX89" fmla="*/ 11199600 w 11199600"/>
              <a:gd name="connsiteY89" fmla="*/ 4013751 h 5920067"/>
              <a:gd name="connsiteX90" fmla="*/ 11199600 w 11199600"/>
              <a:gd name="connsiteY90" fmla="*/ 4053409 h 5920067"/>
              <a:gd name="connsiteX91" fmla="*/ 11199600 w 11199600"/>
              <a:gd name="connsiteY91" fmla="*/ 4105586 h 5920067"/>
              <a:gd name="connsiteX92" fmla="*/ 11199600 w 11199600"/>
              <a:gd name="connsiteY92" fmla="*/ 4217459 h 5920067"/>
              <a:gd name="connsiteX93" fmla="*/ 11199600 w 11199600"/>
              <a:gd name="connsiteY93" fmla="*/ 4327650 h 5920067"/>
              <a:gd name="connsiteX94" fmla="*/ 11199600 w 11199600"/>
              <a:gd name="connsiteY94" fmla="*/ 4390549 h 5920067"/>
              <a:gd name="connsiteX95" fmla="*/ 11199600 w 11199600"/>
              <a:gd name="connsiteY95" fmla="*/ 4491699 h 5920067"/>
              <a:gd name="connsiteX96" fmla="*/ 11199600 w 11199600"/>
              <a:gd name="connsiteY96" fmla="*/ 4629303 h 5920067"/>
              <a:gd name="connsiteX97" fmla="*/ 11199600 w 11199600"/>
              <a:gd name="connsiteY97" fmla="*/ 4664789 h 5920067"/>
              <a:gd name="connsiteX98" fmla="*/ 11199600 w 11199600"/>
              <a:gd name="connsiteY98" fmla="*/ 4751760 h 5920067"/>
              <a:gd name="connsiteX99" fmla="*/ 11199600 w 11199600"/>
              <a:gd name="connsiteY99" fmla="*/ 4903543 h 5920067"/>
              <a:gd name="connsiteX100" fmla="*/ 11199600 w 11199600"/>
              <a:gd name="connsiteY100" fmla="*/ 5026000 h 5920067"/>
              <a:gd name="connsiteX101" fmla="*/ 11199600 w 11199600"/>
              <a:gd name="connsiteY101" fmla="*/ 5137873 h 5920067"/>
              <a:gd name="connsiteX102" fmla="*/ 11199600 w 11199600"/>
              <a:gd name="connsiteY102" fmla="*/ 5412113 h 5920067"/>
              <a:gd name="connsiteX103" fmla="*/ 11199600 w 11199600"/>
              <a:gd name="connsiteY103" fmla="*/ 5549717 h 5920067"/>
              <a:gd name="connsiteX104" fmla="*/ 11199600 w 11199600"/>
              <a:gd name="connsiteY104" fmla="*/ 5823957 h 5920067"/>
              <a:gd name="connsiteX105" fmla="*/ 11103603 w 11199600"/>
              <a:gd name="connsiteY105" fmla="*/ 5920067 h 5920067"/>
              <a:gd name="connsiteX106" fmla="*/ 95997 w 11199600"/>
              <a:gd name="connsiteY106" fmla="*/ 5920067 h 5920067"/>
              <a:gd name="connsiteX107" fmla="*/ 0 w 11199600"/>
              <a:gd name="connsiteY107" fmla="*/ 5823957 h 5920067"/>
              <a:gd name="connsiteX108" fmla="*/ 0 w 11199600"/>
              <a:gd name="connsiteY108" fmla="*/ 5820222 h 5920067"/>
              <a:gd name="connsiteX109" fmla="*/ 0 w 11199600"/>
              <a:gd name="connsiteY109" fmla="*/ 5811351 h 5920067"/>
              <a:gd name="connsiteX110" fmla="*/ 0 w 11199600"/>
              <a:gd name="connsiteY110" fmla="*/ 5794075 h 5920067"/>
              <a:gd name="connsiteX111" fmla="*/ 0 w 11199600"/>
              <a:gd name="connsiteY111" fmla="*/ 5765594 h 5920067"/>
              <a:gd name="connsiteX112" fmla="*/ 0 w 11199600"/>
              <a:gd name="connsiteY112" fmla="*/ 5723106 h 5920067"/>
              <a:gd name="connsiteX113" fmla="*/ 0 w 11199600"/>
              <a:gd name="connsiteY113" fmla="*/ 5663809 h 5920067"/>
              <a:gd name="connsiteX114" fmla="*/ 0 w 11199600"/>
              <a:gd name="connsiteY114" fmla="*/ 5584902 h 5920067"/>
              <a:gd name="connsiteX115" fmla="*/ 0 w 11199600"/>
              <a:gd name="connsiteY115" fmla="*/ 5549717 h 5920067"/>
              <a:gd name="connsiteX116" fmla="*/ 0 w 11199600"/>
              <a:gd name="connsiteY116" fmla="*/ 5548611 h 5920067"/>
              <a:gd name="connsiteX117" fmla="*/ 0 w 11199600"/>
              <a:gd name="connsiteY117" fmla="*/ 5540863 h 5920067"/>
              <a:gd name="connsiteX118" fmla="*/ 0 w 11199600"/>
              <a:gd name="connsiteY118" fmla="*/ 5520020 h 5920067"/>
              <a:gd name="connsiteX119" fmla="*/ 0 w 11199600"/>
              <a:gd name="connsiteY119" fmla="*/ 5519835 h 5920067"/>
              <a:gd name="connsiteX120" fmla="*/ 0 w 11199600"/>
              <a:gd name="connsiteY120" fmla="*/ 5478886 h 5920067"/>
              <a:gd name="connsiteX121" fmla="*/ 0 w 11199600"/>
              <a:gd name="connsiteY121" fmla="*/ 5448866 h 5920067"/>
              <a:gd name="connsiteX122" fmla="*/ 0 w 11199600"/>
              <a:gd name="connsiteY122" fmla="*/ 5444347 h 5920067"/>
              <a:gd name="connsiteX123" fmla="*/ 0 w 11199600"/>
              <a:gd name="connsiteY123" fmla="*/ 5411375 h 5920067"/>
              <a:gd name="connsiteX124" fmla="*/ 0 w 11199600"/>
              <a:gd name="connsiteY124" fmla="*/ 5365584 h 5920067"/>
              <a:gd name="connsiteX125" fmla="*/ 0 w 11199600"/>
              <a:gd name="connsiteY125" fmla="*/ 5357053 h 5920067"/>
              <a:gd name="connsiteX126" fmla="*/ 0 w 11199600"/>
              <a:gd name="connsiteY126" fmla="*/ 5310662 h 5920067"/>
              <a:gd name="connsiteX127" fmla="*/ 0 w 11199600"/>
              <a:gd name="connsiteY127" fmla="*/ 5257308 h 5920067"/>
              <a:gd name="connsiteX128" fmla="*/ 0 w 11199600"/>
              <a:gd name="connsiteY128" fmla="*/ 5245780 h 5920067"/>
              <a:gd name="connsiteX129" fmla="*/ 0 w 11199600"/>
              <a:gd name="connsiteY129" fmla="*/ 5170107 h 5920067"/>
              <a:gd name="connsiteX130" fmla="*/ 0 w 11199600"/>
              <a:gd name="connsiteY130" fmla="*/ 5144283 h 5920067"/>
              <a:gd name="connsiteX131" fmla="*/ 0 w 11199600"/>
              <a:gd name="connsiteY131" fmla="*/ 5082813 h 5920067"/>
              <a:gd name="connsiteX132" fmla="*/ 0 w 11199600"/>
              <a:gd name="connsiteY132" fmla="*/ 5017146 h 5920067"/>
              <a:gd name="connsiteX133" fmla="*/ 0 w 11199600"/>
              <a:gd name="connsiteY133" fmla="*/ 4983068 h 5920067"/>
              <a:gd name="connsiteX134" fmla="*/ 0 w 11199600"/>
              <a:gd name="connsiteY134" fmla="*/ 4903543 h 5920067"/>
              <a:gd name="connsiteX135" fmla="*/ 0 w 11199600"/>
              <a:gd name="connsiteY135" fmla="*/ 4899808 h 5920067"/>
              <a:gd name="connsiteX136" fmla="*/ 0 w 11199600"/>
              <a:gd name="connsiteY136" fmla="*/ 4890937 h 5920067"/>
              <a:gd name="connsiteX137" fmla="*/ 0 w 11199600"/>
              <a:gd name="connsiteY137" fmla="*/ 4875069 h 5920067"/>
              <a:gd name="connsiteX138" fmla="*/ 0 w 11199600"/>
              <a:gd name="connsiteY138" fmla="*/ 4873661 h 5920067"/>
              <a:gd name="connsiteX139" fmla="*/ 0 w 11199600"/>
              <a:gd name="connsiteY139" fmla="*/ 4870043 h 5920067"/>
              <a:gd name="connsiteX140" fmla="*/ 0 w 11199600"/>
              <a:gd name="connsiteY140" fmla="*/ 4845180 h 5920067"/>
              <a:gd name="connsiteX141" fmla="*/ 0 w 11199600"/>
              <a:gd name="connsiteY141" fmla="*/ 4802692 h 5920067"/>
              <a:gd name="connsiteX142" fmla="*/ 0 w 11199600"/>
              <a:gd name="connsiteY142" fmla="*/ 4743395 h 5920067"/>
              <a:gd name="connsiteX143" fmla="*/ 0 w 11199600"/>
              <a:gd name="connsiteY143" fmla="*/ 4742906 h 5920067"/>
              <a:gd name="connsiteX144" fmla="*/ 0 w 11199600"/>
              <a:gd name="connsiteY144" fmla="*/ 4717221 h 5920067"/>
              <a:gd name="connsiteX145" fmla="*/ 0 w 11199600"/>
              <a:gd name="connsiteY145" fmla="*/ 4664488 h 5920067"/>
              <a:gd name="connsiteX146" fmla="*/ 0 w 11199600"/>
              <a:gd name="connsiteY146" fmla="*/ 4629303 h 5920067"/>
              <a:gd name="connsiteX147" fmla="*/ 0 w 11199600"/>
              <a:gd name="connsiteY147" fmla="*/ 4628197 h 5920067"/>
              <a:gd name="connsiteX148" fmla="*/ 0 w 11199600"/>
              <a:gd name="connsiteY148" fmla="*/ 4620449 h 5920067"/>
              <a:gd name="connsiteX149" fmla="*/ 0 w 11199600"/>
              <a:gd name="connsiteY149" fmla="*/ 4600829 h 5920067"/>
              <a:gd name="connsiteX150" fmla="*/ 0 w 11199600"/>
              <a:gd name="connsiteY150" fmla="*/ 4599606 h 5920067"/>
              <a:gd name="connsiteX151" fmla="*/ 0 w 11199600"/>
              <a:gd name="connsiteY151" fmla="*/ 4599421 h 5920067"/>
              <a:gd name="connsiteX152" fmla="*/ 0 w 11199600"/>
              <a:gd name="connsiteY152" fmla="*/ 4558472 h 5920067"/>
              <a:gd name="connsiteX153" fmla="*/ 0 w 11199600"/>
              <a:gd name="connsiteY153" fmla="*/ 4542771 h 5920067"/>
              <a:gd name="connsiteX154" fmla="*/ 0 w 11199600"/>
              <a:gd name="connsiteY154" fmla="*/ 4528452 h 5920067"/>
              <a:gd name="connsiteX155" fmla="*/ 0 w 11199600"/>
              <a:gd name="connsiteY155" fmla="*/ 4523933 h 5920067"/>
              <a:gd name="connsiteX156" fmla="*/ 0 w 11199600"/>
              <a:gd name="connsiteY156" fmla="*/ 4490961 h 5920067"/>
              <a:gd name="connsiteX157" fmla="*/ 0 w 11199600"/>
              <a:gd name="connsiteY157" fmla="*/ 4445170 h 5920067"/>
              <a:gd name="connsiteX158" fmla="*/ 0 w 11199600"/>
              <a:gd name="connsiteY158" fmla="*/ 4442981 h 5920067"/>
              <a:gd name="connsiteX159" fmla="*/ 0 w 11199600"/>
              <a:gd name="connsiteY159" fmla="*/ 4436639 h 5920067"/>
              <a:gd name="connsiteX160" fmla="*/ 0 w 11199600"/>
              <a:gd name="connsiteY160" fmla="*/ 4390248 h 5920067"/>
              <a:gd name="connsiteX161" fmla="*/ 0 w 11199600"/>
              <a:gd name="connsiteY161" fmla="*/ 4350891 h 5920067"/>
              <a:gd name="connsiteX162" fmla="*/ 0 w 11199600"/>
              <a:gd name="connsiteY162" fmla="*/ 4336894 h 5920067"/>
              <a:gd name="connsiteX163" fmla="*/ 0 w 11199600"/>
              <a:gd name="connsiteY163" fmla="*/ 4325366 h 5920067"/>
              <a:gd name="connsiteX164" fmla="*/ 0 w 11199600"/>
              <a:gd name="connsiteY164" fmla="*/ 4268531 h 5920067"/>
              <a:gd name="connsiteX165" fmla="*/ 0 w 11199600"/>
              <a:gd name="connsiteY165" fmla="*/ 4249693 h 5920067"/>
              <a:gd name="connsiteX166" fmla="*/ 0 w 11199600"/>
              <a:gd name="connsiteY166" fmla="*/ 4223869 h 5920067"/>
              <a:gd name="connsiteX167" fmla="*/ 0 w 11199600"/>
              <a:gd name="connsiteY167" fmla="*/ 4162399 h 5920067"/>
              <a:gd name="connsiteX168" fmla="*/ 0 w 11199600"/>
              <a:gd name="connsiteY168" fmla="*/ 4140749 h 5920067"/>
              <a:gd name="connsiteX169" fmla="*/ 0 w 11199600"/>
              <a:gd name="connsiteY169" fmla="*/ 4096732 h 5920067"/>
              <a:gd name="connsiteX170" fmla="*/ 0 w 11199600"/>
              <a:gd name="connsiteY170" fmla="*/ 4076651 h 5920067"/>
              <a:gd name="connsiteX171" fmla="*/ 0 w 11199600"/>
              <a:gd name="connsiteY171" fmla="*/ 4062654 h 5920067"/>
              <a:gd name="connsiteX172" fmla="*/ 0 w 11199600"/>
              <a:gd name="connsiteY172" fmla="*/ 3954655 h 5920067"/>
              <a:gd name="connsiteX173" fmla="*/ 0 w 11199600"/>
              <a:gd name="connsiteY173" fmla="*/ 3949629 h 5920067"/>
              <a:gd name="connsiteX174" fmla="*/ 0 w 11199600"/>
              <a:gd name="connsiteY174" fmla="*/ 3911516 h 5920067"/>
              <a:gd name="connsiteX175" fmla="*/ 0 w 11199600"/>
              <a:gd name="connsiteY175" fmla="*/ 3866509 h 5920067"/>
              <a:gd name="connsiteX176" fmla="*/ 0 w 11199600"/>
              <a:gd name="connsiteY176" fmla="*/ 3822492 h 5920067"/>
              <a:gd name="connsiteX177" fmla="*/ 0 w 11199600"/>
              <a:gd name="connsiteY177" fmla="*/ 3796807 h 5920067"/>
              <a:gd name="connsiteX178" fmla="*/ 0 w 11199600"/>
              <a:gd name="connsiteY178" fmla="*/ 3680415 h 5920067"/>
              <a:gd name="connsiteX179" fmla="*/ 0 w 11199600"/>
              <a:gd name="connsiteY179" fmla="*/ 3662362 h 5920067"/>
              <a:gd name="connsiteX180" fmla="*/ 0 w 11199600"/>
              <a:gd name="connsiteY180" fmla="*/ 3637276 h 5920067"/>
              <a:gd name="connsiteX181" fmla="*/ 0 w 11199600"/>
              <a:gd name="connsiteY181" fmla="*/ 3622357 h 5920067"/>
              <a:gd name="connsiteX182" fmla="*/ 0 w 11199600"/>
              <a:gd name="connsiteY182" fmla="*/ 3522567 h 5920067"/>
              <a:gd name="connsiteX183" fmla="*/ 0 w 11199600"/>
              <a:gd name="connsiteY183" fmla="*/ 3430477 h 5920067"/>
              <a:gd name="connsiteX184" fmla="*/ 0 w 11199600"/>
              <a:gd name="connsiteY184" fmla="*/ 3392457 h 5920067"/>
              <a:gd name="connsiteX185" fmla="*/ 0 w 11199600"/>
              <a:gd name="connsiteY185" fmla="*/ 3388122 h 5920067"/>
              <a:gd name="connsiteX186" fmla="*/ 0 w 11199600"/>
              <a:gd name="connsiteY186" fmla="*/ 3348117 h 5920067"/>
              <a:gd name="connsiteX187" fmla="*/ 0 w 11199600"/>
              <a:gd name="connsiteY187" fmla="*/ 3220335 h 5920067"/>
              <a:gd name="connsiteX188" fmla="*/ 0 w 11199600"/>
              <a:gd name="connsiteY188" fmla="*/ 3156237 h 5920067"/>
              <a:gd name="connsiteX189" fmla="*/ 0 w 11199600"/>
              <a:gd name="connsiteY189" fmla="*/ 3118217 h 5920067"/>
              <a:gd name="connsiteX190" fmla="*/ 0 w 11199600"/>
              <a:gd name="connsiteY190" fmla="*/ 3100970 h 5920067"/>
              <a:gd name="connsiteX191" fmla="*/ 0 w 11199600"/>
              <a:gd name="connsiteY191" fmla="*/ 2991102 h 5920067"/>
              <a:gd name="connsiteX192" fmla="*/ 0 w 11199600"/>
              <a:gd name="connsiteY192" fmla="*/ 2946095 h 5920067"/>
              <a:gd name="connsiteX193" fmla="*/ 0 w 11199600"/>
              <a:gd name="connsiteY193" fmla="*/ 2826730 h 5920067"/>
              <a:gd name="connsiteX194" fmla="*/ 0 w 11199600"/>
              <a:gd name="connsiteY194" fmla="*/ 2787072 h 5920067"/>
              <a:gd name="connsiteX195" fmla="*/ 0 w 11199600"/>
              <a:gd name="connsiteY195" fmla="*/ 2741948 h 5920067"/>
              <a:gd name="connsiteX196" fmla="*/ 0 w 11199600"/>
              <a:gd name="connsiteY196" fmla="*/ 2716862 h 5920067"/>
              <a:gd name="connsiteX197" fmla="*/ 0 w 11199600"/>
              <a:gd name="connsiteY197" fmla="*/ 2512832 h 5920067"/>
              <a:gd name="connsiteX198" fmla="*/ 0 w 11199600"/>
              <a:gd name="connsiteY198" fmla="*/ 2472043 h 5920067"/>
              <a:gd name="connsiteX199" fmla="*/ 0 w 11199600"/>
              <a:gd name="connsiteY199" fmla="*/ 2467708 h 5920067"/>
              <a:gd name="connsiteX200" fmla="*/ 0 w 11199600"/>
              <a:gd name="connsiteY200" fmla="*/ 2449933 h 5920067"/>
              <a:gd name="connsiteX201" fmla="*/ 0 w 11199600"/>
              <a:gd name="connsiteY201" fmla="*/ 2197803 h 5920067"/>
              <a:gd name="connsiteX202" fmla="*/ 0 w 11199600"/>
              <a:gd name="connsiteY202" fmla="*/ 2180556 h 5920067"/>
              <a:gd name="connsiteX203" fmla="*/ 0 w 11199600"/>
              <a:gd name="connsiteY203" fmla="*/ 2175692 h 5920067"/>
              <a:gd name="connsiteX204" fmla="*/ 0 w 11199600"/>
              <a:gd name="connsiteY204" fmla="*/ 2088721 h 5920067"/>
              <a:gd name="connsiteX205" fmla="*/ 0 w 11199600"/>
              <a:gd name="connsiteY205" fmla="*/ 1906316 h 5920067"/>
              <a:gd name="connsiteX206" fmla="*/ 0 w 11199600"/>
              <a:gd name="connsiteY206" fmla="*/ 1866658 h 5920067"/>
              <a:gd name="connsiteX207" fmla="*/ 0 w 11199600"/>
              <a:gd name="connsiteY207" fmla="*/ 1814481 h 5920067"/>
              <a:gd name="connsiteX208" fmla="*/ 0 w 11199600"/>
              <a:gd name="connsiteY208" fmla="*/ 1702609 h 5920067"/>
              <a:gd name="connsiteX209" fmla="*/ 0 w 11199600"/>
              <a:gd name="connsiteY209" fmla="*/ 1592418 h 5920067"/>
              <a:gd name="connsiteX210" fmla="*/ 0 w 11199600"/>
              <a:gd name="connsiteY210" fmla="*/ 1529519 h 5920067"/>
              <a:gd name="connsiteX211" fmla="*/ 0 w 11199600"/>
              <a:gd name="connsiteY211" fmla="*/ 1428369 h 5920067"/>
              <a:gd name="connsiteX212" fmla="*/ 0 w 11199600"/>
              <a:gd name="connsiteY212" fmla="*/ 1290764 h 5920067"/>
              <a:gd name="connsiteX213" fmla="*/ 0 w 11199600"/>
              <a:gd name="connsiteY213" fmla="*/ 1255278 h 5920067"/>
              <a:gd name="connsiteX214" fmla="*/ 0 w 11199600"/>
              <a:gd name="connsiteY214" fmla="*/ 1168307 h 5920067"/>
              <a:gd name="connsiteX215" fmla="*/ 0 w 11199600"/>
              <a:gd name="connsiteY215" fmla="*/ 1016524 h 5920067"/>
              <a:gd name="connsiteX216" fmla="*/ 0 w 11199600"/>
              <a:gd name="connsiteY216" fmla="*/ 894067 h 5920067"/>
              <a:gd name="connsiteX217" fmla="*/ 0 w 11199600"/>
              <a:gd name="connsiteY217" fmla="*/ 782195 h 5920067"/>
              <a:gd name="connsiteX218" fmla="*/ 0 w 11199600"/>
              <a:gd name="connsiteY218" fmla="*/ 507955 h 5920067"/>
              <a:gd name="connsiteX219" fmla="*/ 0 w 11199600"/>
              <a:gd name="connsiteY219" fmla="*/ 370350 h 5920067"/>
              <a:gd name="connsiteX220" fmla="*/ 0 w 11199600"/>
              <a:gd name="connsiteY220" fmla="*/ 96110 h 5920067"/>
              <a:gd name="connsiteX221" fmla="*/ 95997 w 11199600"/>
              <a:gd name="connsiteY221" fmla="*/ 0 h 5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11199600" h="5920067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cubicBezTo>
                  <a:pt x="11199600" y="1328117"/>
                  <a:pt x="11199600" y="1337455"/>
                  <a:pt x="11199600" y="1349128"/>
                </a:cubicBez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239653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9591"/>
                </a:lnTo>
                <a:lnTo>
                  <a:pt x="11199600" y="2527610"/>
                </a:lnTo>
                <a:lnTo>
                  <a:pt x="11199600" y="2531945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801851"/>
                </a:lnTo>
                <a:lnTo>
                  <a:pt x="11199600" y="2819097"/>
                </a:lnTo>
                <a:lnTo>
                  <a:pt x="11199600" y="2928965"/>
                </a:lnTo>
                <a:lnTo>
                  <a:pt x="11199600" y="2973972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178119"/>
                </a:lnTo>
                <a:lnTo>
                  <a:pt x="11199600" y="3203205"/>
                </a:lnTo>
                <a:lnTo>
                  <a:pt x="11199600" y="3407236"/>
                </a:lnTo>
                <a:lnTo>
                  <a:pt x="11199600" y="3448024"/>
                </a:lnTo>
                <a:lnTo>
                  <a:pt x="11199600" y="3452359"/>
                </a:lnTo>
                <a:lnTo>
                  <a:pt x="11199600" y="3470135"/>
                </a:lnTo>
                <a:lnTo>
                  <a:pt x="11199600" y="3722265"/>
                </a:lnTo>
                <a:lnTo>
                  <a:pt x="11199600" y="3739511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013751"/>
                </a:lnTo>
                <a:lnTo>
                  <a:pt x="11199600" y="4053409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327650"/>
                </a:lnTo>
                <a:lnTo>
                  <a:pt x="11199600" y="439054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664789"/>
                </a:lnTo>
                <a:lnTo>
                  <a:pt x="11199600" y="4751760"/>
                </a:lnTo>
                <a:lnTo>
                  <a:pt x="11199600" y="4903543"/>
                </a:lnTo>
                <a:lnTo>
                  <a:pt x="11199600" y="5026000"/>
                </a:lnTo>
                <a:lnTo>
                  <a:pt x="11199600" y="5137873"/>
                </a:lnTo>
                <a:lnTo>
                  <a:pt x="11199600" y="5412113"/>
                </a:lnTo>
                <a:lnTo>
                  <a:pt x="11199600" y="5549717"/>
                </a:lnTo>
                <a:lnTo>
                  <a:pt x="11199600" y="5823957"/>
                </a:lnTo>
                <a:cubicBezTo>
                  <a:pt x="11199600" y="5920067"/>
                  <a:pt x="11103603" y="5920067"/>
                  <a:pt x="11103603" y="5920067"/>
                </a:cubicBezTo>
                <a:cubicBezTo>
                  <a:pt x="11103603" y="5920067"/>
                  <a:pt x="11103603" y="5920067"/>
                  <a:pt x="95997" y="5920067"/>
                </a:cubicBezTo>
                <a:cubicBezTo>
                  <a:pt x="0" y="5920067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de-DE" noProof="0" smtClean="0"/>
              <a:t>Bild durch Klicken auf Symbol hinzufügen</a:t>
            </a:r>
            <a:endParaRPr lang="de-DE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>
          <a:xfrm>
            <a:off x="838200" y="6498809"/>
            <a:ext cx="495300" cy="188119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de-DE" smtClean="0">
                <a:solidFill>
                  <a:srgbClr val="333333"/>
                </a:solidFill>
              </a:rPr>
              <a:pPr/>
              <a:t>‹#›</a:t>
            </a:fld>
            <a:endParaRPr lang="de-DE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35356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38200" y="6498809"/>
            <a:ext cx="495300" cy="188119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de-DE" smtClean="0">
                <a:solidFill>
                  <a:srgbClr val="333333"/>
                </a:solidFill>
              </a:rPr>
              <a:pPr/>
              <a:t>‹#›</a:t>
            </a:fld>
            <a:endParaRPr lang="de-DE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03836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846826" y="1270000"/>
            <a:ext cx="5058000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 bwMode="gray">
          <a:xfrm>
            <a:off x="6276750" y="1270000"/>
            <a:ext cx="5058000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>
          <a:xfrm>
            <a:off x="838200" y="6498809"/>
            <a:ext cx="495300" cy="188119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de-DE" smtClean="0">
                <a:solidFill>
                  <a:srgbClr val="333333"/>
                </a:solidFill>
              </a:rPr>
              <a:pPr/>
              <a:t>‹#›</a:t>
            </a:fld>
            <a:endParaRPr lang="de-DE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854980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7"/>
          <p:cNvSpPr>
            <a:spLocks noGrp="1"/>
          </p:cNvSpPr>
          <p:nvPr>
            <p:ph type="pic" sz="quarter" idx="16"/>
          </p:nvPr>
        </p:nvSpPr>
        <p:spPr bwMode="gray">
          <a:xfrm>
            <a:off x="696912" y="1696719"/>
            <a:ext cx="11199600" cy="4504080"/>
          </a:xfrm>
          <a:custGeom>
            <a:avLst/>
            <a:gdLst>
              <a:gd name="connsiteX0" fmla="*/ 95997 w 11199600"/>
              <a:gd name="connsiteY0" fmla="*/ 0 h 4504080"/>
              <a:gd name="connsiteX1" fmla="*/ 11103603 w 11199600"/>
              <a:gd name="connsiteY1" fmla="*/ 0 h 4504080"/>
              <a:gd name="connsiteX2" fmla="*/ 11199600 w 11199600"/>
              <a:gd name="connsiteY2" fmla="*/ 96110 h 4504080"/>
              <a:gd name="connsiteX3" fmla="*/ 11199600 w 11199600"/>
              <a:gd name="connsiteY3" fmla="*/ 335165 h 4504080"/>
              <a:gd name="connsiteX4" fmla="*/ 11199600 w 11199600"/>
              <a:gd name="connsiteY4" fmla="*/ 370350 h 4504080"/>
              <a:gd name="connsiteX5" fmla="*/ 11199600 w 11199600"/>
              <a:gd name="connsiteY5" fmla="*/ 379204 h 4504080"/>
              <a:gd name="connsiteX6" fmla="*/ 11199600 w 11199600"/>
              <a:gd name="connsiteY6" fmla="*/ 400048 h 4504080"/>
              <a:gd name="connsiteX7" fmla="*/ 11199600 w 11199600"/>
              <a:gd name="connsiteY7" fmla="*/ 400232 h 4504080"/>
              <a:gd name="connsiteX8" fmla="*/ 11199600 w 11199600"/>
              <a:gd name="connsiteY8" fmla="*/ 471202 h 4504080"/>
              <a:gd name="connsiteX9" fmla="*/ 11199600 w 11199600"/>
              <a:gd name="connsiteY9" fmla="*/ 475721 h 4504080"/>
              <a:gd name="connsiteX10" fmla="*/ 11199600 w 11199600"/>
              <a:gd name="connsiteY10" fmla="*/ 508692 h 4504080"/>
              <a:gd name="connsiteX11" fmla="*/ 11199600 w 11199600"/>
              <a:gd name="connsiteY11" fmla="*/ 554484 h 4504080"/>
              <a:gd name="connsiteX12" fmla="*/ 11199600 w 11199600"/>
              <a:gd name="connsiteY12" fmla="*/ 563015 h 4504080"/>
              <a:gd name="connsiteX13" fmla="*/ 11199600 w 11199600"/>
              <a:gd name="connsiteY13" fmla="*/ 609405 h 4504080"/>
              <a:gd name="connsiteX14" fmla="*/ 11199600 w 11199600"/>
              <a:gd name="connsiteY14" fmla="*/ 662759 h 4504080"/>
              <a:gd name="connsiteX15" fmla="*/ 11199600 w 11199600"/>
              <a:gd name="connsiteY15" fmla="*/ 674288 h 4504080"/>
              <a:gd name="connsiteX16" fmla="*/ 11199600 w 11199600"/>
              <a:gd name="connsiteY16" fmla="*/ 749961 h 4504080"/>
              <a:gd name="connsiteX17" fmla="*/ 11199600 w 11199600"/>
              <a:gd name="connsiteY17" fmla="*/ 775785 h 4504080"/>
              <a:gd name="connsiteX18" fmla="*/ 11199600 w 11199600"/>
              <a:gd name="connsiteY18" fmla="*/ 837255 h 4504080"/>
              <a:gd name="connsiteX19" fmla="*/ 11199600 w 11199600"/>
              <a:gd name="connsiteY19" fmla="*/ 902921 h 4504080"/>
              <a:gd name="connsiteX20" fmla="*/ 11199600 w 11199600"/>
              <a:gd name="connsiteY20" fmla="*/ 936999 h 4504080"/>
              <a:gd name="connsiteX21" fmla="*/ 11199600 w 11199600"/>
              <a:gd name="connsiteY21" fmla="*/ 1044999 h 4504080"/>
              <a:gd name="connsiteX22" fmla="*/ 11199600 w 11199600"/>
              <a:gd name="connsiteY22" fmla="*/ 1050025 h 4504080"/>
              <a:gd name="connsiteX23" fmla="*/ 11199600 w 11199600"/>
              <a:gd name="connsiteY23" fmla="*/ 1177161 h 4504080"/>
              <a:gd name="connsiteX24" fmla="*/ 11199600 w 11199600"/>
              <a:gd name="connsiteY24" fmla="*/ 1202847 h 4504080"/>
              <a:gd name="connsiteX25" fmla="*/ 11199600 w 11199600"/>
              <a:gd name="connsiteY25" fmla="*/ 1319239 h 4504080"/>
              <a:gd name="connsiteX26" fmla="*/ 11199600 w 11199600"/>
              <a:gd name="connsiteY26" fmla="*/ 1377296 h 4504080"/>
              <a:gd name="connsiteX27" fmla="*/ 11199600 w 11199600"/>
              <a:gd name="connsiteY27" fmla="*/ 1477087 h 4504080"/>
              <a:gd name="connsiteX28" fmla="*/ 11199600 w 11199600"/>
              <a:gd name="connsiteY28" fmla="*/ 1569177 h 4504080"/>
              <a:gd name="connsiteX29" fmla="*/ 11199600 w 11199600"/>
              <a:gd name="connsiteY29" fmla="*/ 1626118 h 4504080"/>
              <a:gd name="connsiteX30" fmla="*/ 11199600 w 11199600"/>
              <a:gd name="connsiteY30" fmla="*/ 1651536 h 4504080"/>
              <a:gd name="connsiteX31" fmla="*/ 11199600 w 11199600"/>
              <a:gd name="connsiteY31" fmla="*/ 1762133 h 4504080"/>
              <a:gd name="connsiteX32" fmla="*/ 11199600 w 11199600"/>
              <a:gd name="connsiteY32" fmla="*/ 1779318 h 4504080"/>
              <a:gd name="connsiteX33" fmla="*/ 11199600 w 11199600"/>
              <a:gd name="connsiteY33" fmla="*/ 1787219 h 4504080"/>
              <a:gd name="connsiteX34" fmla="*/ 11199600 w 11199600"/>
              <a:gd name="connsiteY34" fmla="*/ 1843417 h 4504080"/>
              <a:gd name="connsiteX35" fmla="*/ 11199600 w 11199600"/>
              <a:gd name="connsiteY35" fmla="*/ 1984894 h 4504080"/>
              <a:gd name="connsiteX36" fmla="*/ 11199600 w 11199600"/>
              <a:gd name="connsiteY36" fmla="*/ 2032038 h 4504080"/>
              <a:gd name="connsiteX37" fmla="*/ 11199600 w 11199600"/>
              <a:gd name="connsiteY37" fmla="*/ 2036373 h 4504080"/>
              <a:gd name="connsiteX38" fmla="*/ 11199600 w 11199600"/>
              <a:gd name="connsiteY38" fmla="*/ 2306279 h 4504080"/>
              <a:gd name="connsiteX39" fmla="*/ 11199600 w 11199600"/>
              <a:gd name="connsiteY39" fmla="*/ 2323525 h 4504080"/>
              <a:gd name="connsiteX40" fmla="*/ 11199600 w 11199600"/>
              <a:gd name="connsiteY40" fmla="*/ 2597765 h 4504080"/>
              <a:gd name="connsiteX41" fmla="*/ 11199600 w 11199600"/>
              <a:gd name="connsiteY41" fmla="*/ 2637423 h 4504080"/>
              <a:gd name="connsiteX42" fmla="*/ 11199600 w 11199600"/>
              <a:gd name="connsiteY42" fmla="*/ 2911664 h 4504080"/>
              <a:gd name="connsiteX43" fmla="*/ 11199600 w 11199600"/>
              <a:gd name="connsiteY43" fmla="*/ 2974563 h 4504080"/>
              <a:gd name="connsiteX44" fmla="*/ 11199600 w 11199600"/>
              <a:gd name="connsiteY44" fmla="*/ 3248803 h 4504080"/>
              <a:gd name="connsiteX45" fmla="*/ 11199600 w 11199600"/>
              <a:gd name="connsiteY45" fmla="*/ 3335774 h 4504080"/>
              <a:gd name="connsiteX46" fmla="*/ 11199600 w 11199600"/>
              <a:gd name="connsiteY46" fmla="*/ 3610014 h 4504080"/>
              <a:gd name="connsiteX47" fmla="*/ 11199600 w 11199600"/>
              <a:gd name="connsiteY47" fmla="*/ 3721887 h 4504080"/>
              <a:gd name="connsiteX48" fmla="*/ 11199600 w 11199600"/>
              <a:gd name="connsiteY48" fmla="*/ 3996127 h 4504080"/>
              <a:gd name="connsiteX49" fmla="*/ 11199600 w 11199600"/>
              <a:gd name="connsiteY49" fmla="*/ 4133731 h 4504080"/>
              <a:gd name="connsiteX50" fmla="*/ 11199600 w 11199600"/>
              <a:gd name="connsiteY50" fmla="*/ 4407971 h 4504080"/>
              <a:gd name="connsiteX51" fmla="*/ 11118603 w 11199600"/>
              <a:gd name="connsiteY51" fmla="*/ 4502580 h 4504080"/>
              <a:gd name="connsiteX52" fmla="*/ 11103613 w 11199600"/>
              <a:gd name="connsiteY52" fmla="*/ 4504080 h 4504080"/>
              <a:gd name="connsiteX53" fmla="*/ 95989 w 11199600"/>
              <a:gd name="connsiteY53" fmla="*/ 4504080 h 4504080"/>
              <a:gd name="connsiteX54" fmla="*/ 64311 w 11199600"/>
              <a:gd name="connsiteY54" fmla="*/ 4499952 h 4504080"/>
              <a:gd name="connsiteX55" fmla="*/ 0 w 11199600"/>
              <a:gd name="connsiteY55" fmla="*/ 4407971 h 4504080"/>
              <a:gd name="connsiteX56" fmla="*/ 0 w 11199600"/>
              <a:gd name="connsiteY56" fmla="*/ 4404236 h 4504080"/>
              <a:gd name="connsiteX57" fmla="*/ 0 w 11199600"/>
              <a:gd name="connsiteY57" fmla="*/ 4395365 h 4504080"/>
              <a:gd name="connsiteX58" fmla="*/ 0 w 11199600"/>
              <a:gd name="connsiteY58" fmla="*/ 4378089 h 4504080"/>
              <a:gd name="connsiteX59" fmla="*/ 0 w 11199600"/>
              <a:gd name="connsiteY59" fmla="*/ 4349608 h 4504080"/>
              <a:gd name="connsiteX60" fmla="*/ 0 w 11199600"/>
              <a:gd name="connsiteY60" fmla="*/ 4307120 h 4504080"/>
              <a:gd name="connsiteX61" fmla="*/ 0 w 11199600"/>
              <a:gd name="connsiteY61" fmla="*/ 4247823 h 4504080"/>
              <a:gd name="connsiteX62" fmla="*/ 0 w 11199600"/>
              <a:gd name="connsiteY62" fmla="*/ 4168916 h 4504080"/>
              <a:gd name="connsiteX63" fmla="*/ 0 w 11199600"/>
              <a:gd name="connsiteY63" fmla="*/ 4133731 h 4504080"/>
              <a:gd name="connsiteX64" fmla="*/ 0 w 11199600"/>
              <a:gd name="connsiteY64" fmla="*/ 4132625 h 4504080"/>
              <a:gd name="connsiteX65" fmla="*/ 0 w 11199600"/>
              <a:gd name="connsiteY65" fmla="*/ 4124877 h 4504080"/>
              <a:gd name="connsiteX66" fmla="*/ 0 w 11199600"/>
              <a:gd name="connsiteY66" fmla="*/ 4104034 h 4504080"/>
              <a:gd name="connsiteX67" fmla="*/ 0 w 11199600"/>
              <a:gd name="connsiteY67" fmla="*/ 4103849 h 4504080"/>
              <a:gd name="connsiteX68" fmla="*/ 0 w 11199600"/>
              <a:gd name="connsiteY68" fmla="*/ 4062900 h 4504080"/>
              <a:gd name="connsiteX69" fmla="*/ 0 w 11199600"/>
              <a:gd name="connsiteY69" fmla="*/ 4032880 h 4504080"/>
              <a:gd name="connsiteX70" fmla="*/ 0 w 11199600"/>
              <a:gd name="connsiteY70" fmla="*/ 4028361 h 4504080"/>
              <a:gd name="connsiteX71" fmla="*/ 0 w 11199600"/>
              <a:gd name="connsiteY71" fmla="*/ 3995389 h 4504080"/>
              <a:gd name="connsiteX72" fmla="*/ 0 w 11199600"/>
              <a:gd name="connsiteY72" fmla="*/ 3949598 h 4504080"/>
              <a:gd name="connsiteX73" fmla="*/ 0 w 11199600"/>
              <a:gd name="connsiteY73" fmla="*/ 3941067 h 4504080"/>
              <a:gd name="connsiteX74" fmla="*/ 0 w 11199600"/>
              <a:gd name="connsiteY74" fmla="*/ 3894676 h 4504080"/>
              <a:gd name="connsiteX75" fmla="*/ 0 w 11199600"/>
              <a:gd name="connsiteY75" fmla="*/ 3841322 h 4504080"/>
              <a:gd name="connsiteX76" fmla="*/ 0 w 11199600"/>
              <a:gd name="connsiteY76" fmla="*/ 3829794 h 4504080"/>
              <a:gd name="connsiteX77" fmla="*/ 0 w 11199600"/>
              <a:gd name="connsiteY77" fmla="*/ 3754121 h 4504080"/>
              <a:gd name="connsiteX78" fmla="*/ 0 w 11199600"/>
              <a:gd name="connsiteY78" fmla="*/ 3728297 h 4504080"/>
              <a:gd name="connsiteX79" fmla="*/ 0 w 11199600"/>
              <a:gd name="connsiteY79" fmla="*/ 3666827 h 4504080"/>
              <a:gd name="connsiteX80" fmla="*/ 0 w 11199600"/>
              <a:gd name="connsiteY80" fmla="*/ 3601160 h 4504080"/>
              <a:gd name="connsiteX81" fmla="*/ 0 w 11199600"/>
              <a:gd name="connsiteY81" fmla="*/ 3567082 h 4504080"/>
              <a:gd name="connsiteX82" fmla="*/ 0 w 11199600"/>
              <a:gd name="connsiteY82" fmla="*/ 3459083 h 4504080"/>
              <a:gd name="connsiteX83" fmla="*/ 0 w 11199600"/>
              <a:gd name="connsiteY83" fmla="*/ 3454057 h 4504080"/>
              <a:gd name="connsiteX84" fmla="*/ 0 w 11199600"/>
              <a:gd name="connsiteY84" fmla="*/ 3326920 h 4504080"/>
              <a:gd name="connsiteX85" fmla="*/ 0 w 11199600"/>
              <a:gd name="connsiteY85" fmla="*/ 3301235 h 4504080"/>
              <a:gd name="connsiteX86" fmla="*/ 0 w 11199600"/>
              <a:gd name="connsiteY86" fmla="*/ 3184843 h 4504080"/>
              <a:gd name="connsiteX87" fmla="*/ 0 w 11199600"/>
              <a:gd name="connsiteY87" fmla="*/ 3126785 h 4504080"/>
              <a:gd name="connsiteX88" fmla="*/ 0 w 11199600"/>
              <a:gd name="connsiteY88" fmla="*/ 3026995 h 4504080"/>
              <a:gd name="connsiteX89" fmla="*/ 0 w 11199600"/>
              <a:gd name="connsiteY89" fmla="*/ 2934905 h 4504080"/>
              <a:gd name="connsiteX90" fmla="*/ 0 w 11199600"/>
              <a:gd name="connsiteY90" fmla="*/ 2852545 h 4504080"/>
              <a:gd name="connsiteX91" fmla="*/ 0 w 11199600"/>
              <a:gd name="connsiteY91" fmla="*/ 2724763 h 4504080"/>
              <a:gd name="connsiteX92" fmla="*/ 0 w 11199600"/>
              <a:gd name="connsiteY92" fmla="*/ 2660665 h 4504080"/>
              <a:gd name="connsiteX93" fmla="*/ 0 w 11199600"/>
              <a:gd name="connsiteY93" fmla="*/ 2495530 h 4504080"/>
              <a:gd name="connsiteX94" fmla="*/ 0 w 11199600"/>
              <a:gd name="connsiteY94" fmla="*/ 2450523 h 4504080"/>
              <a:gd name="connsiteX95" fmla="*/ 0 w 11199600"/>
              <a:gd name="connsiteY95" fmla="*/ 2246376 h 4504080"/>
              <a:gd name="connsiteX96" fmla="*/ 0 w 11199600"/>
              <a:gd name="connsiteY96" fmla="*/ 2221290 h 4504080"/>
              <a:gd name="connsiteX97" fmla="*/ 0 w 11199600"/>
              <a:gd name="connsiteY97" fmla="*/ 1984894 h 4504080"/>
              <a:gd name="connsiteX98" fmla="*/ 0 w 11199600"/>
              <a:gd name="connsiteY98" fmla="*/ 1976471 h 4504080"/>
              <a:gd name="connsiteX99" fmla="*/ 0 w 11199600"/>
              <a:gd name="connsiteY99" fmla="*/ 1972136 h 4504080"/>
              <a:gd name="connsiteX100" fmla="*/ 0 w 11199600"/>
              <a:gd name="connsiteY100" fmla="*/ 1906316 h 4504080"/>
              <a:gd name="connsiteX101" fmla="*/ 0 w 11199600"/>
              <a:gd name="connsiteY101" fmla="*/ 1866658 h 4504080"/>
              <a:gd name="connsiteX102" fmla="*/ 0 w 11199600"/>
              <a:gd name="connsiteY102" fmla="*/ 1702231 h 4504080"/>
              <a:gd name="connsiteX103" fmla="*/ 0 w 11199600"/>
              <a:gd name="connsiteY103" fmla="*/ 1684984 h 4504080"/>
              <a:gd name="connsiteX104" fmla="*/ 0 w 11199600"/>
              <a:gd name="connsiteY104" fmla="*/ 1626118 h 4504080"/>
              <a:gd name="connsiteX105" fmla="*/ 0 w 11199600"/>
              <a:gd name="connsiteY105" fmla="*/ 1592418 h 4504080"/>
              <a:gd name="connsiteX106" fmla="*/ 0 w 11199600"/>
              <a:gd name="connsiteY106" fmla="*/ 1529519 h 4504080"/>
              <a:gd name="connsiteX107" fmla="*/ 0 w 11199600"/>
              <a:gd name="connsiteY107" fmla="*/ 1255278 h 4504080"/>
              <a:gd name="connsiteX108" fmla="*/ 0 w 11199600"/>
              <a:gd name="connsiteY108" fmla="*/ 1168307 h 4504080"/>
              <a:gd name="connsiteX109" fmla="*/ 0 w 11199600"/>
              <a:gd name="connsiteY109" fmla="*/ 894067 h 4504080"/>
              <a:gd name="connsiteX110" fmla="*/ 0 w 11199600"/>
              <a:gd name="connsiteY110" fmla="*/ 782195 h 4504080"/>
              <a:gd name="connsiteX111" fmla="*/ 0 w 11199600"/>
              <a:gd name="connsiteY111" fmla="*/ 507955 h 4504080"/>
              <a:gd name="connsiteX112" fmla="*/ 0 w 11199600"/>
              <a:gd name="connsiteY112" fmla="*/ 370350 h 4504080"/>
              <a:gd name="connsiteX113" fmla="*/ 0 w 11199600"/>
              <a:gd name="connsiteY113" fmla="*/ 96110 h 4504080"/>
              <a:gd name="connsiteX114" fmla="*/ 95997 w 11199600"/>
              <a:gd name="connsiteY114" fmla="*/ 0 h 450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1199600" h="4504080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26118"/>
                </a:lnTo>
                <a:lnTo>
                  <a:pt x="11199600" y="1651536"/>
                </a:lnTo>
                <a:lnTo>
                  <a:pt x="11199600" y="1762133"/>
                </a:lnTo>
                <a:lnTo>
                  <a:pt x="11199600" y="1779318"/>
                </a:lnTo>
                <a:lnTo>
                  <a:pt x="11199600" y="1787219"/>
                </a:lnTo>
                <a:lnTo>
                  <a:pt x="11199600" y="1843417"/>
                </a:lnTo>
                <a:lnTo>
                  <a:pt x="11199600" y="1984894"/>
                </a:lnTo>
                <a:lnTo>
                  <a:pt x="11199600" y="2032038"/>
                </a:lnTo>
                <a:lnTo>
                  <a:pt x="11199600" y="2036373"/>
                </a:lnTo>
                <a:cubicBezTo>
                  <a:pt x="11199600" y="2122837"/>
                  <a:pt x="11199600" y="2212759"/>
                  <a:pt x="11199600" y="2306279"/>
                </a:cubicBezTo>
                <a:lnTo>
                  <a:pt x="11199600" y="2323525"/>
                </a:lnTo>
                <a:lnTo>
                  <a:pt x="11199600" y="2597765"/>
                </a:lnTo>
                <a:lnTo>
                  <a:pt x="11199600" y="2637423"/>
                </a:lnTo>
                <a:lnTo>
                  <a:pt x="11199600" y="2911664"/>
                </a:lnTo>
                <a:lnTo>
                  <a:pt x="11199600" y="2974563"/>
                </a:lnTo>
                <a:lnTo>
                  <a:pt x="11199600" y="3248803"/>
                </a:lnTo>
                <a:lnTo>
                  <a:pt x="11199600" y="3335774"/>
                </a:lnTo>
                <a:lnTo>
                  <a:pt x="11199600" y="3610014"/>
                </a:lnTo>
                <a:lnTo>
                  <a:pt x="11199600" y="3721887"/>
                </a:lnTo>
                <a:lnTo>
                  <a:pt x="11199600" y="3996127"/>
                </a:lnTo>
                <a:lnTo>
                  <a:pt x="11199600" y="4133731"/>
                </a:lnTo>
                <a:lnTo>
                  <a:pt x="11199600" y="4407971"/>
                </a:lnTo>
                <a:cubicBezTo>
                  <a:pt x="11199600" y="4480054"/>
                  <a:pt x="11145602" y="4498074"/>
                  <a:pt x="11118603" y="4502580"/>
                </a:cubicBezTo>
                <a:lnTo>
                  <a:pt x="11103613" y="4504080"/>
                </a:lnTo>
                <a:lnTo>
                  <a:pt x="95989" y="4504080"/>
                </a:lnTo>
                <a:lnTo>
                  <a:pt x="64311" y="4499952"/>
                </a:lnTo>
                <a:cubicBezTo>
                  <a:pt x="0" y="4481555"/>
                  <a:pt x="0" y="4407971"/>
                  <a:pt x="0" y="4407971"/>
                </a:cubicBezTo>
                <a:lnTo>
                  <a:pt x="0" y="4404236"/>
                </a:lnTo>
                <a:lnTo>
                  <a:pt x="0" y="4395365"/>
                </a:lnTo>
                <a:lnTo>
                  <a:pt x="0" y="4378089"/>
                </a:lnTo>
                <a:lnTo>
                  <a:pt x="0" y="4349608"/>
                </a:lnTo>
                <a:lnTo>
                  <a:pt x="0" y="4307120"/>
                </a:lnTo>
                <a:lnTo>
                  <a:pt x="0" y="4247823"/>
                </a:lnTo>
                <a:lnTo>
                  <a:pt x="0" y="4168916"/>
                </a:lnTo>
                <a:lnTo>
                  <a:pt x="0" y="4133731"/>
                </a:lnTo>
                <a:lnTo>
                  <a:pt x="0" y="4132625"/>
                </a:lnTo>
                <a:lnTo>
                  <a:pt x="0" y="4124877"/>
                </a:lnTo>
                <a:lnTo>
                  <a:pt x="0" y="4104034"/>
                </a:lnTo>
                <a:lnTo>
                  <a:pt x="0" y="4103849"/>
                </a:lnTo>
                <a:lnTo>
                  <a:pt x="0" y="4062900"/>
                </a:lnTo>
                <a:lnTo>
                  <a:pt x="0" y="4032880"/>
                </a:lnTo>
                <a:lnTo>
                  <a:pt x="0" y="4028361"/>
                </a:lnTo>
                <a:lnTo>
                  <a:pt x="0" y="3995389"/>
                </a:lnTo>
                <a:lnTo>
                  <a:pt x="0" y="3949598"/>
                </a:lnTo>
                <a:lnTo>
                  <a:pt x="0" y="3941067"/>
                </a:lnTo>
                <a:lnTo>
                  <a:pt x="0" y="3894676"/>
                </a:lnTo>
                <a:lnTo>
                  <a:pt x="0" y="3841322"/>
                </a:lnTo>
                <a:lnTo>
                  <a:pt x="0" y="3829794"/>
                </a:lnTo>
                <a:lnTo>
                  <a:pt x="0" y="3754121"/>
                </a:lnTo>
                <a:lnTo>
                  <a:pt x="0" y="3728297"/>
                </a:lnTo>
                <a:lnTo>
                  <a:pt x="0" y="3666827"/>
                </a:lnTo>
                <a:lnTo>
                  <a:pt x="0" y="3601160"/>
                </a:lnTo>
                <a:lnTo>
                  <a:pt x="0" y="3567082"/>
                </a:lnTo>
                <a:lnTo>
                  <a:pt x="0" y="3459083"/>
                </a:lnTo>
                <a:lnTo>
                  <a:pt x="0" y="3454057"/>
                </a:lnTo>
                <a:lnTo>
                  <a:pt x="0" y="3326920"/>
                </a:lnTo>
                <a:lnTo>
                  <a:pt x="0" y="3301235"/>
                </a:lnTo>
                <a:lnTo>
                  <a:pt x="0" y="3184843"/>
                </a:lnTo>
                <a:lnTo>
                  <a:pt x="0" y="3126785"/>
                </a:lnTo>
                <a:lnTo>
                  <a:pt x="0" y="3026995"/>
                </a:lnTo>
                <a:lnTo>
                  <a:pt x="0" y="2934905"/>
                </a:lnTo>
                <a:lnTo>
                  <a:pt x="0" y="2852545"/>
                </a:lnTo>
                <a:lnTo>
                  <a:pt x="0" y="2724763"/>
                </a:lnTo>
                <a:lnTo>
                  <a:pt x="0" y="2660665"/>
                </a:lnTo>
                <a:lnTo>
                  <a:pt x="0" y="2495530"/>
                </a:lnTo>
                <a:lnTo>
                  <a:pt x="0" y="2450523"/>
                </a:lnTo>
                <a:lnTo>
                  <a:pt x="0" y="2246376"/>
                </a:lnTo>
                <a:lnTo>
                  <a:pt x="0" y="2221290"/>
                </a:lnTo>
                <a:lnTo>
                  <a:pt x="0" y="1984894"/>
                </a:lnTo>
                <a:lnTo>
                  <a:pt x="0" y="1976471"/>
                </a:lnTo>
                <a:lnTo>
                  <a:pt x="0" y="197213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702231"/>
                </a:lnTo>
                <a:lnTo>
                  <a:pt x="0" y="1684984"/>
                </a:lnTo>
                <a:lnTo>
                  <a:pt x="0" y="162611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39676" tIns="35996" rIns="35996" bIns="35996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838200" y="257726"/>
            <a:ext cx="11059319" cy="11798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4600"/>
              </a:lnSpc>
              <a:defRPr sz="4600"/>
            </a:lvl1pPr>
          </a:lstStyle>
          <a:p>
            <a:r>
              <a:rPr lang="en-US" noProof="0" smtClean="0"/>
              <a:t>Click to edit </a:t>
            </a:r>
            <a:br>
              <a:rPr lang="en-US" noProof="0" smtClean="0"/>
            </a:br>
            <a:r>
              <a:rPr lang="en-US" noProof="0" smtClean="0"/>
              <a:t>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3433" y="6358070"/>
            <a:ext cx="1183250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86751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2" userDrawn="1">
          <p15:clr>
            <a:srgbClr val="FBAE40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>
          <a:xfrm>
            <a:off x="838200" y="6498809"/>
            <a:ext cx="495300" cy="188119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de-DE" smtClean="0">
                <a:solidFill>
                  <a:srgbClr val="333333"/>
                </a:solidFill>
              </a:rPr>
              <a:pPr/>
              <a:t>‹#›</a:t>
            </a:fld>
            <a:endParaRPr lang="de-DE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06013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/>
          <p:cNvSpPr>
            <a:spLocks noChangeAspect="1"/>
          </p:cNvSpPr>
          <p:nvPr userDrawn="1"/>
        </p:nvSpPr>
        <p:spPr bwMode="gray">
          <a:xfrm>
            <a:off x="693738" y="1695449"/>
            <a:ext cx="10641600" cy="2630915"/>
          </a:xfrm>
          <a:custGeom>
            <a:avLst/>
            <a:gdLst>
              <a:gd name="T0" fmla="*/ 2480 w 2480"/>
              <a:gd name="T1" fmla="*/ 528 h 611"/>
              <a:gd name="T2" fmla="*/ 2480 w 2480"/>
              <a:gd name="T3" fmla="*/ 32 h 611"/>
              <a:gd name="T4" fmla="*/ 2448 w 2480"/>
              <a:gd name="T5" fmla="*/ 0 h 611"/>
              <a:gd name="T6" fmla="*/ 32 w 2480"/>
              <a:gd name="T7" fmla="*/ 0 h 611"/>
              <a:gd name="T8" fmla="*/ 0 w 2480"/>
              <a:gd name="T9" fmla="*/ 32 h 611"/>
              <a:gd name="T10" fmla="*/ 0 w 2480"/>
              <a:gd name="T11" fmla="*/ 528 h 611"/>
              <a:gd name="T12" fmla="*/ 32 w 2480"/>
              <a:gd name="T13" fmla="*/ 560 h 611"/>
              <a:gd name="T14" fmla="*/ 237 w 2480"/>
              <a:gd name="T15" fmla="*/ 560 h 611"/>
              <a:gd name="T16" fmla="*/ 271 w 2480"/>
              <a:gd name="T17" fmla="*/ 604 h 611"/>
              <a:gd name="T18" fmla="*/ 289 w 2480"/>
              <a:gd name="T19" fmla="*/ 604 h 611"/>
              <a:gd name="T20" fmla="*/ 323 w 2480"/>
              <a:gd name="T21" fmla="*/ 560 h 611"/>
              <a:gd name="T22" fmla="*/ 2448 w 2480"/>
              <a:gd name="T23" fmla="*/ 560 h 611"/>
              <a:gd name="T24" fmla="*/ 2480 w 2480"/>
              <a:gd name="T25" fmla="*/ 528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80" h="611">
                <a:moveTo>
                  <a:pt x="2480" y="528"/>
                </a:moveTo>
                <a:cubicBezTo>
                  <a:pt x="2480" y="32"/>
                  <a:pt x="2480" y="32"/>
                  <a:pt x="2480" y="32"/>
                </a:cubicBezTo>
                <a:cubicBezTo>
                  <a:pt x="2480" y="32"/>
                  <a:pt x="2480" y="0"/>
                  <a:pt x="2448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0" y="0"/>
                  <a:pt x="0" y="32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528"/>
                  <a:pt x="0" y="560"/>
                  <a:pt x="32" y="560"/>
                </a:cubicBezTo>
                <a:cubicBezTo>
                  <a:pt x="237" y="560"/>
                  <a:pt x="237" y="560"/>
                  <a:pt x="237" y="560"/>
                </a:cubicBezTo>
                <a:cubicBezTo>
                  <a:pt x="271" y="604"/>
                  <a:pt x="271" y="604"/>
                  <a:pt x="271" y="604"/>
                </a:cubicBezTo>
                <a:cubicBezTo>
                  <a:pt x="276" y="611"/>
                  <a:pt x="284" y="611"/>
                  <a:pt x="289" y="604"/>
                </a:cubicBezTo>
                <a:cubicBezTo>
                  <a:pt x="323" y="560"/>
                  <a:pt x="323" y="560"/>
                  <a:pt x="323" y="560"/>
                </a:cubicBezTo>
                <a:cubicBezTo>
                  <a:pt x="2448" y="560"/>
                  <a:pt x="2448" y="560"/>
                  <a:pt x="2448" y="560"/>
                </a:cubicBezTo>
                <a:cubicBezTo>
                  <a:pt x="2448" y="560"/>
                  <a:pt x="2480" y="560"/>
                  <a:pt x="2480" y="528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de-DE" dirty="0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1172150" y="1695451"/>
            <a:ext cx="10162600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grpSp>
        <p:nvGrpSpPr>
          <p:cNvPr id="36" name="Group 35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3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3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3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4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Orange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255, 98, 0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4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4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Light Grey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168, 168, 168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4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4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Indigo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82, 81, 153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4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4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Sky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96, 166, 218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4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200" b="1" dirty="0" err="1" smtClean="0">
                  <a:solidFill>
                    <a:srgbClr val="333333"/>
                  </a:solidFill>
                </a:rPr>
                <a:t>Colour</a:t>
              </a:r>
              <a:r>
                <a:rPr lang="de-DE" altLang="en-US" sz="1200" b="1" dirty="0" smtClean="0">
                  <a:solidFill>
                    <a:srgbClr val="333333"/>
                  </a:solidFill>
                </a:rPr>
                <a:t> Guidelines</a:t>
              </a:r>
              <a:endParaRPr lang="de-DE" altLang="en-US" sz="1200" b="1" dirty="0">
                <a:solidFill>
                  <a:srgbClr val="333333"/>
                </a:solidFill>
              </a:endParaRPr>
            </a:p>
          </p:txBody>
        </p:sp>
        <p:sp>
          <p:nvSpPr>
            <p:cNvPr id="4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4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Fuchsia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171, 0, 102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5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5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</a:t>
              </a:r>
              <a:r>
                <a:rPr lang="de-DE" altLang="en-US" sz="1000" dirty="0" err="1" smtClean="0">
                  <a:solidFill>
                    <a:srgbClr val="333333"/>
                  </a:solidFill>
                </a:rPr>
                <a:t>Lime</a:t>
              </a:r>
              <a:endParaRPr lang="de-DE" altLang="en-US" sz="1000" dirty="0" smtClean="0">
                <a:solidFill>
                  <a:srgbClr val="333333"/>
                </a:solidFill>
              </a:endParaRP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208, 217, 60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5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5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</a:t>
              </a:r>
              <a:r>
                <a:rPr lang="de-DE" altLang="en-US" sz="1000" dirty="0" err="1" smtClean="0">
                  <a:solidFill>
                    <a:srgbClr val="333333"/>
                  </a:solidFill>
                </a:rPr>
                <a:t>Leaf</a:t>
              </a:r>
              <a:endParaRPr lang="de-DE" altLang="en-US" sz="1000" dirty="0" smtClean="0">
                <a:solidFill>
                  <a:srgbClr val="333333"/>
                </a:solidFill>
              </a:endParaRP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52, 150, 81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5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5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ING Mid Grey</a:t>
              </a: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118, 118, 118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5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de-DE" sz="1000" dirty="0">
                <a:solidFill>
                  <a:srgbClr val="333333"/>
                </a:solidFill>
              </a:endParaRPr>
            </a:p>
          </p:txBody>
        </p:sp>
        <p:sp>
          <p:nvSpPr>
            <p:cNvPr id="5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Text </a:t>
              </a:r>
              <a:r>
                <a:rPr lang="de-DE" altLang="en-US" sz="1000" dirty="0" err="1" smtClean="0">
                  <a:solidFill>
                    <a:srgbClr val="333333"/>
                  </a:solidFill>
                </a:rPr>
                <a:t>Colour</a:t>
              </a:r>
              <a:endParaRPr lang="de-DE" altLang="en-US" sz="1000" dirty="0" smtClean="0">
                <a:solidFill>
                  <a:srgbClr val="333333"/>
                </a:solidFill>
              </a:endParaRP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de-DE" altLang="en-US" sz="1000" dirty="0" smtClean="0">
                  <a:solidFill>
                    <a:srgbClr val="333333"/>
                  </a:solidFill>
                </a:rPr>
                <a:t>RGB= 51, 51, 51</a:t>
              </a:r>
              <a:endParaRPr lang="de-DE" altLang="en-US" sz="1000" dirty="0">
                <a:solidFill>
                  <a:srgbClr val="333333"/>
                </a:solidFill>
              </a:endParaRPr>
            </a:p>
          </p:txBody>
        </p:sp>
      </p:grp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90" y="4402733"/>
            <a:ext cx="154783" cy="138908"/>
          </a:xfrm>
          <a:prstGeom prst="rect">
            <a:avLst/>
          </a:prstGeom>
        </p:spPr>
      </p:pic>
      <p:pic>
        <p:nvPicPr>
          <p:cNvPr id="29" name="Picture 31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606" t="21885" r="8745" b="32127"/>
          <a:stretch/>
        </p:blipFill>
        <p:spPr>
          <a:xfrm>
            <a:off x="9550895" y="6207490"/>
            <a:ext cx="2347387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25818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4575" y="210314"/>
            <a:ext cx="10972800" cy="116681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14575" y="1395004"/>
            <a:ext cx="10952987" cy="451378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2667" b="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2400" b="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2133" b="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4884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6039" y="210314"/>
            <a:ext cx="10972800" cy="60933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16039" y="1395004"/>
            <a:ext cx="10950980" cy="451378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2667" b="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2400" b="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2133" b="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5"/>
          <p:cNvSpPr>
            <a:spLocks noGrp="1"/>
          </p:cNvSpPr>
          <p:nvPr>
            <p:ph sz="quarter" idx="11" hasCustomPrompt="1"/>
          </p:nvPr>
        </p:nvSpPr>
        <p:spPr bwMode="gray">
          <a:xfrm>
            <a:off x="519430" y="865881"/>
            <a:ext cx="10966028" cy="338555"/>
          </a:xfrm>
        </p:spPr>
        <p:txBody>
          <a:bodyPr vert="horz" lIns="91440" tIns="0" rIns="91440" bIns="0" rtlCol="0" anchor="t">
            <a:sp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 smtClean="0"/>
              <a:t>Subtitle | 18 </a:t>
            </a:r>
            <a:r>
              <a:rPr lang="en-US" dirty="0" err="1" smtClean="0"/>
              <a:t>Pt</a:t>
            </a:r>
            <a:r>
              <a:rPr lang="en-US" dirty="0" smtClean="0"/>
              <a:t> | Max 2 Lines | Max Character: 100 </a:t>
            </a:r>
          </a:p>
        </p:txBody>
      </p:sp>
    </p:spTree>
    <p:extLst>
      <p:ext uri="{BB962C8B-B14F-4D97-AF65-F5344CB8AC3E}">
        <p14:creationId xmlns:p14="http://schemas.microsoft.com/office/powerpoint/2010/main" val="1530028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4575" y="210314"/>
            <a:ext cx="10972800" cy="116681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14575" y="2193097"/>
            <a:ext cx="11064747" cy="3730399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2667" b="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2400" b="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2133" b="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00075" y="1611751"/>
            <a:ext cx="10982325" cy="423283"/>
          </a:xfrm>
          <a:solidFill>
            <a:schemeClr val="accent3"/>
          </a:solidFill>
        </p:spPr>
        <p:txBody>
          <a:bodyPr tIns="91440" bIns="9144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HIGHLIGHTED TEXT IF NEEDED – UPPERCASE</a:t>
            </a:r>
          </a:p>
        </p:txBody>
      </p:sp>
    </p:spTree>
    <p:extLst>
      <p:ext uri="{BB962C8B-B14F-4D97-AF65-F5344CB8AC3E}">
        <p14:creationId xmlns:p14="http://schemas.microsoft.com/office/powerpoint/2010/main" val="217533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6039" y="210314"/>
            <a:ext cx="10972800" cy="60933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16039" y="2193097"/>
            <a:ext cx="11063283" cy="3730399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2667" b="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2400" b="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2133" b="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5"/>
          <p:cNvSpPr>
            <a:spLocks noGrp="1"/>
          </p:cNvSpPr>
          <p:nvPr>
            <p:ph sz="quarter" idx="11" hasCustomPrompt="1"/>
          </p:nvPr>
        </p:nvSpPr>
        <p:spPr bwMode="gray">
          <a:xfrm>
            <a:off x="519430" y="865881"/>
            <a:ext cx="10966028" cy="338555"/>
          </a:xfrm>
        </p:spPr>
        <p:txBody>
          <a:bodyPr vert="horz" lIns="91440" tIns="0" rIns="91440" bIns="0" rtlCol="0" anchor="t">
            <a:sp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 smtClean="0"/>
              <a:t>Subtitle | 18 </a:t>
            </a:r>
            <a:r>
              <a:rPr lang="en-US" dirty="0" err="1" smtClean="0"/>
              <a:t>Pt</a:t>
            </a:r>
            <a:r>
              <a:rPr lang="en-US" dirty="0" smtClean="0"/>
              <a:t> | Max 2 Lines | Max Character: 100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09600" y="1611751"/>
            <a:ext cx="10972800" cy="423283"/>
          </a:xfrm>
          <a:solidFill>
            <a:schemeClr val="accent3"/>
          </a:solidFill>
        </p:spPr>
        <p:txBody>
          <a:bodyPr tIns="91440" bIns="9144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HIGHLIGHTED TEXT IF NEEDED – UPPERCASE</a:t>
            </a:r>
          </a:p>
        </p:txBody>
      </p:sp>
    </p:spTree>
    <p:extLst>
      <p:ext uri="{BB962C8B-B14F-4D97-AF65-F5344CB8AC3E}">
        <p14:creationId xmlns:p14="http://schemas.microsoft.com/office/powerpoint/2010/main" val="125124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4575" y="210314"/>
            <a:ext cx="10972800" cy="116681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3412931" y="1645921"/>
            <a:ext cx="8221301" cy="386486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32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2667" b="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2400" b="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2133" b="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2"/>
          <p:cNvSpPr txBox="1">
            <a:spLocks/>
          </p:cNvSpPr>
          <p:nvPr userDrawn="1"/>
        </p:nvSpPr>
        <p:spPr bwMode="gray">
          <a:xfrm>
            <a:off x="660293" y="1400275"/>
            <a:ext cx="2621280" cy="4256732"/>
          </a:xfrm>
          <a:prstGeom prst="rect">
            <a:avLst/>
          </a:prstGeom>
          <a:solidFill>
            <a:srgbClr val="22475C"/>
          </a:solidFill>
        </p:spPr>
        <p:txBody>
          <a:bodyPr lIns="243840" tIns="304800" rIns="243840"/>
          <a:lstStyle>
            <a:lvl1pPr marL="342900" indent="-342900" algn="l" defTabSz="457200" rtl="0" eaLnBrk="1" latinLnBrk="0" hangingPunct="1">
              <a:lnSpc>
                <a:spcPts val="2880"/>
              </a:lnSpc>
              <a:spcBef>
                <a:spcPts val="1200"/>
              </a:spcBef>
              <a:spcAft>
                <a:spcPts val="200"/>
              </a:spcAft>
              <a:buClr>
                <a:schemeClr val="tx1"/>
              </a:buClr>
              <a:buFont typeface="Wingdings" charset="2"/>
              <a:buChar char="§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79450" indent="-285750" algn="l" defTabSz="457200" rtl="0" eaLnBrk="1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/>
              <a:buChar char="–"/>
              <a:defRPr sz="2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77900" indent="-228600" algn="l" defTabSz="457200" rtl="0" eaLnBrk="1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charset="2"/>
              <a:buChar char="§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0800" marR="0" indent="-228600" algn="l" defTabSz="4572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-228600" algn="l" defTabSz="457200" rtl="0" eaLnBrk="1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charset="2"/>
              <a:buChar char="§"/>
              <a:tabLst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Clr>
                <a:srgbClr val="20343A"/>
              </a:buClr>
              <a:buFont typeface="Wingdings" charset="2"/>
              <a:buNone/>
            </a:pPr>
            <a:endParaRPr lang="en-US" sz="1867" dirty="0">
              <a:solidFill>
                <a:srgbClr val="FFFFFF"/>
              </a:solidFill>
            </a:endParaRP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660293" y="1412051"/>
            <a:ext cx="2622416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82320" y="1645922"/>
            <a:ext cx="2499253" cy="1168399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>
                <a:solidFill>
                  <a:schemeClr val="accent1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782320" y="2854962"/>
            <a:ext cx="2499253" cy="78231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867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ompany</a:t>
            </a:r>
          </a:p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926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 bwMode="gray">
          <a:xfrm>
            <a:off x="608461" y="2359212"/>
            <a:ext cx="2622416" cy="2639917"/>
            <a:chOff x="456346" y="1769409"/>
            <a:chExt cx="1966812" cy="1979938"/>
          </a:xfrm>
        </p:grpSpPr>
        <p:sp>
          <p:nvSpPr>
            <p:cNvPr id="11" name="Content Placeholder 2"/>
            <p:cNvSpPr txBox="1">
              <a:spLocks/>
            </p:cNvSpPr>
            <p:nvPr userDrawn="1"/>
          </p:nvSpPr>
          <p:spPr bwMode="gray">
            <a:xfrm>
              <a:off x="457198" y="1769409"/>
              <a:ext cx="1965960" cy="1979938"/>
            </a:xfrm>
            <a:prstGeom prst="rect">
              <a:avLst/>
            </a:prstGeom>
            <a:solidFill>
              <a:srgbClr val="22475C"/>
            </a:solidFill>
          </p:spPr>
          <p:txBody>
            <a:bodyPr lIns="182880" tIns="228600" rIns="182880"/>
            <a:lstStyle>
              <a:lvl1pPr marL="342900" indent="-342900" algn="l" defTabSz="457200" rtl="0" eaLnBrk="1" latinLnBrk="0" hangingPunct="1">
                <a:lnSpc>
                  <a:spcPts val="288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tx1"/>
                </a:buClr>
                <a:buFont typeface="Wingdings" charset="2"/>
                <a:buChar char="§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79450" indent="-28575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/>
                <a:buChar char="–"/>
                <a:defRPr sz="20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79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defRPr sz="18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20800" marR="0" indent="-228600" algn="l" defTabSz="4572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SzTx/>
                <a:buFont typeface="Arial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02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tabLst/>
                <a:defRPr sz="14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Clr>
                  <a:srgbClr val="20343A"/>
                </a:buClr>
                <a:buFont typeface="Wingdings" charset="2"/>
                <a:buNone/>
              </a:pPr>
              <a:endParaRPr lang="en-US" sz="2133" dirty="0">
                <a:solidFill>
                  <a:srgbClr val="FFFFFF"/>
                </a:solidFill>
              </a:endParaRPr>
            </a:p>
          </p:txBody>
        </p:sp>
        <p:cxnSp>
          <p:nvCxnSpPr>
            <p:cNvPr id="12" name="Straight Connector 11"/>
            <p:cNvCxnSpPr/>
            <p:nvPr userDrawn="1"/>
          </p:nvCxnSpPr>
          <p:spPr bwMode="gray">
            <a:xfrm>
              <a:off x="456346" y="1780592"/>
              <a:ext cx="1966812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4575" y="210314"/>
            <a:ext cx="10972800" cy="116681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31520" y="2600962"/>
            <a:ext cx="2499253" cy="74167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Demo Name</a:t>
            </a:r>
            <a:endParaRPr lang="en-US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731520" y="3322322"/>
            <a:ext cx="2499253" cy="78231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2133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Name</a:t>
            </a:r>
          </a:p>
          <a:p>
            <a:pPr lvl="0"/>
            <a:r>
              <a:rPr lang="en-US" dirty="0" smtClean="0"/>
              <a:t>Location</a:t>
            </a:r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 bwMode="gray">
          <a:xfrm>
            <a:off x="8970141" y="2359212"/>
            <a:ext cx="2622416" cy="2639917"/>
            <a:chOff x="456346" y="1769409"/>
            <a:chExt cx="1966812" cy="1979938"/>
          </a:xfrm>
        </p:grpSpPr>
        <p:sp>
          <p:nvSpPr>
            <p:cNvPr id="15" name="Content Placeholder 2"/>
            <p:cNvSpPr txBox="1">
              <a:spLocks/>
            </p:cNvSpPr>
            <p:nvPr userDrawn="1"/>
          </p:nvSpPr>
          <p:spPr bwMode="gray">
            <a:xfrm>
              <a:off x="457198" y="1769409"/>
              <a:ext cx="1965960" cy="1979938"/>
            </a:xfrm>
            <a:prstGeom prst="rect">
              <a:avLst/>
            </a:prstGeom>
            <a:solidFill>
              <a:srgbClr val="22475C"/>
            </a:solidFill>
          </p:spPr>
          <p:txBody>
            <a:bodyPr lIns="182880" tIns="228600" rIns="182880"/>
            <a:lstStyle>
              <a:lvl1pPr marL="342900" indent="-342900" algn="l" defTabSz="457200" rtl="0" eaLnBrk="1" latinLnBrk="0" hangingPunct="1">
                <a:lnSpc>
                  <a:spcPts val="288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tx1"/>
                </a:buClr>
                <a:buFont typeface="Wingdings" charset="2"/>
                <a:buChar char="§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79450" indent="-28575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/>
                <a:buChar char="–"/>
                <a:defRPr sz="20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79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defRPr sz="18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20800" marR="0" indent="-228600" algn="l" defTabSz="4572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SzTx/>
                <a:buFont typeface="Arial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02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tabLst/>
                <a:defRPr sz="14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Clr>
                  <a:srgbClr val="20343A"/>
                </a:buClr>
                <a:buFont typeface="Wingdings" charset="2"/>
                <a:buNone/>
              </a:pPr>
              <a:endParaRPr lang="en-US" sz="2133" dirty="0">
                <a:solidFill>
                  <a:srgbClr val="FFFFFF"/>
                </a:solidFill>
              </a:endParaRPr>
            </a:p>
          </p:txBody>
        </p:sp>
        <p:cxnSp>
          <p:nvCxnSpPr>
            <p:cNvPr id="16" name="Straight Connector 15"/>
            <p:cNvCxnSpPr/>
            <p:nvPr userDrawn="1"/>
          </p:nvCxnSpPr>
          <p:spPr bwMode="gray">
            <a:xfrm>
              <a:off x="456346" y="1780592"/>
              <a:ext cx="1966812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 Placehold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9093200" y="2600962"/>
            <a:ext cx="2499253" cy="74167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Demo Name</a:t>
            </a:r>
            <a:endParaRPr lang="en-US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093200" y="3322322"/>
            <a:ext cx="2499253" cy="78231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2133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Name</a:t>
            </a:r>
          </a:p>
          <a:p>
            <a:pPr lvl="0"/>
            <a:r>
              <a:rPr lang="en-US" dirty="0" smtClean="0"/>
              <a:t>Location</a:t>
            </a:r>
            <a:endParaRPr lang="en-US" dirty="0"/>
          </a:p>
        </p:txBody>
      </p:sp>
      <p:grpSp>
        <p:nvGrpSpPr>
          <p:cNvPr id="20" name="Group 19"/>
          <p:cNvGrpSpPr/>
          <p:nvPr userDrawn="1"/>
        </p:nvGrpSpPr>
        <p:grpSpPr bwMode="gray">
          <a:xfrm>
            <a:off x="3395688" y="2359212"/>
            <a:ext cx="2622416" cy="2639917"/>
            <a:chOff x="456346" y="1769409"/>
            <a:chExt cx="1966812" cy="1979938"/>
          </a:xfrm>
        </p:grpSpPr>
        <p:sp>
          <p:nvSpPr>
            <p:cNvPr id="21" name="Content Placeholder 2"/>
            <p:cNvSpPr txBox="1">
              <a:spLocks/>
            </p:cNvSpPr>
            <p:nvPr userDrawn="1"/>
          </p:nvSpPr>
          <p:spPr bwMode="gray">
            <a:xfrm>
              <a:off x="457198" y="1769409"/>
              <a:ext cx="1965960" cy="1979938"/>
            </a:xfrm>
            <a:prstGeom prst="rect">
              <a:avLst/>
            </a:prstGeom>
            <a:solidFill>
              <a:srgbClr val="22475C"/>
            </a:solidFill>
          </p:spPr>
          <p:txBody>
            <a:bodyPr lIns="182880" tIns="228600" rIns="182880"/>
            <a:lstStyle>
              <a:lvl1pPr marL="342900" indent="-342900" algn="l" defTabSz="457200" rtl="0" eaLnBrk="1" latinLnBrk="0" hangingPunct="1">
                <a:lnSpc>
                  <a:spcPts val="288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tx1"/>
                </a:buClr>
                <a:buFont typeface="Wingdings" charset="2"/>
                <a:buChar char="§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79450" indent="-28575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/>
                <a:buChar char="–"/>
                <a:defRPr sz="20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79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defRPr sz="18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20800" marR="0" indent="-228600" algn="l" defTabSz="4572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SzTx/>
                <a:buFont typeface="Arial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02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tabLst/>
                <a:defRPr sz="14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Clr>
                  <a:srgbClr val="20343A"/>
                </a:buClr>
                <a:buFont typeface="Wingdings" charset="2"/>
                <a:buNone/>
              </a:pPr>
              <a:endParaRPr lang="en-US" sz="2133" dirty="0">
                <a:solidFill>
                  <a:srgbClr val="FFFFFF"/>
                </a:solidFill>
              </a:endParaRPr>
            </a:p>
          </p:txBody>
        </p:sp>
        <p:cxnSp>
          <p:nvCxnSpPr>
            <p:cNvPr id="22" name="Straight Connector 21"/>
            <p:cNvCxnSpPr/>
            <p:nvPr userDrawn="1"/>
          </p:nvCxnSpPr>
          <p:spPr bwMode="gray">
            <a:xfrm>
              <a:off x="456346" y="1780592"/>
              <a:ext cx="1966812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518747" y="2600962"/>
            <a:ext cx="2499253" cy="74167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Demo Name</a:t>
            </a:r>
            <a:endParaRPr lang="en-US" dirty="0"/>
          </a:p>
        </p:txBody>
      </p:sp>
      <p:sp>
        <p:nvSpPr>
          <p:cNvPr id="24" name="Text Placeholder 8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18747" y="3322322"/>
            <a:ext cx="2499253" cy="78231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2133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Name</a:t>
            </a:r>
          </a:p>
          <a:p>
            <a:pPr lvl="0"/>
            <a:r>
              <a:rPr lang="en-US" dirty="0" smtClean="0"/>
              <a:t>Location</a:t>
            </a:r>
            <a:endParaRPr lang="en-US" dirty="0"/>
          </a:p>
        </p:txBody>
      </p:sp>
      <p:grpSp>
        <p:nvGrpSpPr>
          <p:cNvPr id="25" name="Group 24"/>
          <p:cNvGrpSpPr/>
          <p:nvPr userDrawn="1"/>
        </p:nvGrpSpPr>
        <p:grpSpPr bwMode="gray">
          <a:xfrm>
            <a:off x="6182915" y="2359212"/>
            <a:ext cx="2622416" cy="2639917"/>
            <a:chOff x="456346" y="1769409"/>
            <a:chExt cx="1966812" cy="1979938"/>
          </a:xfrm>
        </p:grpSpPr>
        <p:sp>
          <p:nvSpPr>
            <p:cNvPr id="26" name="Content Placeholder 2"/>
            <p:cNvSpPr txBox="1">
              <a:spLocks/>
            </p:cNvSpPr>
            <p:nvPr userDrawn="1"/>
          </p:nvSpPr>
          <p:spPr bwMode="gray">
            <a:xfrm>
              <a:off x="457198" y="1769409"/>
              <a:ext cx="1965960" cy="1979938"/>
            </a:xfrm>
            <a:prstGeom prst="rect">
              <a:avLst/>
            </a:prstGeom>
            <a:solidFill>
              <a:srgbClr val="22475C"/>
            </a:solidFill>
          </p:spPr>
          <p:txBody>
            <a:bodyPr lIns="182880" tIns="228600" rIns="182880"/>
            <a:lstStyle>
              <a:lvl1pPr marL="342900" indent="-342900" algn="l" defTabSz="457200" rtl="0" eaLnBrk="1" latinLnBrk="0" hangingPunct="1">
                <a:lnSpc>
                  <a:spcPts val="288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tx1"/>
                </a:buClr>
                <a:buFont typeface="Wingdings" charset="2"/>
                <a:buChar char="§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79450" indent="-28575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/>
                <a:buChar char="–"/>
                <a:defRPr sz="20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79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defRPr sz="18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20800" marR="0" indent="-228600" algn="l" defTabSz="4572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SzTx/>
                <a:buFont typeface="Arial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02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tabLst/>
                <a:defRPr sz="14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Clr>
                  <a:srgbClr val="20343A"/>
                </a:buClr>
                <a:buFont typeface="Wingdings" charset="2"/>
                <a:buNone/>
              </a:pPr>
              <a:endParaRPr lang="en-US" sz="2133" dirty="0">
                <a:solidFill>
                  <a:srgbClr val="FFFFFF"/>
                </a:solidFill>
              </a:endParaRPr>
            </a:p>
          </p:txBody>
        </p:sp>
        <p:cxnSp>
          <p:nvCxnSpPr>
            <p:cNvPr id="27" name="Straight Connector 26"/>
            <p:cNvCxnSpPr/>
            <p:nvPr userDrawn="1"/>
          </p:nvCxnSpPr>
          <p:spPr bwMode="gray">
            <a:xfrm>
              <a:off x="456346" y="1780592"/>
              <a:ext cx="1966812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Text Placeholder 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05973" y="2600962"/>
            <a:ext cx="2499253" cy="74167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Demo Name</a:t>
            </a:r>
            <a:endParaRPr lang="en-US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305973" y="3322322"/>
            <a:ext cx="2499253" cy="78231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2133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Name</a:t>
            </a:r>
          </a:p>
          <a:p>
            <a:pPr lvl="0"/>
            <a:r>
              <a:rPr lang="en-US" dirty="0" smtClean="0"/>
              <a:t>Loc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0897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 bwMode="gray">
          <a:xfrm>
            <a:off x="608461" y="1411817"/>
            <a:ext cx="2622416" cy="4243936"/>
            <a:chOff x="456346" y="1769409"/>
            <a:chExt cx="1966812" cy="1979938"/>
          </a:xfrm>
        </p:grpSpPr>
        <p:sp>
          <p:nvSpPr>
            <p:cNvPr id="11" name="Content Placeholder 2"/>
            <p:cNvSpPr txBox="1">
              <a:spLocks/>
            </p:cNvSpPr>
            <p:nvPr userDrawn="1"/>
          </p:nvSpPr>
          <p:spPr bwMode="gray">
            <a:xfrm>
              <a:off x="457198" y="1769409"/>
              <a:ext cx="1965960" cy="1979938"/>
            </a:xfrm>
            <a:prstGeom prst="rect">
              <a:avLst/>
            </a:prstGeom>
            <a:solidFill>
              <a:srgbClr val="22475C"/>
            </a:solidFill>
          </p:spPr>
          <p:txBody>
            <a:bodyPr lIns="182880" tIns="228600" rIns="182880"/>
            <a:lstStyle>
              <a:lvl1pPr marL="342900" indent="-342900" algn="l" defTabSz="457200" rtl="0" eaLnBrk="1" latinLnBrk="0" hangingPunct="1">
                <a:lnSpc>
                  <a:spcPts val="288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tx1"/>
                </a:buClr>
                <a:buFont typeface="Wingdings" charset="2"/>
                <a:buChar char="§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79450" indent="-28575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/>
                <a:buChar char="–"/>
                <a:defRPr sz="20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79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defRPr sz="18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20800" marR="0" indent="-228600" algn="l" defTabSz="4572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SzTx/>
                <a:buFont typeface="Arial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02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tabLst/>
                <a:defRPr sz="14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Clr>
                  <a:srgbClr val="20343A"/>
                </a:buClr>
                <a:buFont typeface="Wingdings" charset="2"/>
                <a:buNone/>
              </a:pPr>
              <a:endParaRPr lang="en-US" sz="2133" dirty="0">
                <a:solidFill>
                  <a:srgbClr val="FFFFFF"/>
                </a:solidFill>
              </a:endParaRPr>
            </a:p>
          </p:txBody>
        </p:sp>
        <p:cxnSp>
          <p:nvCxnSpPr>
            <p:cNvPr id="12" name="Straight Connector 11"/>
            <p:cNvCxnSpPr/>
            <p:nvPr userDrawn="1"/>
          </p:nvCxnSpPr>
          <p:spPr bwMode="gray">
            <a:xfrm>
              <a:off x="456346" y="1780592"/>
              <a:ext cx="1966812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31520" y="1653568"/>
            <a:ext cx="2499253" cy="113979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731520" y="2852022"/>
            <a:ext cx="2499253" cy="78231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867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ompany</a:t>
            </a:r>
          </a:p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 bwMode="gray">
          <a:xfrm>
            <a:off x="8970141" y="1411817"/>
            <a:ext cx="2622416" cy="4243936"/>
            <a:chOff x="456346" y="1769409"/>
            <a:chExt cx="1966812" cy="1979938"/>
          </a:xfrm>
        </p:grpSpPr>
        <p:sp>
          <p:nvSpPr>
            <p:cNvPr id="15" name="Content Placeholder 2"/>
            <p:cNvSpPr txBox="1">
              <a:spLocks/>
            </p:cNvSpPr>
            <p:nvPr userDrawn="1"/>
          </p:nvSpPr>
          <p:spPr bwMode="gray">
            <a:xfrm>
              <a:off x="457198" y="1769409"/>
              <a:ext cx="1965960" cy="1979938"/>
            </a:xfrm>
            <a:prstGeom prst="rect">
              <a:avLst/>
            </a:prstGeom>
            <a:solidFill>
              <a:srgbClr val="22475C"/>
            </a:solidFill>
          </p:spPr>
          <p:txBody>
            <a:bodyPr lIns="182880" tIns="228600" rIns="182880"/>
            <a:lstStyle>
              <a:lvl1pPr marL="342900" indent="-342900" algn="l" defTabSz="457200" rtl="0" eaLnBrk="1" latinLnBrk="0" hangingPunct="1">
                <a:lnSpc>
                  <a:spcPts val="288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tx1"/>
                </a:buClr>
                <a:buFont typeface="Wingdings" charset="2"/>
                <a:buChar char="§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79450" indent="-28575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/>
                <a:buChar char="–"/>
                <a:defRPr sz="20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79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defRPr sz="18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20800" marR="0" indent="-228600" algn="l" defTabSz="4572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SzTx/>
                <a:buFont typeface="Arial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02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tabLst/>
                <a:defRPr sz="14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Clr>
                  <a:srgbClr val="20343A"/>
                </a:buClr>
                <a:buFont typeface="Wingdings" charset="2"/>
                <a:buNone/>
              </a:pPr>
              <a:endParaRPr lang="en-US" sz="2133" dirty="0">
                <a:solidFill>
                  <a:srgbClr val="FFFFFF"/>
                </a:solidFill>
              </a:endParaRPr>
            </a:p>
          </p:txBody>
        </p:sp>
        <p:cxnSp>
          <p:nvCxnSpPr>
            <p:cNvPr id="16" name="Straight Connector 15"/>
            <p:cNvCxnSpPr/>
            <p:nvPr userDrawn="1"/>
          </p:nvCxnSpPr>
          <p:spPr bwMode="gray">
            <a:xfrm>
              <a:off x="456346" y="1780592"/>
              <a:ext cx="1966812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oup 19"/>
          <p:cNvGrpSpPr/>
          <p:nvPr userDrawn="1"/>
        </p:nvGrpSpPr>
        <p:grpSpPr bwMode="gray">
          <a:xfrm>
            <a:off x="3395688" y="1411817"/>
            <a:ext cx="2622416" cy="4243936"/>
            <a:chOff x="456346" y="1769409"/>
            <a:chExt cx="1966812" cy="1979938"/>
          </a:xfrm>
        </p:grpSpPr>
        <p:sp>
          <p:nvSpPr>
            <p:cNvPr id="21" name="Content Placeholder 2"/>
            <p:cNvSpPr txBox="1">
              <a:spLocks/>
            </p:cNvSpPr>
            <p:nvPr userDrawn="1"/>
          </p:nvSpPr>
          <p:spPr bwMode="gray">
            <a:xfrm>
              <a:off x="457198" y="1769409"/>
              <a:ext cx="1965960" cy="1979938"/>
            </a:xfrm>
            <a:prstGeom prst="rect">
              <a:avLst/>
            </a:prstGeom>
            <a:solidFill>
              <a:srgbClr val="22475C"/>
            </a:solidFill>
          </p:spPr>
          <p:txBody>
            <a:bodyPr lIns="182880" tIns="228600" rIns="182880"/>
            <a:lstStyle>
              <a:lvl1pPr marL="342900" indent="-342900" algn="l" defTabSz="457200" rtl="0" eaLnBrk="1" latinLnBrk="0" hangingPunct="1">
                <a:lnSpc>
                  <a:spcPts val="288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tx1"/>
                </a:buClr>
                <a:buFont typeface="Wingdings" charset="2"/>
                <a:buChar char="§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79450" indent="-28575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/>
                <a:buChar char="–"/>
                <a:defRPr sz="20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79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defRPr sz="18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20800" marR="0" indent="-228600" algn="l" defTabSz="4572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SzTx/>
                <a:buFont typeface="Arial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02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tabLst/>
                <a:defRPr sz="14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Clr>
                  <a:srgbClr val="20343A"/>
                </a:buClr>
                <a:buFont typeface="Wingdings" charset="2"/>
                <a:buNone/>
              </a:pPr>
              <a:endParaRPr lang="en-US" sz="2133" dirty="0">
                <a:solidFill>
                  <a:srgbClr val="FFFFFF"/>
                </a:solidFill>
              </a:endParaRPr>
            </a:p>
          </p:txBody>
        </p:sp>
        <p:cxnSp>
          <p:nvCxnSpPr>
            <p:cNvPr id="22" name="Straight Connector 21"/>
            <p:cNvCxnSpPr/>
            <p:nvPr userDrawn="1"/>
          </p:nvCxnSpPr>
          <p:spPr bwMode="gray">
            <a:xfrm>
              <a:off x="456346" y="1780592"/>
              <a:ext cx="1966812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 bwMode="gray">
          <a:xfrm>
            <a:off x="6182915" y="1411817"/>
            <a:ext cx="2622416" cy="4243936"/>
            <a:chOff x="456346" y="1769409"/>
            <a:chExt cx="1966812" cy="1979938"/>
          </a:xfrm>
        </p:grpSpPr>
        <p:sp>
          <p:nvSpPr>
            <p:cNvPr id="26" name="Content Placeholder 2"/>
            <p:cNvSpPr txBox="1">
              <a:spLocks/>
            </p:cNvSpPr>
            <p:nvPr userDrawn="1"/>
          </p:nvSpPr>
          <p:spPr bwMode="gray">
            <a:xfrm>
              <a:off x="457198" y="1769409"/>
              <a:ext cx="1965960" cy="1979938"/>
            </a:xfrm>
            <a:prstGeom prst="rect">
              <a:avLst/>
            </a:prstGeom>
            <a:solidFill>
              <a:srgbClr val="22475C"/>
            </a:solidFill>
          </p:spPr>
          <p:txBody>
            <a:bodyPr lIns="182880" tIns="228600" rIns="182880"/>
            <a:lstStyle>
              <a:lvl1pPr marL="342900" indent="-342900" algn="l" defTabSz="457200" rtl="0" eaLnBrk="1" latinLnBrk="0" hangingPunct="1">
                <a:lnSpc>
                  <a:spcPts val="288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tx1"/>
                </a:buClr>
                <a:buFont typeface="Wingdings" charset="2"/>
                <a:buChar char="§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79450" indent="-28575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/>
                <a:buChar char="–"/>
                <a:defRPr sz="20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79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defRPr sz="18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20800" marR="0" indent="-228600" algn="l" defTabSz="4572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SzTx/>
                <a:buFont typeface="Arial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02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tabLst/>
                <a:defRPr sz="14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Clr>
                  <a:srgbClr val="20343A"/>
                </a:buClr>
                <a:buFont typeface="Wingdings" charset="2"/>
                <a:buNone/>
              </a:pPr>
              <a:endParaRPr lang="en-US" sz="2133" dirty="0">
                <a:solidFill>
                  <a:srgbClr val="FFFFFF"/>
                </a:solidFill>
              </a:endParaRPr>
            </a:p>
          </p:txBody>
        </p:sp>
        <p:cxnSp>
          <p:nvCxnSpPr>
            <p:cNvPr id="27" name="Straight Connector 26"/>
            <p:cNvCxnSpPr/>
            <p:nvPr userDrawn="1"/>
          </p:nvCxnSpPr>
          <p:spPr bwMode="gray">
            <a:xfrm>
              <a:off x="456346" y="1780592"/>
              <a:ext cx="1966812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4575" y="210314"/>
            <a:ext cx="10972800" cy="116681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9093304" y="1653568"/>
            <a:ext cx="2499253" cy="113979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32" name="Text Placehold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093304" y="2852022"/>
            <a:ext cx="2499253" cy="78231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867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ompany</a:t>
            </a:r>
          </a:p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518782" y="1653568"/>
            <a:ext cx="2499253" cy="113979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18851" y="2852022"/>
            <a:ext cx="2499253" cy="78231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867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ompany</a:t>
            </a:r>
          </a:p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37" name="Text Placeholder 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06043" y="1653568"/>
            <a:ext cx="2499253" cy="113979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38" name="Text Placeholder 8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306043" y="2852022"/>
            <a:ext cx="2499253" cy="78231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867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ompany</a:t>
            </a:r>
          </a:p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6121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8077824" y="1746619"/>
            <a:ext cx="3512432" cy="3865104"/>
            <a:chOff x="456346" y="1309964"/>
            <a:chExt cx="2634324" cy="2898828"/>
          </a:xfrm>
        </p:grpSpPr>
        <p:sp>
          <p:nvSpPr>
            <p:cNvPr id="36" name="Content Placeholder 2"/>
            <p:cNvSpPr txBox="1">
              <a:spLocks/>
            </p:cNvSpPr>
            <p:nvPr userDrawn="1"/>
          </p:nvSpPr>
          <p:spPr bwMode="gray">
            <a:xfrm>
              <a:off x="457198" y="1309964"/>
              <a:ext cx="2633472" cy="2898828"/>
            </a:xfrm>
            <a:prstGeom prst="rect">
              <a:avLst/>
            </a:prstGeom>
            <a:solidFill>
              <a:schemeClr val="accent3"/>
            </a:solidFill>
          </p:spPr>
          <p:txBody>
            <a:bodyPr lIns="182880" tIns="228600" rIns="182880"/>
            <a:lstStyle>
              <a:lvl1pPr marL="342900" indent="-342900" algn="l" defTabSz="457200" rtl="0" eaLnBrk="1" latinLnBrk="0" hangingPunct="1">
                <a:lnSpc>
                  <a:spcPts val="288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tx1"/>
                </a:buClr>
                <a:buFont typeface="Wingdings" charset="2"/>
                <a:buChar char="§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79450" indent="-28575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/>
                <a:buChar char="–"/>
                <a:defRPr sz="20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79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defRPr sz="18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20800" marR="0" indent="-228600" algn="l" defTabSz="4572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SzTx/>
                <a:buFont typeface="Arial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02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tabLst/>
                <a:defRPr sz="14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Clr>
                  <a:srgbClr val="20343A"/>
                </a:buClr>
                <a:buFont typeface="Wingdings" charset="2"/>
                <a:buNone/>
              </a:pPr>
              <a:endParaRPr lang="en-US" sz="1867" dirty="0">
                <a:solidFill>
                  <a:srgbClr val="FFFFFF"/>
                </a:solidFill>
              </a:endParaRPr>
            </a:p>
          </p:txBody>
        </p:sp>
        <p:cxnSp>
          <p:nvCxnSpPr>
            <p:cNvPr id="37" name="Straight Connector 36"/>
            <p:cNvCxnSpPr/>
            <p:nvPr userDrawn="1"/>
          </p:nvCxnSpPr>
          <p:spPr bwMode="gray">
            <a:xfrm>
              <a:off x="456346" y="1318795"/>
              <a:ext cx="2633472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8200883" y="1991362"/>
            <a:ext cx="3291840" cy="74167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Enter Text Here</a:t>
            </a:r>
            <a:endParaRPr lang="en-US" dirty="0"/>
          </a:p>
        </p:txBody>
      </p:sp>
      <p:sp>
        <p:nvSpPr>
          <p:cNvPr id="39" name="Text Placeholder 8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200883" y="2702562"/>
            <a:ext cx="3291840" cy="273303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867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Enter Text Here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 bwMode="gray">
          <a:xfrm>
            <a:off x="608461" y="1746619"/>
            <a:ext cx="3512432" cy="3865104"/>
            <a:chOff x="456346" y="1309964"/>
            <a:chExt cx="2634324" cy="2898828"/>
          </a:xfrm>
        </p:grpSpPr>
        <p:sp>
          <p:nvSpPr>
            <p:cNvPr id="30" name="Content Placeholder 2"/>
            <p:cNvSpPr txBox="1">
              <a:spLocks/>
            </p:cNvSpPr>
            <p:nvPr userDrawn="1"/>
          </p:nvSpPr>
          <p:spPr bwMode="gray">
            <a:xfrm>
              <a:off x="457198" y="1309964"/>
              <a:ext cx="2633472" cy="2898828"/>
            </a:xfrm>
            <a:prstGeom prst="rect">
              <a:avLst/>
            </a:prstGeom>
            <a:solidFill>
              <a:schemeClr val="accent3"/>
            </a:solidFill>
          </p:spPr>
          <p:txBody>
            <a:bodyPr lIns="182880" tIns="228600" rIns="182880"/>
            <a:lstStyle>
              <a:lvl1pPr marL="342900" indent="-342900" algn="l" defTabSz="457200" rtl="0" eaLnBrk="1" latinLnBrk="0" hangingPunct="1">
                <a:lnSpc>
                  <a:spcPts val="288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tx1"/>
                </a:buClr>
                <a:buFont typeface="Wingdings" charset="2"/>
                <a:buChar char="§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79450" indent="-28575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/>
                <a:buChar char="–"/>
                <a:defRPr sz="20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79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defRPr sz="18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20800" marR="0" indent="-228600" algn="l" defTabSz="4572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SzTx/>
                <a:buFont typeface="Arial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02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tabLst/>
                <a:defRPr sz="14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Clr>
                  <a:srgbClr val="20343A"/>
                </a:buClr>
                <a:buFont typeface="Wingdings" charset="2"/>
                <a:buNone/>
              </a:pPr>
              <a:endParaRPr lang="en-US" sz="1867" dirty="0">
                <a:solidFill>
                  <a:srgbClr val="FFFFFF"/>
                </a:solidFill>
              </a:endParaRPr>
            </a:p>
          </p:txBody>
        </p:sp>
        <p:cxnSp>
          <p:nvCxnSpPr>
            <p:cNvPr id="31" name="Straight Connector 30"/>
            <p:cNvCxnSpPr/>
            <p:nvPr userDrawn="1"/>
          </p:nvCxnSpPr>
          <p:spPr bwMode="gray">
            <a:xfrm>
              <a:off x="456346" y="1318795"/>
              <a:ext cx="2633472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 Placehold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731520" y="1991362"/>
            <a:ext cx="3291840" cy="74167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Enter Text Here</a:t>
            </a:r>
            <a:endParaRPr lang="en-US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31520" y="2702562"/>
            <a:ext cx="3291840" cy="273303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867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Enter Text Here</a:t>
            </a:r>
            <a:endParaRPr lang="en-US" dirty="0"/>
          </a:p>
        </p:txBody>
      </p:sp>
      <p:grpSp>
        <p:nvGrpSpPr>
          <p:cNvPr id="40" name="Group 39"/>
          <p:cNvGrpSpPr/>
          <p:nvPr userDrawn="1"/>
        </p:nvGrpSpPr>
        <p:grpSpPr bwMode="gray">
          <a:xfrm>
            <a:off x="4342007" y="1746619"/>
            <a:ext cx="3512432" cy="3865104"/>
            <a:chOff x="456346" y="1309964"/>
            <a:chExt cx="2634324" cy="2898828"/>
          </a:xfrm>
        </p:grpSpPr>
        <p:sp>
          <p:nvSpPr>
            <p:cNvPr id="41" name="Content Placeholder 2"/>
            <p:cNvSpPr txBox="1">
              <a:spLocks/>
            </p:cNvSpPr>
            <p:nvPr userDrawn="1"/>
          </p:nvSpPr>
          <p:spPr bwMode="gray">
            <a:xfrm>
              <a:off x="457198" y="1309964"/>
              <a:ext cx="2633472" cy="2898828"/>
            </a:xfrm>
            <a:prstGeom prst="rect">
              <a:avLst/>
            </a:prstGeom>
            <a:solidFill>
              <a:schemeClr val="accent3"/>
            </a:solidFill>
          </p:spPr>
          <p:txBody>
            <a:bodyPr lIns="182880" tIns="228600" rIns="182880"/>
            <a:lstStyle>
              <a:lvl1pPr marL="342900" indent="-342900" algn="l" defTabSz="457200" rtl="0" eaLnBrk="1" latinLnBrk="0" hangingPunct="1">
                <a:lnSpc>
                  <a:spcPts val="288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tx1"/>
                </a:buClr>
                <a:buFont typeface="Wingdings" charset="2"/>
                <a:buChar char="§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79450" indent="-28575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/>
                <a:buChar char="–"/>
                <a:defRPr sz="20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79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defRPr sz="18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20800" marR="0" indent="-228600" algn="l" defTabSz="4572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SzTx/>
                <a:buFont typeface="Arial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02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tabLst/>
                <a:defRPr sz="14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Clr>
                  <a:srgbClr val="20343A"/>
                </a:buClr>
                <a:buFont typeface="Wingdings" charset="2"/>
                <a:buNone/>
              </a:pPr>
              <a:endParaRPr lang="en-US" sz="1867" dirty="0">
                <a:solidFill>
                  <a:srgbClr val="FFFFFF"/>
                </a:solidFill>
              </a:endParaRPr>
            </a:p>
          </p:txBody>
        </p:sp>
        <p:cxnSp>
          <p:nvCxnSpPr>
            <p:cNvPr id="42" name="Straight Connector 41"/>
            <p:cNvCxnSpPr/>
            <p:nvPr userDrawn="1"/>
          </p:nvCxnSpPr>
          <p:spPr bwMode="gray">
            <a:xfrm>
              <a:off x="456346" y="1318795"/>
              <a:ext cx="2633472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" name="Text Placeholder 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65065" y="1991362"/>
            <a:ext cx="3291840" cy="74167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Enter Text Here</a:t>
            </a:r>
            <a:endParaRPr lang="en-US" dirty="0"/>
          </a:p>
        </p:txBody>
      </p:sp>
      <p:sp>
        <p:nvSpPr>
          <p:cNvPr id="44" name="Text Placeholder 8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465065" y="2702562"/>
            <a:ext cx="3291840" cy="273303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867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Enter Text Here</a:t>
            </a:r>
            <a:endParaRPr lang="en-US" dirty="0"/>
          </a:p>
        </p:txBody>
      </p:sp>
      <p:sp>
        <p:nvSpPr>
          <p:cNvPr id="45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6039" y="210314"/>
            <a:ext cx="10972800" cy="60933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6" name="Content Placeholder 5"/>
          <p:cNvSpPr>
            <a:spLocks noGrp="1"/>
          </p:cNvSpPr>
          <p:nvPr>
            <p:ph sz="quarter" idx="11" hasCustomPrompt="1"/>
          </p:nvPr>
        </p:nvSpPr>
        <p:spPr bwMode="gray">
          <a:xfrm>
            <a:off x="519430" y="865881"/>
            <a:ext cx="10966028" cy="338555"/>
          </a:xfrm>
        </p:spPr>
        <p:txBody>
          <a:bodyPr vert="horz" lIns="91440" tIns="0" rIns="91440" bIns="0" rtlCol="0" anchor="t">
            <a:sp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 smtClean="0"/>
              <a:t>Subtitle | 18 </a:t>
            </a:r>
            <a:r>
              <a:rPr lang="en-US" dirty="0" err="1" smtClean="0"/>
              <a:t>Pt</a:t>
            </a:r>
            <a:r>
              <a:rPr lang="en-US" dirty="0" smtClean="0"/>
              <a:t> | Max 2 Lines | Max Character: 100 </a:t>
            </a:r>
          </a:p>
        </p:txBody>
      </p:sp>
    </p:spTree>
    <p:extLst>
      <p:ext uri="{BB962C8B-B14F-4D97-AF65-F5344CB8AC3E}">
        <p14:creationId xmlns:p14="http://schemas.microsoft.com/office/powerpoint/2010/main" val="749185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001" y="1278384"/>
            <a:ext cx="5058750" cy="4921200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278384"/>
            <a:ext cx="5058000" cy="49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889613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 bwMode="gray">
          <a:xfrm>
            <a:off x="608461" y="1746619"/>
            <a:ext cx="10980659" cy="3865104"/>
            <a:chOff x="456346" y="1309964"/>
            <a:chExt cx="2634324" cy="2898828"/>
          </a:xfrm>
        </p:grpSpPr>
        <p:sp>
          <p:nvSpPr>
            <p:cNvPr id="30" name="Content Placeholder 2"/>
            <p:cNvSpPr txBox="1">
              <a:spLocks/>
            </p:cNvSpPr>
            <p:nvPr userDrawn="1"/>
          </p:nvSpPr>
          <p:spPr bwMode="gray">
            <a:xfrm>
              <a:off x="457198" y="1309964"/>
              <a:ext cx="2633472" cy="2898828"/>
            </a:xfrm>
            <a:prstGeom prst="rect">
              <a:avLst/>
            </a:prstGeom>
            <a:solidFill>
              <a:schemeClr val="accent3"/>
            </a:solidFill>
          </p:spPr>
          <p:txBody>
            <a:bodyPr lIns="182880" tIns="228600" rIns="182880"/>
            <a:lstStyle>
              <a:lvl1pPr marL="342900" indent="-342900" algn="l" defTabSz="457200" rtl="0" eaLnBrk="1" latinLnBrk="0" hangingPunct="1">
                <a:lnSpc>
                  <a:spcPts val="288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tx1"/>
                </a:buClr>
                <a:buFont typeface="Wingdings" charset="2"/>
                <a:buChar char="§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79450" indent="-28575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/>
                <a:buChar char="–"/>
                <a:defRPr sz="20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79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defRPr sz="18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20800" marR="0" indent="-228600" algn="l" defTabSz="4572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SzTx/>
                <a:buFont typeface="Arial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02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tabLst/>
                <a:defRPr sz="14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Clr>
                  <a:srgbClr val="20343A"/>
                </a:buClr>
                <a:buFont typeface="Wingdings" charset="2"/>
                <a:buNone/>
              </a:pPr>
              <a:endParaRPr lang="en-US" sz="1867" dirty="0">
                <a:solidFill>
                  <a:srgbClr val="FFFFFF"/>
                </a:solidFill>
              </a:endParaRPr>
            </a:p>
          </p:txBody>
        </p:sp>
        <p:cxnSp>
          <p:nvCxnSpPr>
            <p:cNvPr id="31" name="Straight Connector 30"/>
            <p:cNvCxnSpPr/>
            <p:nvPr userDrawn="1"/>
          </p:nvCxnSpPr>
          <p:spPr bwMode="gray">
            <a:xfrm>
              <a:off x="456346" y="1318795"/>
              <a:ext cx="2633472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 Placehold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731520" y="1991362"/>
            <a:ext cx="10647681" cy="74167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Enter Text Here</a:t>
            </a:r>
            <a:endParaRPr lang="en-US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31517" y="2702562"/>
            <a:ext cx="10753939" cy="273303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867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Enter Text Here</a:t>
            </a:r>
            <a:endParaRPr lang="en-US" dirty="0"/>
          </a:p>
        </p:txBody>
      </p:sp>
      <p:sp>
        <p:nvSpPr>
          <p:cNvPr id="45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6039" y="210314"/>
            <a:ext cx="10972800" cy="60933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6" name="Content Placeholder 5"/>
          <p:cNvSpPr>
            <a:spLocks noGrp="1"/>
          </p:cNvSpPr>
          <p:nvPr>
            <p:ph sz="quarter" idx="11" hasCustomPrompt="1"/>
          </p:nvPr>
        </p:nvSpPr>
        <p:spPr bwMode="gray">
          <a:xfrm>
            <a:off x="519430" y="865881"/>
            <a:ext cx="10966028" cy="338555"/>
          </a:xfrm>
        </p:spPr>
        <p:txBody>
          <a:bodyPr vert="horz" lIns="91440" tIns="0" rIns="91440" bIns="0" rtlCol="0" anchor="t">
            <a:sp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 smtClean="0"/>
              <a:t>Subtitle | 18 </a:t>
            </a:r>
            <a:r>
              <a:rPr lang="en-US" dirty="0" err="1" smtClean="0"/>
              <a:t>Pt</a:t>
            </a:r>
            <a:r>
              <a:rPr lang="en-US" dirty="0" smtClean="0"/>
              <a:t> | Max 2 Lines | Max Character: 100 </a:t>
            </a:r>
          </a:p>
        </p:txBody>
      </p:sp>
    </p:spTree>
    <p:extLst>
      <p:ext uri="{BB962C8B-B14F-4D97-AF65-F5344CB8AC3E}">
        <p14:creationId xmlns:p14="http://schemas.microsoft.com/office/powerpoint/2010/main" val="541727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4575" y="210314"/>
            <a:ext cx="10972800" cy="116681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  <p:grpSp>
        <p:nvGrpSpPr>
          <p:cNvPr id="20" name="Group 19"/>
          <p:cNvGrpSpPr/>
          <p:nvPr userDrawn="1"/>
        </p:nvGrpSpPr>
        <p:grpSpPr bwMode="gray">
          <a:xfrm>
            <a:off x="3395688" y="2359212"/>
            <a:ext cx="2622416" cy="2639917"/>
            <a:chOff x="456346" y="1769409"/>
            <a:chExt cx="1966812" cy="1979938"/>
          </a:xfrm>
          <a:solidFill>
            <a:schemeClr val="accent1"/>
          </a:solidFill>
        </p:grpSpPr>
        <p:sp>
          <p:nvSpPr>
            <p:cNvPr id="21" name="Content Placeholder 2"/>
            <p:cNvSpPr txBox="1">
              <a:spLocks/>
            </p:cNvSpPr>
            <p:nvPr userDrawn="1"/>
          </p:nvSpPr>
          <p:spPr bwMode="gray">
            <a:xfrm>
              <a:off x="457198" y="1769409"/>
              <a:ext cx="1965960" cy="1979938"/>
            </a:xfrm>
            <a:prstGeom prst="rect">
              <a:avLst/>
            </a:prstGeom>
            <a:grpFill/>
          </p:spPr>
          <p:txBody>
            <a:bodyPr lIns="182880" tIns="228600" rIns="182880"/>
            <a:lstStyle>
              <a:lvl1pPr marL="342900" indent="-342900" algn="l" defTabSz="457200" rtl="0" eaLnBrk="1" latinLnBrk="0" hangingPunct="1">
                <a:lnSpc>
                  <a:spcPts val="288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tx1"/>
                </a:buClr>
                <a:buFont typeface="Wingdings" charset="2"/>
                <a:buChar char="§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79450" indent="-28575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/>
                <a:buChar char="–"/>
                <a:defRPr sz="20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79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defRPr sz="18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20800" marR="0" indent="-228600" algn="l" defTabSz="4572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SzTx/>
                <a:buFont typeface="Arial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02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tabLst/>
                <a:defRPr sz="14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Clr>
                  <a:srgbClr val="20343A"/>
                </a:buClr>
                <a:buFont typeface="Wingdings" charset="2"/>
                <a:buNone/>
              </a:pPr>
              <a:endParaRPr lang="en-US" sz="2133" dirty="0">
                <a:solidFill>
                  <a:srgbClr val="FFFFFF"/>
                </a:solidFill>
              </a:endParaRPr>
            </a:p>
          </p:txBody>
        </p:sp>
        <p:cxnSp>
          <p:nvCxnSpPr>
            <p:cNvPr id="22" name="Straight Connector 21"/>
            <p:cNvCxnSpPr/>
            <p:nvPr userDrawn="1"/>
          </p:nvCxnSpPr>
          <p:spPr bwMode="gray">
            <a:xfrm>
              <a:off x="456346" y="1780592"/>
              <a:ext cx="1966812" cy="0"/>
            </a:xfrm>
            <a:prstGeom prst="line">
              <a:avLst/>
            </a:prstGeom>
            <a:grpFill/>
            <a:ln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518747" y="2600962"/>
            <a:ext cx="2499253" cy="74167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None/>
              <a:defRPr>
                <a:solidFill>
                  <a:schemeClr val="accent3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Demo Name</a:t>
            </a:r>
            <a:endParaRPr lang="en-US" dirty="0"/>
          </a:p>
        </p:txBody>
      </p:sp>
      <p:sp>
        <p:nvSpPr>
          <p:cNvPr id="24" name="Text Placeholder 8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18747" y="3322322"/>
            <a:ext cx="2499253" cy="78231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2133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Name</a:t>
            </a:r>
          </a:p>
          <a:p>
            <a:pPr lvl="0"/>
            <a:r>
              <a:rPr lang="en-US" dirty="0" smtClean="0"/>
              <a:t>Location</a:t>
            </a:r>
            <a:endParaRPr lang="en-US" dirty="0"/>
          </a:p>
        </p:txBody>
      </p:sp>
      <p:grpSp>
        <p:nvGrpSpPr>
          <p:cNvPr id="25" name="Group 24"/>
          <p:cNvGrpSpPr/>
          <p:nvPr userDrawn="1"/>
        </p:nvGrpSpPr>
        <p:grpSpPr bwMode="gray">
          <a:xfrm>
            <a:off x="6182915" y="2359212"/>
            <a:ext cx="2622416" cy="2639917"/>
            <a:chOff x="456346" y="1769409"/>
            <a:chExt cx="1966812" cy="1979938"/>
          </a:xfrm>
          <a:solidFill>
            <a:schemeClr val="accent1"/>
          </a:solidFill>
        </p:grpSpPr>
        <p:sp>
          <p:nvSpPr>
            <p:cNvPr id="26" name="Content Placeholder 2"/>
            <p:cNvSpPr txBox="1">
              <a:spLocks/>
            </p:cNvSpPr>
            <p:nvPr userDrawn="1"/>
          </p:nvSpPr>
          <p:spPr bwMode="gray">
            <a:xfrm>
              <a:off x="457198" y="1769409"/>
              <a:ext cx="1965960" cy="1979938"/>
            </a:xfrm>
            <a:prstGeom prst="rect">
              <a:avLst/>
            </a:prstGeom>
            <a:grpFill/>
          </p:spPr>
          <p:txBody>
            <a:bodyPr lIns="182880" tIns="228600" rIns="182880"/>
            <a:lstStyle>
              <a:lvl1pPr marL="342900" indent="-342900" algn="l" defTabSz="457200" rtl="0" eaLnBrk="1" latinLnBrk="0" hangingPunct="1">
                <a:lnSpc>
                  <a:spcPts val="288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tx1"/>
                </a:buClr>
                <a:buFont typeface="Wingdings" charset="2"/>
                <a:buChar char="§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79450" indent="-28575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/>
                <a:buChar char="–"/>
                <a:defRPr sz="20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79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defRPr sz="18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20800" marR="0" indent="-228600" algn="l" defTabSz="4572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SzTx/>
                <a:buFont typeface="Arial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02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tabLst/>
                <a:defRPr sz="14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Clr>
                  <a:srgbClr val="20343A"/>
                </a:buClr>
                <a:buFont typeface="Wingdings" charset="2"/>
                <a:buNone/>
              </a:pPr>
              <a:endParaRPr lang="en-US" sz="2133" dirty="0">
                <a:solidFill>
                  <a:srgbClr val="FFFFFF"/>
                </a:solidFill>
              </a:endParaRPr>
            </a:p>
          </p:txBody>
        </p:sp>
        <p:cxnSp>
          <p:nvCxnSpPr>
            <p:cNvPr id="27" name="Straight Connector 26"/>
            <p:cNvCxnSpPr/>
            <p:nvPr userDrawn="1"/>
          </p:nvCxnSpPr>
          <p:spPr bwMode="gray">
            <a:xfrm>
              <a:off x="456346" y="1780592"/>
              <a:ext cx="1966812" cy="0"/>
            </a:xfrm>
            <a:prstGeom prst="line">
              <a:avLst/>
            </a:prstGeom>
            <a:grpFill/>
            <a:ln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Text Placeholder 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05973" y="2600962"/>
            <a:ext cx="2499253" cy="74167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None/>
              <a:defRPr>
                <a:solidFill>
                  <a:schemeClr val="accent3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Demo Name</a:t>
            </a:r>
            <a:endParaRPr lang="en-US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305973" y="3322322"/>
            <a:ext cx="2499253" cy="78231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2133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Name</a:t>
            </a:r>
          </a:p>
          <a:p>
            <a:pPr lvl="0"/>
            <a:r>
              <a:rPr lang="en-US" dirty="0" smtClean="0"/>
              <a:t>Loc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4074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Pa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2192000" cy="6858000"/>
          </a:xfrm>
        </p:spPr>
        <p:txBody>
          <a:bodyPr lIns="274320" tIns="365760" rIns="91440" bIns="1280160" anchor="t" anchorCtr="0"/>
          <a:lstStyle>
            <a:lvl1pPr algn="l">
              <a:buNone/>
              <a:defRPr/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7947716" y="2"/>
            <a:ext cx="2889504" cy="4168996"/>
          </a:xfrm>
          <a:solidFill>
            <a:srgbClr val="53BBD4">
              <a:alpha val="95000"/>
            </a:srgbClr>
          </a:solidFill>
        </p:spPr>
        <p:txBody>
          <a:bodyPr vert="horz" lIns="182880" tIns="182880" rIns="91440" bIns="182880" rtlCol="0" anchor="b" anchorCtr="0">
            <a:noAutofit/>
          </a:bodyPr>
          <a:lstStyle>
            <a:lvl1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dirty="0">
                <a:solidFill>
                  <a:schemeClr val="bg1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4129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3111" y="210314"/>
            <a:ext cx="10972800" cy="116681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588037" y="1321935"/>
            <a:ext cx="10973620" cy="609951"/>
          </a:xfrm>
          <a:prstGeom prst="rect">
            <a:avLst/>
          </a:prstGeom>
          <a:solidFill>
            <a:schemeClr val="tx2"/>
          </a:solidFill>
        </p:spPr>
        <p:txBody>
          <a:bodyPr lIns="914400" bIns="137160" anchor="ctr" anchorCtr="0"/>
          <a:lstStyle>
            <a:lvl1pPr marL="0" indent="0" algn="l">
              <a:lnSpc>
                <a:spcPts val="3840"/>
              </a:lnSpc>
              <a:buNone/>
              <a:defRPr sz="2133" b="1" cap="all">
                <a:solidFill>
                  <a:schemeClr val="bg1"/>
                </a:solidFill>
              </a:defRPr>
            </a:lvl1pPr>
            <a:lvl2pPr>
              <a:defRPr sz="2667" b="0">
                <a:solidFill>
                  <a:schemeClr val="tx1"/>
                </a:solidFill>
              </a:defRPr>
            </a:lvl2pPr>
            <a:lvl3pPr>
              <a:defRPr sz="2400" b="0">
                <a:solidFill>
                  <a:schemeClr val="tx1"/>
                </a:solidFill>
              </a:defRPr>
            </a:lvl3pPr>
            <a:lvl4pPr>
              <a:defRPr sz="2133" b="0">
                <a:solidFill>
                  <a:schemeClr val="tx1"/>
                </a:solidFill>
              </a:defRPr>
            </a:lvl4pPr>
            <a:lvl5pPr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 smtClean="0"/>
              <a:t>CLICK TO EDIT MASTER TEXT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588037" y="2103354"/>
            <a:ext cx="10973620" cy="609951"/>
          </a:xfrm>
          <a:prstGeom prst="rect">
            <a:avLst/>
          </a:prstGeom>
          <a:solidFill>
            <a:schemeClr val="tx2"/>
          </a:solidFill>
        </p:spPr>
        <p:txBody>
          <a:bodyPr lIns="914400" bIns="137160" anchor="ctr" anchorCtr="0"/>
          <a:lstStyle>
            <a:lvl1pPr marL="0" indent="0" algn="l">
              <a:lnSpc>
                <a:spcPts val="3840"/>
              </a:lnSpc>
              <a:buNone/>
              <a:defRPr sz="2133" b="1" cap="all">
                <a:solidFill>
                  <a:schemeClr val="bg1"/>
                </a:solidFill>
              </a:defRPr>
            </a:lvl1pPr>
            <a:lvl2pPr>
              <a:defRPr sz="2667" b="0">
                <a:solidFill>
                  <a:schemeClr val="tx1"/>
                </a:solidFill>
              </a:defRPr>
            </a:lvl2pPr>
            <a:lvl3pPr>
              <a:defRPr sz="2400" b="0">
                <a:solidFill>
                  <a:schemeClr val="tx1"/>
                </a:solidFill>
              </a:defRPr>
            </a:lvl3pPr>
            <a:lvl4pPr>
              <a:defRPr sz="2133" b="0">
                <a:solidFill>
                  <a:schemeClr val="tx1"/>
                </a:solidFill>
              </a:defRPr>
            </a:lvl4pPr>
            <a:lvl5pPr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 smtClean="0"/>
              <a:t>CLICK TO EDIT MASTER TEXT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2" hasCustomPrompt="1"/>
          </p:nvPr>
        </p:nvSpPr>
        <p:spPr bwMode="gray">
          <a:xfrm>
            <a:off x="588037" y="5229030"/>
            <a:ext cx="10973620" cy="609951"/>
          </a:xfrm>
          <a:prstGeom prst="rect">
            <a:avLst/>
          </a:prstGeom>
          <a:solidFill>
            <a:schemeClr val="tx2"/>
          </a:solidFill>
        </p:spPr>
        <p:txBody>
          <a:bodyPr lIns="914400" bIns="137160" anchor="ctr" anchorCtr="0"/>
          <a:lstStyle>
            <a:lvl1pPr marL="0" indent="0" algn="l">
              <a:lnSpc>
                <a:spcPts val="3840"/>
              </a:lnSpc>
              <a:buNone/>
              <a:defRPr sz="2133" b="1" cap="all">
                <a:solidFill>
                  <a:schemeClr val="bg1"/>
                </a:solidFill>
              </a:defRPr>
            </a:lvl1pPr>
            <a:lvl2pPr>
              <a:defRPr sz="2667" b="0">
                <a:solidFill>
                  <a:schemeClr val="tx1"/>
                </a:solidFill>
              </a:defRPr>
            </a:lvl2pPr>
            <a:lvl3pPr>
              <a:defRPr sz="2400" b="0">
                <a:solidFill>
                  <a:schemeClr val="tx1"/>
                </a:solidFill>
              </a:defRPr>
            </a:lvl3pPr>
            <a:lvl4pPr>
              <a:defRPr sz="2133" b="0">
                <a:solidFill>
                  <a:schemeClr val="tx1"/>
                </a:solidFill>
              </a:defRPr>
            </a:lvl4pPr>
            <a:lvl5pPr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 smtClean="0"/>
              <a:t>CLICK TO EDIT MASTER TEXT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3" hasCustomPrompt="1"/>
          </p:nvPr>
        </p:nvSpPr>
        <p:spPr bwMode="gray">
          <a:xfrm>
            <a:off x="588037" y="2884773"/>
            <a:ext cx="10973620" cy="609951"/>
          </a:xfrm>
          <a:prstGeom prst="rect">
            <a:avLst/>
          </a:prstGeom>
          <a:solidFill>
            <a:schemeClr val="tx2"/>
          </a:solidFill>
        </p:spPr>
        <p:txBody>
          <a:bodyPr lIns="914400" bIns="137160" anchor="ctr" anchorCtr="0"/>
          <a:lstStyle>
            <a:lvl1pPr marL="0" indent="0" algn="l">
              <a:lnSpc>
                <a:spcPts val="3840"/>
              </a:lnSpc>
              <a:buNone/>
              <a:defRPr sz="2133" b="1" cap="all">
                <a:solidFill>
                  <a:schemeClr val="bg1"/>
                </a:solidFill>
              </a:defRPr>
            </a:lvl1pPr>
            <a:lvl2pPr>
              <a:defRPr sz="2667" b="0">
                <a:solidFill>
                  <a:schemeClr val="tx1"/>
                </a:solidFill>
              </a:defRPr>
            </a:lvl2pPr>
            <a:lvl3pPr>
              <a:defRPr sz="2400" b="0">
                <a:solidFill>
                  <a:schemeClr val="tx1"/>
                </a:solidFill>
              </a:defRPr>
            </a:lvl3pPr>
            <a:lvl4pPr>
              <a:defRPr sz="2133" b="0">
                <a:solidFill>
                  <a:schemeClr val="tx1"/>
                </a:solidFill>
              </a:defRPr>
            </a:lvl4pPr>
            <a:lvl5pPr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 smtClean="0"/>
              <a:t>CLICK TO EDIT MASTER 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4" hasCustomPrompt="1"/>
          </p:nvPr>
        </p:nvSpPr>
        <p:spPr bwMode="gray">
          <a:xfrm>
            <a:off x="588037" y="3666191"/>
            <a:ext cx="10973620" cy="609951"/>
          </a:xfrm>
          <a:prstGeom prst="rect">
            <a:avLst/>
          </a:prstGeom>
          <a:solidFill>
            <a:schemeClr val="tx2"/>
          </a:solidFill>
        </p:spPr>
        <p:txBody>
          <a:bodyPr lIns="914400" bIns="137160" anchor="ctr" anchorCtr="0"/>
          <a:lstStyle>
            <a:lvl1pPr marL="0" indent="0" algn="l">
              <a:lnSpc>
                <a:spcPts val="3840"/>
              </a:lnSpc>
              <a:buNone/>
              <a:defRPr sz="2133" b="1" cap="all">
                <a:solidFill>
                  <a:schemeClr val="bg1"/>
                </a:solidFill>
              </a:defRPr>
            </a:lvl1pPr>
            <a:lvl2pPr>
              <a:defRPr sz="2667" b="0">
                <a:solidFill>
                  <a:schemeClr val="tx1"/>
                </a:solidFill>
              </a:defRPr>
            </a:lvl2pPr>
            <a:lvl3pPr>
              <a:defRPr sz="2400" b="0">
                <a:solidFill>
                  <a:schemeClr val="tx1"/>
                </a:solidFill>
              </a:defRPr>
            </a:lvl3pPr>
            <a:lvl4pPr>
              <a:defRPr sz="2133" b="0">
                <a:solidFill>
                  <a:schemeClr val="tx1"/>
                </a:solidFill>
              </a:defRPr>
            </a:lvl4pPr>
            <a:lvl5pPr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 smtClean="0"/>
              <a:t>CLICK TO EDIT MASTER TEXT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 hasCustomPrompt="1"/>
          </p:nvPr>
        </p:nvSpPr>
        <p:spPr bwMode="gray">
          <a:xfrm>
            <a:off x="588037" y="4447611"/>
            <a:ext cx="10973620" cy="609951"/>
          </a:xfrm>
          <a:prstGeom prst="rect">
            <a:avLst/>
          </a:prstGeom>
          <a:solidFill>
            <a:schemeClr val="tx2"/>
          </a:solidFill>
        </p:spPr>
        <p:txBody>
          <a:bodyPr lIns="914400" bIns="137160" anchor="ctr" anchorCtr="0"/>
          <a:lstStyle>
            <a:lvl1pPr marL="0" indent="0" algn="l">
              <a:lnSpc>
                <a:spcPts val="3840"/>
              </a:lnSpc>
              <a:buNone/>
              <a:defRPr sz="2133" b="1" cap="all">
                <a:solidFill>
                  <a:schemeClr val="bg1"/>
                </a:solidFill>
              </a:defRPr>
            </a:lvl1pPr>
            <a:lvl2pPr>
              <a:defRPr sz="2667" b="0">
                <a:solidFill>
                  <a:schemeClr val="tx1"/>
                </a:solidFill>
              </a:defRPr>
            </a:lvl2pPr>
            <a:lvl3pPr>
              <a:defRPr sz="2400" b="0">
                <a:solidFill>
                  <a:schemeClr val="tx1"/>
                </a:solidFill>
              </a:defRPr>
            </a:lvl3pPr>
            <a:lvl4pPr>
              <a:defRPr sz="2133" b="0">
                <a:solidFill>
                  <a:schemeClr val="tx1"/>
                </a:solidFill>
              </a:defRPr>
            </a:lvl4pPr>
            <a:lvl5pPr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 smtClean="0"/>
              <a:t>CLICK TO EDIT MASTER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2999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4575" y="210314"/>
            <a:ext cx="10972800" cy="116681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05936" y="1395004"/>
            <a:ext cx="5384800" cy="4513783"/>
          </a:xfrm>
          <a:prstGeom prst="rect">
            <a:avLst/>
          </a:prstGeom>
        </p:spPr>
        <p:txBody>
          <a:bodyPr/>
          <a:lstStyle>
            <a:lvl1pPr>
              <a:lnSpc>
                <a:spcPts val="3840"/>
              </a:lnSpc>
              <a:defRPr sz="3200" b="0">
                <a:solidFill>
                  <a:schemeClr val="tx1"/>
                </a:solidFill>
              </a:defRPr>
            </a:lvl1pPr>
            <a:lvl2pPr>
              <a:defRPr sz="2667" b="0">
                <a:solidFill>
                  <a:schemeClr val="tx1"/>
                </a:solidFill>
              </a:defRPr>
            </a:lvl2pPr>
            <a:lvl3pPr>
              <a:defRPr sz="2400" b="0">
                <a:solidFill>
                  <a:schemeClr val="tx1"/>
                </a:solidFill>
              </a:defRPr>
            </a:lvl3pPr>
            <a:lvl4pPr>
              <a:defRPr sz="2133" b="0">
                <a:solidFill>
                  <a:schemeClr val="tx1"/>
                </a:solidFill>
              </a:defRPr>
            </a:lvl4pPr>
            <a:lvl5pPr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197600" y="1395004"/>
            <a:ext cx="5384800" cy="4513783"/>
          </a:xfrm>
          <a:prstGeom prst="rect">
            <a:avLst/>
          </a:prstGeom>
        </p:spPr>
        <p:txBody>
          <a:bodyPr/>
          <a:lstStyle>
            <a:lvl1pPr>
              <a:defRPr sz="3200" b="0">
                <a:solidFill>
                  <a:schemeClr val="tx1"/>
                </a:solidFill>
              </a:defRPr>
            </a:lvl1pPr>
            <a:lvl2pPr>
              <a:defRPr sz="2667" b="0">
                <a:solidFill>
                  <a:schemeClr val="tx1"/>
                </a:solidFill>
              </a:defRPr>
            </a:lvl2pPr>
            <a:lvl3pPr>
              <a:defRPr sz="2400" b="0">
                <a:solidFill>
                  <a:schemeClr val="tx1"/>
                </a:solidFill>
              </a:defRPr>
            </a:lvl3pPr>
            <a:lvl4pPr>
              <a:defRPr sz="2133" b="0">
                <a:solidFill>
                  <a:schemeClr val="tx1"/>
                </a:solidFill>
              </a:defRPr>
            </a:lvl4pPr>
            <a:lvl5pPr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181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6039" y="210314"/>
            <a:ext cx="10972800" cy="60933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12" name="Content Placeholder 5"/>
          <p:cNvSpPr>
            <a:spLocks noGrp="1"/>
          </p:cNvSpPr>
          <p:nvPr>
            <p:ph sz="quarter" idx="11" hasCustomPrompt="1"/>
          </p:nvPr>
        </p:nvSpPr>
        <p:spPr bwMode="gray">
          <a:xfrm>
            <a:off x="519430" y="865881"/>
            <a:ext cx="10966028" cy="338555"/>
          </a:xfrm>
        </p:spPr>
        <p:txBody>
          <a:bodyPr vert="horz" lIns="91440" tIns="0" rIns="91440" bIns="0" rtlCol="0" anchor="t">
            <a:sp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 smtClean="0"/>
              <a:t>Subtitle | 18 </a:t>
            </a:r>
            <a:r>
              <a:rPr lang="en-US" dirty="0" err="1" smtClean="0"/>
              <a:t>Pt</a:t>
            </a:r>
            <a:r>
              <a:rPr lang="en-US" dirty="0" smtClean="0"/>
              <a:t> | Max 2 Lines | Max Character: 100 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609600" y="1395004"/>
            <a:ext cx="5384800" cy="4513783"/>
          </a:xfrm>
          <a:prstGeom prst="rect">
            <a:avLst/>
          </a:prstGeom>
        </p:spPr>
        <p:txBody>
          <a:bodyPr/>
          <a:lstStyle>
            <a:lvl1pPr>
              <a:lnSpc>
                <a:spcPts val="3840"/>
              </a:lnSpc>
              <a:defRPr sz="3200" b="0">
                <a:solidFill>
                  <a:schemeClr val="tx1"/>
                </a:solidFill>
              </a:defRPr>
            </a:lvl1pPr>
            <a:lvl2pPr>
              <a:defRPr sz="2667" b="0">
                <a:solidFill>
                  <a:schemeClr val="tx1"/>
                </a:solidFill>
              </a:defRPr>
            </a:lvl2pPr>
            <a:lvl3pPr>
              <a:defRPr sz="2400" b="0">
                <a:solidFill>
                  <a:schemeClr val="tx1"/>
                </a:solidFill>
              </a:defRPr>
            </a:lvl3pPr>
            <a:lvl4pPr>
              <a:defRPr sz="2133" b="0">
                <a:solidFill>
                  <a:schemeClr val="tx1"/>
                </a:solidFill>
              </a:defRPr>
            </a:lvl4pPr>
            <a:lvl5pPr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197600" y="1395004"/>
            <a:ext cx="5384800" cy="4513783"/>
          </a:xfrm>
          <a:prstGeom prst="rect">
            <a:avLst/>
          </a:prstGeom>
        </p:spPr>
        <p:txBody>
          <a:bodyPr/>
          <a:lstStyle>
            <a:lvl1pPr>
              <a:defRPr sz="3200" b="0">
                <a:solidFill>
                  <a:schemeClr val="tx1"/>
                </a:solidFill>
              </a:defRPr>
            </a:lvl1pPr>
            <a:lvl2pPr>
              <a:defRPr sz="2667" b="0">
                <a:solidFill>
                  <a:schemeClr val="tx1"/>
                </a:solidFill>
              </a:defRPr>
            </a:lvl2pPr>
            <a:lvl3pPr>
              <a:defRPr sz="2400" b="0">
                <a:solidFill>
                  <a:schemeClr val="tx1"/>
                </a:solidFill>
              </a:defRPr>
            </a:lvl3pPr>
            <a:lvl4pPr>
              <a:defRPr sz="2133" b="0">
                <a:solidFill>
                  <a:schemeClr val="tx1"/>
                </a:solidFill>
              </a:defRPr>
            </a:lvl4pPr>
            <a:lvl5pPr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3173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4575" y="210314"/>
            <a:ext cx="10972800" cy="116681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3731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6039" y="210314"/>
            <a:ext cx="10972800" cy="60933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5" name="Content Placeholder 5"/>
          <p:cNvSpPr>
            <a:spLocks noGrp="1"/>
          </p:cNvSpPr>
          <p:nvPr>
            <p:ph sz="quarter" idx="11" hasCustomPrompt="1"/>
          </p:nvPr>
        </p:nvSpPr>
        <p:spPr bwMode="gray">
          <a:xfrm>
            <a:off x="519430" y="865881"/>
            <a:ext cx="10966028" cy="338555"/>
          </a:xfrm>
        </p:spPr>
        <p:txBody>
          <a:bodyPr vert="horz" lIns="91440" tIns="0" rIns="91440" bIns="0" rtlCol="0" anchor="t">
            <a:sp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 smtClean="0"/>
              <a:t>Subtitle | 18 </a:t>
            </a:r>
            <a:r>
              <a:rPr lang="en-US" dirty="0" err="1" smtClean="0"/>
              <a:t>Pt</a:t>
            </a:r>
            <a:r>
              <a:rPr lang="en-US" dirty="0" smtClean="0"/>
              <a:t> | Max 2 Lines | Max Character: 100 </a:t>
            </a:r>
          </a:p>
        </p:txBody>
      </p:sp>
    </p:spTree>
    <p:extLst>
      <p:ext uri="{BB962C8B-B14F-4D97-AF65-F5344CB8AC3E}">
        <p14:creationId xmlns:p14="http://schemas.microsoft.com/office/powerpoint/2010/main" val="119470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6067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10314"/>
            <a:ext cx="10972800" cy="116681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  <p:sp>
        <p:nvSpPr>
          <p:cNvPr id="3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12820" y="5924673"/>
            <a:ext cx="10966360" cy="236539"/>
          </a:xfrm>
        </p:spPr>
        <p:txBody>
          <a:bodyPr tIns="45720" bIns="4572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333">
                <a:solidFill>
                  <a:schemeClr val="tx2"/>
                </a:solidFill>
              </a:defRPr>
            </a:lvl1pPr>
            <a:lvl2pPr marL="524920" indent="0">
              <a:buNone/>
              <a:defRPr sz="1467"/>
            </a:lvl2pPr>
            <a:lvl3pPr marL="999042" indent="0">
              <a:buNone/>
              <a:defRPr sz="1467"/>
            </a:lvl3pPr>
            <a:lvl4pPr marL="1456230" indent="0">
              <a:buNone/>
              <a:defRPr sz="1467"/>
            </a:lvl4pPr>
            <a:lvl5pPr marL="1828754" indent="0">
              <a:buNone/>
              <a:defRPr sz="1467"/>
            </a:lvl5pPr>
          </a:lstStyle>
          <a:p>
            <a:pPr lvl="0"/>
            <a:r>
              <a:rPr lang="en-US" dirty="0" smtClean="0"/>
              <a:t>Click to add a Source or Note</a:t>
            </a:r>
          </a:p>
        </p:txBody>
      </p:sp>
    </p:spTree>
    <p:extLst>
      <p:ext uri="{BB962C8B-B14F-4D97-AF65-F5344CB8AC3E}">
        <p14:creationId xmlns:p14="http://schemas.microsoft.com/office/powerpoint/2010/main" val="151661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6" y="1278385"/>
            <a:ext cx="1048917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61" indent="-268261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21" indent="-266673">
              <a:buClr>
                <a:schemeClr val="accent2"/>
              </a:buClr>
              <a:defRPr/>
            </a:lvl3pPr>
            <a:lvl4pPr marL="807958" indent="-260324">
              <a:buClr>
                <a:schemeClr val="accent3"/>
              </a:buClr>
              <a:defRPr/>
            </a:lvl4pPr>
            <a:lvl5pPr marL="1071455" indent="-252387">
              <a:buClr>
                <a:schemeClr val="accent4"/>
              </a:buCl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660381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001" y="1795636"/>
            <a:ext cx="5058750" cy="4403948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795636"/>
            <a:ext cx="5058000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845575" y="1277982"/>
            <a:ext cx="5059925" cy="436017"/>
          </a:xfrm>
        </p:spPr>
        <p:txBody>
          <a:bodyPr>
            <a:noAutofit/>
          </a:bodyPr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274826" y="1277982"/>
            <a:ext cx="5059925" cy="436017"/>
          </a:xfrm>
        </p:spPr>
        <p:txBody>
          <a:bodyPr>
            <a:noAutofit/>
          </a:bodyPr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1612389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lide0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6509" y="1164005"/>
            <a:ext cx="10972800" cy="757130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5335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400"/>
            <a:endParaRPr lang="en-US" dirty="0">
              <a:solidFill>
                <a:srgbClr val="20343A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31149" y="5831317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400"/>
            <a:endParaRPr lang="en-US" dirty="0">
              <a:solidFill>
                <a:srgbClr val="20343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4006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4575" y="210314"/>
            <a:ext cx="10972800" cy="116681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00919" y="1395004"/>
            <a:ext cx="10966643" cy="4513783"/>
          </a:xfrm>
          <a:prstGeom prst="rect">
            <a:avLst/>
          </a:prstGeom>
        </p:spPr>
        <p:txBody>
          <a:bodyPr/>
          <a:lstStyle>
            <a:lvl1pPr>
              <a:lnSpc>
                <a:spcPts val="3840"/>
              </a:lnSpc>
              <a:defRPr sz="3200" b="0">
                <a:solidFill>
                  <a:schemeClr val="tx1"/>
                </a:solidFill>
              </a:defRPr>
            </a:lvl1pPr>
            <a:lvl2pPr>
              <a:defRPr sz="2667" b="0">
                <a:solidFill>
                  <a:schemeClr val="tx1"/>
                </a:solidFill>
              </a:defRPr>
            </a:lvl2pPr>
            <a:lvl3pPr>
              <a:defRPr sz="2400" b="0">
                <a:solidFill>
                  <a:schemeClr val="tx1"/>
                </a:solidFill>
              </a:defRPr>
            </a:lvl3pPr>
            <a:lvl4pPr>
              <a:defRPr sz="2133" b="0">
                <a:solidFill>
                  <a:schemeClr val="tx1"/>
                </a:solidFill>
              </a:defRPr>
            </a:lvl4pPr>
            <a:lvl5pPr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411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6039" y="210314"/>
            <a:ext cx="10972800" cy="60933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00376" y="1395004"/>
            <a:ext cx="10966643" cy="4513783"/>
          </a:xfrm>
          <a:prstGeom prst="rect">
            <a:avLst/>
          </a:prstGeom>
        </p:spPr>
        <p:txBody>
          <a:bodyPr/>
          <a:lstStyle>
            <a:lvl1pPr>
              <a:lnSpc>
                <a:spcPts val="3840"/>
              </a:lnSpc>
              <a:defRPr sz="3200" b="0">
                <a:solidFill>
                  <a:schemeClr val="tx1"/>
                </a:solidFill>
              </a:defRPr>
            </a:lvl1pPr>
            <a:lvl2pPr>
              <a:defRPr sz="2667" b="0">
                <a:solidFill>
                  <a:schemeClr val="tx1"/>
                </a:solidFill>
              </a:defRPr>
            </a:lvl2pPr>
            <a:lvl3pPr>
              <a:defRPr sz="2400" b="0">
                <a:solidFill>
                  <a:schemeClr val="tx1"/>
                </a:solidFill>
              </a:defRPr>
            </a:lvl3pPr>
            <a:lvl4pPr>
              <a:defRPr sz="2133" b="0">
                <a:solidFill>
                  <a:schemeClr val="tx1"/>
                </a:solidFill>
              </a:defRPr>
            </a:lvl4pPr>
            <a:lvl5pPr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5"/>
          <p:cNvSpPr>
            <a:spLocks noGrp="1"/>
          </p:cNvSpPr>
          <p:nvPr>
            <p:ph sz="quarter" idx="11" hasCustomPrompt="1"/>
          </p:nvPr>
        </p:nvSpPr>
        <p:spPr bwMode="gray">
          <a:xfrm>
            <a:off x="519430" y="865881"/>
            <a:ext cx="10966028" cy="338555"/>
          </a:xfrm>
        </p:spPr>
        <p:txBody>
          <a:bodyPr vert="horz" lIns="91440" tIns="0" rIns="91440" bIns="0" rtlCol="0" anchor="t">
            <a:sp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 smtClean="0"/>
              <a:t>Subtitle | 18 </a:t>
            </a:r>
            <a:r>
              <a:rPr lang="en-US" dirty="0" err="1" smtClean="0"/>
              <a:t>Pt</a:t>
            </a:r>
            <a:r>
              <a:rPr lang="en-US" dirty="0" smtClean="0"/>
              <a:t> | Max 2 Lines | Max Character: 100 </a:t>
            </a:r>
          </a:p>
        </p:txBody>
      </p:sp>
    </p:spTree>
    <p:extLst>
      <p:ext uri="{BB962C8B-B14F-4D97-AF65-F5344CB8AC3E}">
        <p14:creationId xmlns:p14="http://schemas.microsoft.com/office/powerpoint/2010/main" val="1366900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4575" y="210314"/>
            <a:ext cx="10972800" cy="116681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612679" y="2193097"/>
            <a:ext cx="10966643" cy="3730399"/>
          </a:xfrm>
          <a:prstGeom prst="rect">
            <a:avLst/>
          </a:prstGeom>
        </p:spPr>
        <p:txBody>
          <a:bodyPr/>
          <a:lstStyle>
            <a:lvl1pPr>
              <a:lnSpc>
                <a:spcPts val="3840"/>
              </a:lnSpc>
              <a:defRPr sz="3200" b="0">
                <a:solidFill>
                  <a:schemeClr val="tx1"/>
                </a:solidFill>
              </a:defRPr>
            </a:lvl1pPr>
            <a:lvl2pPr>
              <a:defRPr sz="2667" b="0">
                <a:solidFill>
                  <a:schemeClr val="tx1"/>
                </a:solidFill>
              </a:defRPr>
            </a:lvl2pPr>
            <a:lvl3pPr>
              <a:defRPr sz="2400" b="0">
                <a:solidFill>
                  <a:schemeClr val="tx1"/>
                </a:solidFill>
              </a:defRPr>
            </a:lvl3pPr>
            <a:lvl4pPr>
              <a:defRPr sz="2133" b="0">
                <a:solidFill>
                  <a:schemeClr val="tx1"/>
                </a:solidFill>
              </a:defRPr>
            </a:lvl4pPr>
            <a:lvl5pPr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09600" y="1611751"/>
            <a:ext cx="10972800" cy="423283"/>
          </a:xfrm>
          <a:solidFill>
            <a:schemeClr val="accent3"/>
          </a:solidFill>
        </p:spPr>
        <p:txBody>
          <a:bodyPr tIns="91440" bIns="9144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HIGHLIGHTED TEXT IF NEEDED – UPPERCASE</a:t>
            </a:r>
          </a:p>
        </p:txBody>
      </p:sp>
    </p:spTree>
    <p:extLst>
      <p:ext uri="{BB962C8B-B14F-4D97-AF65-F5344CB8AC3E}">
        <p14:creationId xmlns:p14="http://schemas.microsoft.com/office/powerpoint/2010/main" val="1363941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6039" y="210314"/>
            <a:ext cx="10972800" cy="60933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612679" y="2193097"/>
            <a:ext cx="10966643" cy="3730399"/>
          </a:xfrm>
          <a:prstGeom prst="rect">
            <a:avLst/>
          </a:prstGeom>
        </p:spPr>
        <p:txBody>
          <a:bodyPr/>
          <a:lstStyle>
            <a:lvl1pPr>
              <a:lnSpc>
                <a:spcPts val="3840"/>
              </a:lnSpc>
              <a:defRPr sz="3200" b="0">
                <a:solidFill>
                  <a:schemeClr val="tx1"/>
                </a:solidFill>
              </a:defRPr>
            </a:lvl1pPr>
            <a:lvl2pPr>
              <a:defRPr sz="2667" b="0">
                <a:solidFill>
                  <a:schemeClr val="tx1"/>
                </a:solidFill>
              </a:defRPr>
            </a:lvl2pPr>
            <a:lvl3pPr>
              <a:defRPr sz="2400" b="0">
                <a:solidFill>
                  <a:schemeClr val="tx1"/>
                </a:solidFill>
              </a:defRPr>
            </a:lvl3pPr>
            <a:lvl4pPr>
              <a:defRPr sz="2133" b="0">
                <a:solidFill>
                  <a:schemeClr val="tx1"/>
                </a:solidFill>
              </a:defRPr>
            </a:lvl4pPr>
            <a:lvl5pPr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5"/>
          <p:cNvSpPr>
            <a:spLocks noGrp="1"/>
          </p:cNvSpPr>
          <p:nvPr>
            <p:ph sz="quarter" idx="11" hasCustomPrompt="1"/>
          </p:nvPr>
        </p:nvSpPr>
        <p:spPr bwMode="gray">
          <a:xfrm>
            <a:off x="519430" y="865881"/>
            <a:ext cx="10966028" cy="338555"/>
          </a:xfrm>
        </p:spPr>
        <p:txBody>
          <a:bodyPr vert="horz" lIns="91440" tIns="0" rIns="91440" bIns="0" rtlCol="0" anchor="t">
            <a:sp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 smtClean="0"/>
              <a:t>Subtitle | 18 </a:t>
            </a:r>
            <a:r>
              <a:rPr lang="en-US" dirty="0" err="1" smtClean="0"/>
              <a:t>Pt</a:t>
            </a:r>
            <a:r>
              <a:rPr lang="en-US" dirty="0" smtClean="0"/>
              <a:t> | Max 2 Lines | Max Character: 100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09600" y="1611751"/>
            <a:ext cx="10972800" cy="423283"/>
          </a:xfrm>
          <a:solidFill>
            <a:schemeClr val="accent3"/>
          </a:solidFill>
        </p:spPr>
        <p:txBody>
          <a:bodyPr tIns="91440" bIns="9144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HIGHLIGHTED TEXT IF NEEDED – UPPERCASE</a:t>
            </a:r>
          </a:p>
        </p:txBody>
      </p:sp>
    </p:spTree>
    <p:extLst>
      <p:ext uri="{BB962C8B-B14F-4D97-AF65-F5344CB8AC3E}">
        <p14:creationId xmlns:p14="http://schemas.microsoft.com/office/powerpoint/2010/main" val="1573087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4575" y="210314"/>
            <a:ext cx="10972800" cy="116681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3412931" y="1645921"/>
            <a:ext cx="8221301" cy="386486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840"/>
              </a:lnSpc>
              <a:buNone/>
              <a:defRPr sz="3200" b="0">
                <a:solidFill>
                  <a:schemeClr val="tx1"/>
                </a:solidFill>
              </a:defRPr>
            </a:lvl1pPr>
            <a:lvl2pPr>
              <a:defRPr sz="2667" b="0">
                <a:solidFill>
                  <a:schemeClr val="tx1"/>
                </a:solidFill>
              </a:defRPr>
            </a:lvl2pPr>
            <a:lvl3pPr>
              <a:defRPr sz="2400" b="0">
                <a:solidFill>
                  <a:schemeClr val="tx1"/>
                </a:solidFill>
              </a:defRPr>
            </a:lvl3pPr>
            <a:lvl4pPr>
              <a:defRPr sz="2133" b="0">
                <a:solidFill>
                  <a:schemeClr val="tx1"/>
                </a:solidFill>
              </a:defRPr>
            </a:lvl4pPr>
            <a:lvl5pPr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2"/>
          <p:cNvSpPr txBox="1">
            <a:spLocks/>
          </p:cNvSpPr>
          <p:nvPr userDrawn="1"/>
        </p:nvSpPr>
        <p:spPr bwMode="gray">
          <a:xfrm>
            <a:off x="660293" y="1400275"/>
            <a:ext cx="2621280" cy="4256732"/>
          </a:xfrm>
          <a:prstGeom prst="rect">
            <a:avLst/>
          </a:prstGeom>
          <a:solidFill>
            <a:srgbClr val="22475C"/>
          </a:solidFill>
        </p:spPr>
        <p:txBody>
          <a:bodyPr lIns="243840" tIns="304800" rIns="243840"/>
          <a:lstStyle>
            <a:lvl1pPr marL="342900" indent="-342900" algn="l" defTabSz="457200" rtl="0" eaLnBrk="1" latinLnBrk="0" hangingPunct="1">
              <a:lnSpc>
                <a:spcPts val="2880"/>
              </a:lnSpc>
              <a:spcBef>
                <a:spcPts val="1200"/>
              </a:spcBef>
              <a:spcAft>
                <a:spcPts val="200"/>
              </a:spcAft>
              <a:buClr>
                <a:schemeClr val="tx1"/>
              </a:buClr>
              <a:buFont typeface="Wingdings" charset="2"/>
              <a:buChar char="§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79450" indent="-285750" algn="l" defTabSz="457200" rtl="0" eaLnBrk="1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/>
              <a:buChar char="–"/>
              <a:defRPr sz="2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77900" indent="-228600" algn="l" defTabSz="457200" rtl="0" eaLnBrk="1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charset="2"/>
              <a:buChar char="§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0800" marR="0" indent="-228600" algn="l" defTabSz="4572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-228600" algn="l" defTabSz="457200" rtl="0" eaLnBrk="1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charset="2"/>
              <a:buChar char="§"/>
              <a:tabLst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Clr>
                <a:srgbClr val="20343A"/>
              </a:buClr>
              <a:buFont typeface="Wingdings" charset="2"/>
              <a:buNone/>
            </a:pPr>
            <a:endParaRPr lang="en-US" sz="1867" dirty="0">
              <a:solidFill>
                <a:srgbClr val="FFFFFF"/>
              </a:solidFill>
            </a:endParaRP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660293" y="1412051"/>
            <a:ext cx="2622416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82320" y="1645922"/>
            <a:ext cx="2499253" cy="1168399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>
                <a:solidFill>
                  <a:schemeClr val="accent1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782320" y="2854962"/>
            <a:ext cx="2499253" cy="78231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867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ompany</a:t>
            </a:r>
          </a:p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796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 bwMode="gray">
          <a:xfrm>
            <a:off x="608461" y="2359212"/>
            <a:ext cx="2622416" cy="2639917"/>
            <a:chOff x="456346" y="1769409"/>
            <a:chExt cx="1966812" cy="1979938"/>
          </a:xfrm>
        </p:grpSpPr>
        <p:sp>
          <p:nvSpPr>
            <p:cNvPr id="11" name="Content Placeholder 2"/>
            <p:cNvSpPr txBox="1">
              <a:spLocks/>
            </p:cNvSpPr>
            <p:nvPr userDrawn="1"/>
          </p:nvSpPr>
          <p:spPr bwMode="gray">
            <a:xfrm>
              <a:off x="457198" y="1769409"/>
              <a:ext cx="1965960" cy="1979938"/>
            </a:xfrm>
            <a:prstGeom prst="rect">
              <a:avLst/>
            </a:prstGeom>
            <a:solidFill>
              <a:srgbClr val="22475C"/>
            </a:solidFill>
          </p:spPr>
          <p:txBody>
            <a:bodyPr lIns="182880" tIns="228600" rIns="182880"/>
            <a:lstStyle>
              <a:lvl1pPr marL="342900" indent="-342900" algn="l" defTabSz="457200" rtl="0" eaLnBrk="1" latinLnBrk="0" hangingPunct="1">
                <a:lnSpc>
                  <a:spcPts val="288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tx1"/>
                </a:buClr>
                <a:buFont typeface="Wingdings" charset="2"/>
                <a:buChar char="§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79450" indent="-28575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/>
                <a:buChar char="–"/>
                <a:defRPr sz="20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79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defRPr sz="18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20800" marR="0" indent="-228600" algn="l" defTabSz="4572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SzTx/>
                <a:buFont typeface="Arial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02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tabLst/>
                <a:defRPr sz="14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Clr>
                  <a:srgbClr val="20343A"/>
                </a:buClr>
                <a:buFont typeface="Wingdings" charset="2"/>
                <a:buNone/>
              </a:pPr>
              <a:endParaRPr lang="en-US" sz="2133" dirty="0">
                <a:solidFill>
                  <a:srgbClr val="FFFFFF"/>
                </a:solidFill>
              </a:endParaRPr>
            </a:p>
          </p:txBody>
        </p:sp>
        <p:cxnSp>
          <p:nvCxnSpPr>
            <p:cNvPr id="12" name="Straight Connector 11"/>
            <p:cNvCxnSpPr/>
            <p:nvPr userDrawn="1"/>
          </p:nvCxnSpPr>
          <p:spPr bwMode="gray">
            <a:xfrm>
              <a:off x="456346" y="1780592"/>
              <a:ext cx="1966812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4575" y="210314"/>
            <a:ext cx="10972800" cy="116681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31520" y="2600962"/>
            <a:ext cx="2499253" cy="74167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Demo Name</a:t>
            </a:r>
            <a:endParaRPr lang="en-US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731520" y="3322322"/>
            <a:ext cx="2499253" cy="78231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2133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Name</a:t>
            </a:r>
          </a:p>
          <a:p>
            <a:pPr lvl="0"/>
            <a:r>
              <a:rPr lang="en-US" dirty="0" smtClean="0"/>
              <a:t>Location</a:t>
            </a:r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 bwMode="gray">
          <a:xfrm>
            <a:off x="8970141" y="2359212"/>
            <a:ext cx="2622416" cy="2639917"/>
            <a:chOff x="456346" y="1769409"/>
            <a:chExt cx="1966812" cy="1979938"/>
          </a:xfrm>
        </p:grpSpPr>
        <p:sp>
          <p:nvSpPr>
            <p:cNvPr id="15" name="Content Placeholder 2"/>
            <p:cNvSpPr txBox="1">
              <a:spLocks/>
            </p:cNvSpPr>
            <p:nvPr userDrawn="1"/>
          </p:nvSpPr>
          <p:spPr bwMode="gray">
            <a:xfrm>
              <a:off x="457198" y="1769409"/>
              <a:ext cx="1965960" cy="1979938"/>
            </a:xfrm>
            <a:prstGeom prst="rect">
              <a:avLst/>
            </a:prstGeom>
            <a:solidFill>
              <a:srgbClr val="22475C"/>
            </a:solidFill>
          </p:spPr>
          <p:txBody>
            <a:bodyPr lIns="182880" tIns="228600" rIns="182880"/>
            <a:lstStyle>
              <a:lvl1pPr marL="342900" indent="-342900" algn="l" defTabSz="457200" rtl="0" eaLnBrk="1" latinLnBrk="0" hangingPunct="1">
                <a:lnSpc>
                  <a:spcPts val="288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tx1"/>
                </a:buClr>
                <a:buFont typeface="Wingdings" charset="2"/>
                <a:buChar char="§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79450" indent="-28575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/>
                <a:buChar char="–"/>
                <a:defRPr sz="20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79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defRPr sz="18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20800" marR="0" indent="-228600" algn="l" defTabSz="4572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SzTx/>
                <a:buFont typeface="Arial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02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tabLst/>
                <a:defRPr sz="14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Clr>
                  <a:srgbClr val="20343A"/>
                </a:buClr>
                <a:buFont typeface="Wingdings" charset="2"/>
                <a:buNone/>
              </a:pPr>
              <a:endParaRPr lang="en-US" sz="2133" dirty="0">
                <a:solidFill>
                  <a:srgbClr val="FFFFFF"/>
                </a:solidFill>
              </a:endParaRPr>
            </a:p>
          </p:txBody>
        </p:sp>
        <p:cxnSp>
          <p:nvCxnSpPr>
            <p:cNvPr id="16" name="Straight Connector 15"/>
            <p:cNvCxnSpPr/>
            <p:nvPr userDrawn="1"/>
          </p:nvCxnSpPr>
          <p:spPr bwMode="gray">
            <a:xfrm>
              <a:off x="456346" y="1780592"/>
              <a:ext cx="1966812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 Placehold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9093200" y="2600962"/>
            <a:ext cx="2499253" cy="74167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Demo Name</a:t>
            </a:r>
            <a:endParaRPr lang="en-US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093200" y="3322322"/>
            <a:ext cx="2499253" cy="78231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2133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Name</a:t>
            </a:r>
          </a:p>
          <a:p>
            <a:pPr lvl="0"/>
            <a:r>
              <a:rPr lang="en-US" dirty="0" smtClean="0"/>
              <a:t>Location</a:t>
            </a:r>
            <a:endParaRPr lang="en-US" dirty="0"/>
          </a:p>
        </p:txBody>
      </p:sp>
      <p:grpSp>
        <p:nvGrpSpPr>
          <p:cNvPr id="20" name="Group 19"/>
          <p:cNvGrpSpPr/>
          <p:nvPr userDrawn="1"/>
        </p:nvGrpSpPr>
        <p:grpSpPr bwMode="gray">
          <a:xfrm>
            <a:off x="3395688" y="2359212"/>
            <a:ext cx="2622416" cy="2639917"/>
            <a:chOff x="456346" y="1769409"/>
            <a:chExt cx="1966812" cy="1979938"/>
          </a:xfrm>
        </p:grpSpPr>
        <p:sp>
          <p:nvSpPr>
            <p:cNvPr id="21" name="Content Placeholder 2"/>
            <p:cNvSpPr txBox="1">
              <a:spLocks/>
            </p:cNvSpPr>
            <p:nvPr userDrawn="1"/>
          </p:nvSpPr>
          <p:spPr bwMode="gray">
            <a:xfrm>
              <a:off x="457198" y="1769409"/>
              <a:ext cx="1965960" cy="1979938"/>
            </a:xfrm>
            <a:prstGeom prst="rect">
              <a:avLst/>
            </a:prstGeom>
            <a:solidFill>
              <a:srgbClr val="22475C"/>
            </a:solidFill>
          </p:spPr>
          <p:txBody>
            <a:bodyPr lIns="182880" tIns="228600" rIns="182880"/>
            <a:lstStyle>
              <a:lvl1pPr marL="342900" indent="-342900" algn="l" defTabSz="457200" rtl="0" eaLnBrk="1" latinLnBrk="0" hangingPunct="1">
                <a:lnSpc>
                  <a:spcPts val="288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tx1"/>
                </a:buClr>
                <a:buFont typeface="Wingdings" charset="2"/>
                <a:buChar char="§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79450" indent="-28575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/>
                <a:buChar char="–"/>
                <a:defRPr sz="20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79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defRPr sz="18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20800" marR="0" indent="-228600" algn="l" defTabSz="4572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SzTx/>
                <a:buFont typeface="Arial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02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tabLst/>
                <a:defRPr sz="14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Clr>
                  <a:srgbClr val="20343A"/>
                </a:buClr>
                <a:buFont typeface="Wingdings" charset="2"/>
                <a:buNone/>
              </a:pPr>
              <a:endParaRPr lang="en-US" sz="2133" dirty="0">
                <a:solidFill>
                  <a:srgbClr val="FFFFFF"/>
                </a:solidFill>
              </a:endParaRPr>
            </a:p>
          </p:txBody>
        </p:sp>
        <p:cxnSp>
          <p:nvCxnSpPr>
            <p:cNvPr id="22" name="Straight Connector 21"/>
            <p:cNvCxnSpPr/>
            <p:nvPr userDrawn="1"/>
          </p:nvCxnSpPr>
          <p:spPr bwMode="gray">
            <a:xfrm>
              <a:off x="456346" y="1780592"/>
              <a:ext cx="1966812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518747" y="2600962"/>
            <a:ext cx="2499253" cy="74167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Demo Name</a:t>
            </a:r>
            <a:endParaRPr lang="en-US" dirty="0"/>
          </a:p>
        </p:txBody>
      </p:sp>
      <p:sp>
        <p:nvSpPr>
          <p:cNvPr id="24" name="Text Placeholder 8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18747" y="3322322"/>
            <a:ext cx="2499253" cy="78231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2133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Name</a:t>
            </a:r>
          </a:p>
          <a:p>
            <a:pPr lvl="0"/>
            <a:r>
              <a:rPr lang="en-US" dirty="0" smtClean="0"/>
              <a:t>Location</a:t>
            </a:r>
            <a:endParaRPr lang="en-US" dirty="0"/>
          </a:p>
        </p:txBody>
      </p:sp>
      <p:grpSp>
        <p:nvGrpSpPr>
          <p:cNvPr id="25" name="Group 24"/>
          <p:cNvGrpSpPr/>
          <p:nvPr userDrawn="1"/>
        </p:nvGrpSpPr>
        <p:grpSpPr bwMode="gray">
          <a:xfrm>
            <a:off x="6182915" y="2359212"/>
            <a:ext cx="2622416" cy="2639917"/>
            <a:chOff x="456346" y="1769409"/>
            <a:chExt cx="1966812" cy="1979938"/>
          </a:xfrm>
        </p:grpSpPr>
        <p:sp>
          <p:nvSpPr>
            <p:cNvPr id="26" name="Content Placeholder 2"/>
            <p:cNvSpPr txBox="1">
              <a:spLocks/>
            </p:cNvSpPr>
            <p:nvPr userDrawn="1"/>
          </p:nvSpPr>
          <p:spPr bwMode="gray">
            <a:xfrm>
              <a:off x="457198" y="1769409"/>
              <a:ext cx="1965960" cy="1979938"/>
            </a:xfrm>
            <a:prstGeom prst="rect">
              <a:avLst/>
            </a:prstGeom>
            <a:solidFill>
              <a:srgbClr val="22475C"/>
            </a:solidFill>
          </p:spPr>
          <p:txBody>
            <a:bodyPr lIns="182880" tIns="228600" rIns="182880"/>
            <a:lstStyle>
              <a:lvl1pPr marL="342900" indent="-342900" algn="l" defTabSz="457200" rtl="0" eaLnBrk="1" latinLnBrk="0" hangingPunct="1">
                <a:lnSpc>
                  <a:spcPts val="288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tx1"/>
                </a:buClr>
                <a:buFont typeface="Wingdings" charset="2"/>
                <a:buChar char="§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79450" indent="-28575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/>
                <a:buChar char="–"/>
                <a:defRPr sz="20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79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defRPr sz="18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20800" marR="0" indent="-228600" algn="l" defTabSz="4572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SzTx/>
                <a:buFont typeface="Arial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02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tabLst/>
                <a:defRPr sz="14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Clr>
                  <a:srgbClr val="20343A"/>
                </a:buClr>
                <a:buFont typeface="Wingdings" charset="2"/>
                <a:buNone/>
              </a:pPr>
              <a:endParaRPr lang="en-US" sz="2133" dirty="0">
                <a:solidFill>
                  <a:srgbClr val="FFFFFF"/>
                </a:solidFill>
              </a:endParaRPr>
            </a:p>
          </p:txBody>
        </p:sp>
        <p:cxnSp>
          <p:nvCxnSpPr>
            <p:cNvPr id="27" name="Straight Connector 26"/>
            <p:cNvCxnSpPr/>
            <p:nvPr userDrawn="1"/>
          </p:nvCxnSpPr>
          <p:spPr bwMode="gray">
            <a:xfrm>
              <a:off x="456346" y="1780592"/>
              <a:ext cx="1966812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Text Placeholder 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05973" y="2600962"/>
            <a:ext cx="2499253" cy="74167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Demo Name</a:t>
            </a:r>
            <a:endParaRPr lang="en-US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305973" y="3322322"/>
            <a:ext cx="2499253" cy="78231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2133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Name</a:t>
            </a:r>
          </a:p>
          <a:p>
            <a:pPr lvl="0"/>
            <a:r>
              <a:rPr lang="en-US" dirty="0" smtClean="0"/>
              <a:t>Loc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2312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 bwMode="gray">
          <a:xfrm>
            <a:off x="608461" y="1411817"/>
            <a:ext cx="2622416" cy="4243936"/>
            <a:chOff x="456346" y="1769409"/>
            <a:chExt cx="1966812" cy="1979938"/>
          </a:xfrm>
        </p:grpSpPr>
        <p:sp>
          <p:nvSpPr>
            <p:cNvPr id="11" name="Content Placeholder 2"/>
            <p:cNvSpPr txBox="1">
              <a:spLocks/>
            </p:cNvSpPr>
            <p:nvPr userDrawn="1"/>
          </p:nvSpPr>
          <p:spPr bwMode="gray">
            <a:xfrm>
              <a:off x="457198" y="1769409"/>
              <a:ext cx="1965960" cy="1979938"/>
            </a:xfrm>
            <a:prstGeom prst="rect">
              <a:avLst/>
            </a:prstGeom>
            <a:solidFill>
              <a:srgbClr val="22475C"/>
            </a:solidFill>
          </p:spPr>
          <p:txBody>
            <a:bodyPr lIns="182880" tIns="228600" rIns="182880"/>
            <a:lstStyle>
              <a:lvl1pPr marL="342900" indent="-342900" algn="l" defTabSz="457200" rtl="0" eaLnBrk="1" latinLnBrk="0" hangingPunct="1">
                <a:lnSpc>
                  <a:spcPts val="288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tx1"/>
                </a:buClr>
                <a:buFont typeface="Wingdings" charset="2"/>
                <a:buChar char="§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79450" indent="-28575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/>
                <a:buChar char="–"/>
                <a:defRPr sz="20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79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defRPr sz="18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20800" marR="0" indent="-228600" algn="l" defTabSz="4572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SzTx/>
                <a:buFont typeface="Arial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02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tabLst/>
                <a:defRPr sz="14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Clr>
                  <a:srgbClr val="20343A"/>
                </a:buClr>
                <a:buFont typeface="Wingdings" charset="2"/>
                <a:buNone/>
              </a:pPr>
              <a:endParaRPr lang="en-US" sz="2133" dirty="0">
                <a:solidFill>
                  <a:srgbClr val="FFFFFF"/>
                </a:solidFill>
              </a:endParaRPr>
            </a:p>
          </p:txBody>
        </p:sp>
        <p:cxnSp>
          <p:nvCxnSpPr>
            <p:cNvPr id="12" name="Straight Connector 11"/>
            <p:cNvCxnSpPr/>
            <p:nvPr userDrawn="1"/>
          </p:nvCxnSpPr>
          <p:spPr bwMode="gray">
            <a:xfrm>
              <a:off x="456346" y="1780592"/>
              <a:ext cx="1966812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31520" y="1653568"/>
            <a:ext cx="2499253" cy="113979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731520" y="2852022"/>
            <a:ext cx="2499253" cy="78231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867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ompany</a:t>
            </a:r>
          </a:p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 bwMode="gray">
          <a:xfrm>
            <a:off x="8970141" y="1411817"/>
            <a:ext cx="2622416" cy="4243936"/>
            <a:chOff x="456346" y="1769409"/>
            <a:chExt cx="1966812" cy="1979938"/>
          </a:xfrm>
        </p:grpSpPr>
        <p:sp>
          <p:nvSpPr>
            <p:cNvPr id="15" name="Content Placeholder 2"/>
            <p:cNvSpPr txBox="1">
              <a:spLocks/>
            </p:cNvSpPr>
            <p:nvPr userDrawn="1"/>
          </p:nvSpPr>
          <p:spPr bwMode="gray">
            <a:xfrm>
              <a:off x="457198" y="1769409"/>
              <a:ext cx="1965960" cy="1979938"/>
            </a:xfrm>
            <a:prstGeom prst="rect">
              <a:avLst/>
            </a:prstGeom>
            <a:solidFill>
              <a:srgbClr val="22475C"/>
            </a:solidFill>
          </p:spPr>
          <p:txBody>
            <a:bodyPr lIns="182880" tIns="228600" rIns="182880"/>
            <a:lstStyle>
              <a:lvl1pPr marL="342900" indent="-342900" algn="l" defTabSz="457200" rtl="0" eaLnBrk="1" latinLnBrk="0" hangingPunct="1">
                <a:lnSpc>
                  <a:spcPts val="288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tx1"/>
                </a:buClr>
                <a:buFont typeface="Wingdings" charset="2"/>
                <a:buChar char="§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79450" indent="-28575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/>
                <a:buChar char="–"/>
                <a:defRPr sz="20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79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defRPr sz="18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20800" marR="0" indent="-228600" algn="l" defTabSz="4572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SzTx/>
                <a:buFont typeface="Arial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02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tabLst/>
                <a:defRPr sz="14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Clr>
                  <a:srgbClr val="20343A"/>
                </a:buClr>
                <a:buFont typeface="Wingdings" charset="2"/>
                <a:buNone/>
              </a:pPr>
              <a:endParaRPr lang="en-US" sz="2133" dirty="0">
                <a:solidFill>
                  <a:srgbClr val="FFFFFF"/>
                </a:solidFill>
              </a:endParaRPr>
            </a:p>
          </p:txBody>
        </p:sp>
        <p:cxnSp>
          <p:nvCxnSpPr>
            <p:cNvPr id="16" name="Straight Connector 15"/>
            <p:cNvCxnSpPr/>
            <p:nvPr userDrawn="1"/>
          </p:nvCxnSpPr>
          <p:spPr bwMode="gray">
            <a:xfrm>
              <a:off x="456346" y="1780592"/>
              <a:ext cx="1966812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oup 19"/>
          <p:cNvGrpSpPr/>
          <p:nvPr userDrawn="1"/>
        </p:nvGrpSpPr>
        <p:grpSpPr bwMode="gray">
          <a:xfrm>
            <a:off x="3395688" y="1411817"/>
            <a:ext cx="2622416" cy="4243936"/>
            <a:chOff x="456346" y="1769409"/>
            <a:chExt cx="1966812" cy="1979938"/>
          </a:xfrm>
        </p:grpSpPr>
        <p:sp>
          <p:nvSpPr>
            <p:cNvPr id="21" name="Content Placeholder 2"/>
            <p:cNvSpPr txBox="1">
              <a:spLocks/>
            </p:cNvSpPr>
            <p:nvPr userDrawn="1"/>
          </p:nvSpPr>
          <p:spPr bwMode="gray">
            <a:xfrm>
              <a:off x="457198" y="1769409"/>
              <a:ext cx="1965960" cy="1979938"/>
            </a:xfrm>
            <a:prstGeom prst="rect">
              <a:avLst/>
            </a:prstGeom>
            <a:solidFill>
              <a:srgbClr val="22475C"/>
            </a:solidFill>
          </p:spPr>
          <p:txBody>
            <a:bodyPr lIns="182880" tIns="228600" rIns="182880"/>
            <a:lstStyle>
              <a:lvl1pPr marL="342900" indent="-342900" algn="l" defTabSz="457200" rtl="0" eaLnBrk="1" latinLnBrk="0" hangingPunct="1">
                <a:lnSpc>
                  <a:spcPts val="288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tx1"/>
                </a:buClr>
                <a:buFont typeface="Wingdings" charset="2"/>
                <a:buChar char="§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79450" indent="-28575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/>
                <a:buChar char="–"/>
                <a:defRPr sz="20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79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defRPr sz="18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20800" marR="0" indent="-228600" algn="l" defTabSz="4572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SzTx/>
                <a:buFont typeface="Arial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02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tabLst/>
                <a:defRPr sz="14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Clr>
                  <a:srgbClr val="20343A"/>
                </a:buClr>
                <a:buFont typeface="Wingdings" charset="2"/>
                <a:buNone/>
              </a:pPr>
              <a:endParaRPr lang="en-US" sz="2133" dirty="0">
                <a:solidFill>
                  <a:srgbClr val="FFFFFF"/>
                </a:solidFill>
              </a:endParaRPr>
            </a:p>
          </p:txBody>
        </p:sp>
        <p:cxnSp>
          <p:nvCxnSpPr>
            <p:cNvPr id="22" name="Straight Connector 21"/>
            <p:cNvCxnSpPr/>
            <p:nvPr userDrawn="1"/>
          </p:nvCxnSpPr>
          <p:spPr bwMode="gray">
            <a:xfrm>
              <a:off x="456346" y="1780592"/>
              <a:ext cx="1966812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 bwMode="gray">
          <a:xfrm>
            <a:off x="6182915" y="1411817"/>
            <a:ext cx="2622416" cy="4243936"/>
            <a:chOff x="456346" y="1769409"/>
            <a:chExt cx="1966812" cy="1979938"/>
          </a:xfrm>
        </p:grpSpPr>
        <p:sp>
          <p:nvSpPr>
            <p:cNvPr id="26" name="Content Placeholder 2"/>
            <p:cNvSpPr txBox="1">
              <a:spLocks/>
            </p:cNvSpPr>
            <p:nvPr userDrawn="1"/>
          </p:nvSpPr>
          <p:spPr bwMode="gray">
            <a:xfrm>
              <a:off x="457198" y="1769409"/>
              <a:ext cx="1965960" cy="1979938"/>
            </a:xfrm>
            <a:prstGeom prst="rect">
              <a:avLst/>
            </a:prstGeom>
            <a:solidFill>
              <a:srgbClr val="22475C"/>
            </a:solidFill>
          </p:spPr>
          <p:txBody>
            <a:bodyPr lIns="182880" tIns="228600" rIns="182880"/>
            <a:lstStyle>
              <a:lvl1pPr marL="342900" indent="-342900" algn="l" defTabSz="457200" rtl="0" eaLnBrk="1" latinLnBrk="0" hangingPunct="1">
                <a:lnSpc>
                  <a:spcPts val="288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tx1"/>
                </a:buClr>
                <a:buFont typeface="Wingdings" charset="2"/>
                <a:buChar char="§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79450" indent="-28575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/>
                <a:buChar char="–"/>
                <a:defRPr sz="20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79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defRPr sz="18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20800" marR="0" indent="-228600" algn="l" defTabSz="4572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SzTx/>
                <a:buFont typeface="Arial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02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tabLst/>
                <a:defRPr sz="14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Clr>
                  <a:srgbClr val="20343A"/>
                </a:buClr>
                <a:buFont typeface="Wingdings" charset="2"/>
                <a:buNone/>
              </a:pPr>
              <a:endParaRPr lang="en-US" sz="2133" dirty="0">
                <a:solidFill>
                  <a:srgbClr val="FFFFFF"/>
                </a:solidFill>
              </a:endParaRPr>
            </a:p>
          </p:txBody>
        </p:sp>
        <p:cxnSp>
          <p:nvCxnSpPr>
            <p:cNvPr id="27" name="Straight Connector 26"/>
            <p:cNvCxnSpPr/>
            <p:nvPr userDrawn="1"/>
          </p:nvCxnSpPr>
          <p:spPr bwMode="gray">
            <a:xfrm>
              <a:off x="456346" y="1780592"/>
              <a:ext cx="1966812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4575" y="210314"/>
            <a:ext cx="10972800" cy="116681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9093304" y="1653568"/>
            <a:ext cx="2499253" cy="113979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32" name="Text Placehold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093304" y="2852022"/>
            <a:ext cx="2499253" cy="78231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867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ompany</a:t>
            </a:r>
          </a:p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518782" y="1653568"/>
            <a:ext cx="2499253" cy="113979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18851" y="2852022"/>
            <a:ext cx="2499253" cy="78231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867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ompany</a:t>
            </a:r>
          </a:p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37" name="Text Placeholder 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06043" y="1653568"/>
            <a:ext cx="2499253" cy="113979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38" name="Text Placeholder 8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306043" y="2852022"/>
            <a:ext cx="2499253" cy="78231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867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ompany</a:t>
            </a:r>
          </a:p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9138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8077824" y="1746619"/>
            <a:ext cx="3512432" cy="3865104"/>
            <a:chOff x="456346" y="1309964"/>
            <a:chExt cx="2634324" cy="2898828"/>
          </a:xfrm>
        </p:grpSpPr>
        <p:sp>
          <p:nvSpPr>
            <p:cNvPr id="36" name="Content Placeholder 2"/>
            <p:cNvSpPr txBox="1">
              <a:spLocks/>
            </p:cNvSpPr>
            <p:nvPr userDrawn="1"/>
          </p:nvSpPr>
          <p:spPr bwMode="gray">
            <a:xfrm>
              <a:off x="457198" y="1309964"/>
              <a:ext cx="2633472" cy="2898828"/>
            </a:xfrm>
            <a:prstGeom prst="rect">
              <a:avLst/>
            </a:prstGeom>
            <a:solidFill>
              <a:schemeClr val="accent3"/>
            </a:solidFill>
          </p:spPr>
          <p:txBody>
            <a:bodyPr lIns="182880" tIns="228600" rIns="182880"/>
            <a:lstStyle>
              <a:lvl1pPr marL="342900" indent="-342900" algn="l" defTabSz="457200" rtl="0" eaLnBrk="1" latinLnBrk="0" hangingPunct="1">
                <a:lnSpc>
                  <a:spcPts val="288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tx1"/>
                </a:buClr>
                <a:buFont typeface="Wingdings" charset="2"/>
                <a:buChar char="§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79450" indent="-28575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/>
                <a:buChar char="–"/>
                <a:defRPr sz="20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79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defRPr sz="18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20800" marR="0" indent="-228600" algn="l" defTabSz="4572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SzTx/>
                <a:buFont typeface="Arial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02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tabLst/>
                <a:defRPr sz="14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Clr>
                  <a:srgbClr val="20343A"/>
                </a:buClr>
                <a:buFont typeface="Wingdings" charset="2"/>
                <a:buNone/>
              </a:pPr>
              <a:endParaRPr lang="en-US" sz="1867" dirty="0">
                <a:solidFill>
                  <a:srgbClr val="FFFFFF"/>
                </a:solidFill>
              </a:endParaRPr>
            </a:p>
          </p:txBody>
        </p:sp>
        <p:cxnSp>
          <p:nvCxnSpPr>
            <p:cNvPr id="37" name="Straight Connector 36"/>
            <p:cNvCxnSpPr/>
            <p:nvPr userDrawn="1"/>
          </p:nvCxnSpPr>
          <p:spPr bwMode="gray">
            <a:xfrm>
              <a:off x="456346" y="1318795"/>
              <a:ext cx="2633472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8200883" y="1991362"/>
            <a:ext cx="3291840" cy="74167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Enter Text Here</a:t>
            </a:r>
            <a:endParaRPr lang="en-US" dirty="0"/>
          </a:p>
        </p:txBody>
      </p:sp>
      <p:sp>
        <p:nvSpPr>
          <p:cNvPr id="39" name="Text Placeholder 8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200883" y="2702562"/>
            <a:ext cx="3291840" cy="273303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867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Enter Text Here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 bwMode="gray">
          <a:xfrm>
            <a:off x="608461" y="1746619"/>
            <a:ext cx="3512432" cy="3865104"/>
            <a:chOff x="456346" y="1309964"/>
            <a:chExt cx="2634324" cy="2898828"/>
          </a:xfrm>
        </p:grpSpPr>
        <p:sp>
          <p:nvSpPr>
            <p:cNvPr id="30" name="Content Placeholder 2"/>
            <p:cNvSpPr txBox="1">
              <a:spLocks/>
            </p:cNvSpPr>
            <p:nvPr userDrawn="1"/>
          </p:nvSpPr>
          <p:spPr bwMode="gray">
            <a:xfrm>
              <a:off x="457198" y="1309964"/>
              <a:ext cx="2633472" cy="2898828"/>
            </a:xfrm>
            <a:prstGeom prst="rect">
              <a:avLst/>
            </a:prstGeom>
            <a:solidFill>
              <a:schemeClr val="accent3"/>
            </a:solidFill>
          </p:spPr>
          <p:txBody>
            <a:bodyPr lIns="182880" tIns="228600" rIns="182880"/>
            <a:lstStyle>
              <a:lvl1pPr marL="342900" indent="-342900" algn="l" defTabSz="457200" rtl="0" eaLnBrk="1" latinLnBrk="0" hangingPunct="1">
                <a:lnSpc>
                  <a:spcPts val="288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tx1"/>
                </a:buClr>
                <a:buFont typeface="Wingdings" charset="2"/>
                <a:buChar char="§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79450" indent="-28575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/>
                <a:buChar char="–"/>
                <a:defRPr sz="20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79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defRPr sz="18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20800" marR="0" indent="-228600" algn="l" defTabSz="4572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SzTx/>
                <a:buFont typeface="Arial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02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tabLst/>
                <a:defRPr sz="14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Clr>
                  <a:srgbClr val="20343A"/>
                </a:buClr>
                <a:buFont typeface="Wingdings" charset="2"/>
                <a:buNone/>
              </a:pPr>
              <a:endParaRPr lang="en-US" sz="1867" dirty="0">
                <a:solidFill>
                  <a:srgbClr val="FFFFFF"/>
                </a:solidFill>
              </a:endParaRPr>
            </a:p>
          </p:txBody>
        </p:sp>
        <p:cxnSp>
          <p:nvCxnSpPr>
            <p:cNvPr id="31" name="Straight Connector 30"/>
            <p:cNvCxnSpPr/>
            <p:nvPr userDrawn="1"/>
          </p:nvCxnSpPr>
          <p:spPr bwMode="gray">
            <a:xfrm>
              <a:off x="456346" y="1318795"/>
              <a:ext cx="2633472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 Placehold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731520" y="1991362"/>
            <a:ext cx="3291840" cy="74167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Enter Text Here</a:t>
            </a:r>
            <a:endParaRPr lang="en-US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31520" y="2702562"/>
            <a:ext cx="3291840" cy="273303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867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Enter Text Here</a:t>
            </a:r>
            <a:endParaRPr lang="en-US" dirty="0"/>
          </a:p>
        </p:txBody>
      </p:sp>
      <p:grpSp>
        <p:nvGrpSpPr>
          <p:cNvPr id="40" name="Group 39"/>
          <p:cNvGrpSpPr/>
          <p:nvPr userDrawn="1"/>
        </p:nvGrpSpPr>
        <p:grpSpPr bwMode="gray">
          <a:xfrm>
            <a:off x="4342007" y="1746619"/>
            <a:ext cx="3512432" cy="3865104"/>
            <a:chOff x="456346" y="1309964"/>
            <a:chExt cx="2634324" cy="2898828"/>
          </a:xfrm>
        </p:grpSpPr>
        <p:sp>
          <p:nvSpPr>
            <p:cNvPr id="41" name="Content Placeholder 2"/>
            <p:cNvSpPr txBox="1">
              <a:spLocks/>
            </p:cNvSpPr>
            <p:nvPr userDrawn="1"/>
          </p:nvSpPr>
          <p:spPr bwMode="gray">
            <a:xfrm>
              <a:off x="457198" y="1309964"/>
              <a:ext cx="2633472" cy="2898828"/>
            </a:xfrm>
            <a:prstGeom prst="rect">
              <a:avLst/>
            </a:prstGeom>
            <a:solidFill>
              <a:schemeClr val="accent3"/>
            </a:solidFill>
          </p:spPr>
          <p:txBody>
            <a:bodyPr lIns="182880" tIns="228600" rIns="182880"/>
            <a:lstStyle>
              <a:lvl1pPr marL="342900" indent="-342900" algn="l" defTabSz="457200" rtl="0" eaLnBrk="1" latinLnBrk="0" hangingPunct="1">
                <a:lnSpc>
                  <a:spcPts val="288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tx1"/>
                </a:buClr>
                <a:buFont typeface="Wingdings" charset="2"/>
                <a:buChar char="§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79450" indent="-28575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/>
                <a:buChar char="–"/>
                <a:defRPr sz="20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79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defRPr sz="18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20800" marR="0" indent="-228600" algn="l" defTabSz="4572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SzTx/>
                <a:buFont typeface="Arial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02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tabLst/>
                <a:defRPr sz="14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Clr>
                  <a:srgbClr val="20343A"/>
                </a:buClr>
                <a:buFont typeface="Wingdings" charset="2"/>
                <a:buNone/>
              </a:pPr>
              <a:endParaRPr lang="en-US" sz="1867" dirty="0">
                <a:solidFill>
                  <a:srgbClr val="FFFFFF"/>
                </a:solidFill>
              </a:endParaRPr>
            </a:p>
          </p:txBody>
        </p:sp>
        <p:cxnSp>
          <p:nvCxnSpPr>
            <p:cNvPr id="42" name="Straight Connector 41"/>
            <p:cNvCxnSpPr/>
            <p:nvPr userDrawn="1"/>
          </p:nvCxnSpPr>
          <p:spPr bwMode="gray">
            <a:xfrm>
              <a:off x="456346" y="1318795"/>
              <a:ext cx="2633472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" name="Text Placeholder 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65065" y="1991362"/>
            <a:ext cx="3291840" cy="74167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Enter Text Here</a:t>
            </a:r>
            <a:endParaRPr lang="en-US" dirty="0"/>
          </a:p>
        </p:txBody>
      </p:sp>
      <p:sp>
        <p:nvSpPr>
          <p:cNvPr id="44" name="Text Placeholder 8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465065" y="2702562"/>
            <a:ext cx="3291840" cy="273303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867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Enter Text Here</a:t>
            </a:r>
            <a:endParaRPr lang="en-US" dirty="0"/>
          </a:p>
        </p:txBody>
      </p:sp>
      <p:sp>
        <p:nvSpPr>
          <p:cNvPr id="45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6039" y="210314"/>
            <a:ext cx="10972800" cy="60933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6" name="Content Placeholder 5"/>
          <p:cNvSpPr>
            <a:spLocks noGrp="1"/>
          </p:cNvSpPr>
          <p:nvPr>
            <p:ph sz="quarter" idx="11" hasCustomPrompt="1"/>
          </p:nvPr>
        </p:nvSpPr>
        <p:spPr bwMode="gray">
          <a:xfrm>
            <a:off x="519430" y="865881"/>
            <a:ext cx="10966028" cy="338555"/>
          </a:xfrm>
        </p:spPr>
        <p:txBody>
          <a:bodyPr vert="horz" lIns="91440" tIns="0" rIns="91440" bIns="0" rtlCol="0" anchor="t">
            <a:sp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 smtClean="0"/>
              <a:t>Subtitle | 18 </a:t>
            </a:r>
            <a:r>
              <a:rPr lang="en-US" dirty="0" err="1" smtClean="0"/>
              <a:t>Pt</a:t>
            </a:r>
            <a:r>
              <a:rPr lang="en-US" dirty="0" smtClean="0"/>
              <a:t> | Max 2 Lines | Max Character: 100 </a:t>
            </a:r>
          </a:p>
        </p:txBody>
      </p:sp>
    </p:spTree>
    <p:extLst>
      <p:ext uri="{BB962C8B-B14F-4D97-AF65-F5344CB8AC3E}">
        <p14:creationId xmlns:p14="http://schemas.microsoft.com/office/powerpoint/2010/main" val="863090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001" y="1278000"/>
            <a:ext cx="5058750" cy="4929584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795636"/>
            <a:ext cx="5058000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845575" y="1277982"/>
            <a:ext cx="5059925" cy="436017"/>
          </a:xfrm>
        </p:spPr>
        <p:txBody>
          <a:bodyPr>
            <a:noAutofit/>
          </a:bodyPr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95906617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 bwMode="gray">
          <a:xfrm>
            <a:off x="608461" y="1746619"/>
            <a:ext cx="10980659" cy="3865104"/>
            <a:chOff x="456346" y="1309964"/>
            <a:chExt cx="2634324" cy="2898828"/>
          </a:xfrm>
        </p:grpSpPr>
        <p:sp>
          <p:nvSpPr>
            <p:cNvPr id="30" name="Content Placeholder 2"/>
            <p:cNvSpPr txBox="1">
              <a:spLocks/>
            </p:cNvSpPr>
            <p:nvPr userDrawn="1"/>
          </p:nvSpPr>
          <p:spPr bwMode="gray">
            <a:xfrm>
              <a:off x="457198" y="1309964"/>
              <a:ext cx="2633472" cy="2898828"/>
            </a:xfrm>
            <a:prstGeom prst="rect">
              <a:avLst/>
            </a:prstGeom>
            <a:solidFill>
              <a:schemeClr val="accent3"/>
            </a:solidFill>
          </p:spPr>
          <p:txBody>
            <a:bodyPr lIns="182880" tIns="228600" rIns="182880"/>
            <a:lstStyle>
              <a:lvl1pPr marL="342900" indent="-342900" algn="l" defTabSz="457200" rtl="0" eaLnBrk="1" latinLnBrk="0" hangingPunct="1">
                <a:lnSpc>
                  <a:spcPts val="288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tx1"/>
                </a:buClr>
                <a:buFont typeface="Wingdings" charset="2"/>
                <a:buChar char="§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79450" indent="-28575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/>
                <a:buChar char="–"/>
                <a:defRPr sz="20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79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defRPr sz="18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20800" marR="0" indent="-228600" algn="l" defTabSz="4572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SzTx/>
                <a:buFont typeface="Arial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02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tabLst/>
                <a:defRPr sz="14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Clr>
                  <a:srgbClr val="20343A"/>
                </a:buClr>
                <a:buFont typeface="Wingdings" charset="2"/>
                <a:buNone/>
              </a:pPr>
              <a:endParaRPr lang="en-US" sz="1867" dirty="0">
                <a:solidFill>
                  <a:srgbClr val="FFFFFF"/>
                </a:solidFill>
              </a:endParaRPr>
            </a:p>
          </p:txBody>
        </p:sp>
        <p:cxnSp>
          <p:nvCxnSpPr>
            <p:cNvPr id="31" name="Straight Connector 30"/>
            <p:cNvCxnSpPr/>
            <p:nvPr userDrawn="1"/>
          </p:nvCxnSpPr>
          <p:spPr bwMode="gray">
            <a:xfrm>
              <a:off x="456346" y="1318795"/>
              <a:ext cx="2633472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 Placehold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731520" y="1991362"/>
            <a:ext cx="10647681" cy="74167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Enter Text Here</a:t>
            </a:r>
            <a:endParaRPr lang="en-US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31517" y="2702562"/>
            <a:ext cx="10753939" cy="273303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867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Enter Text Here</a:t>
            </a:r>
            <a:endParaRPr lang="en-US" dirty="0"/>
          </a:p>
        </p:txBody>
      </p:sp>
      <p:sp>
        <p:nvSpPr>
          <p:cNvPr id="45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6039" y="210314"/>
            <a:ext cx="10972800" cy="60933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6" name="Content Placeholder 5"/>
          <p:cNvSpPr>
            <a:spLocks noGrp="1"/>
          </p:cNvSpPr>
          <p:nvPr>
            <p:ph sz="quarter" idx="11" hasCustomPrompt="1"/>
          </p:nvPr>
        </p:nvSpPr>
        <p:spPr bwMode="gray">
          <a:xfrm>
            <a:off x="519430" y="865881"/>
            <a:ext cx="10966028" cy="338555"/>
          </a:xfrm>
        </p:spPr>
        <p:txBody>
          <a:bodyPr vert="horz" lIns="91440" tIns="0" rIns="91440" bIns="0" rtlCol="0" anchor="t">
            <a:sp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 smtClean="0"/>
              <a:t>Subtitle | 18 </a:t>
            </a:r>
            <a:r>
              <a:rPr lang="en-US" dirty="0" err="1" smtClean="0"/>
              <a:t>Pt</a:t>
            </a:r>
            <a:r>
              <a:rPr lang="en-US" dirty="0" smtClean="0"/>
              <a:t> | Max 2 Lines | Max Character: 100 </a:t>
            </a:r>
          </a:p>
        </p:txBody>
      </p:sp>
    </p:spTree>
    <p:extLst>
      <p:ext uri="{BB962C8B-B14F-4D97-AF65-F5344CB8AC3E}">
        <p14:creationId xmlns:p14="http://schemas.microsoft.com/office/powerpoint/2010/main" val="649884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4575" y="210314"/>
            <a:ext cx="10972800" cy="116681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  <p:grpSp>
        <p:nvGrpSpPr>
          <p:cNvPr id="20" name="Group 19"/>
          <p:cNvGrpSpPr/>
          <p:nvPr userDrawn="1"/>
        </p:nvGrpSpPr>
        <p:grpSpPr bwMode="gray">
          <a:xfrm>
            <a:off x="3395688" y="2359212"/>
            <a:ext cx="2622416" cy="2639917"/>
            <a:chOff x="456346" y="1769409"/>
            <a:chExt cx="1966812" cy="1979938"/>
          </a:xfrm>
          <a:solidFill>
            <a:schemeClr val="accent1"/>
          </a:solidFill>
        </p:grpSpPr>
        <p:sp>
          <p:nvSpPr>
            <p:cNvPr id="21" name="Content Placeholder 2"/>
            <p:cNvSpPr txBox="1">
              <a:spLocks/>
            </p:cNvSpPr>
            <p:nvPr userDrawn="1"/>
          </p:nvSpPr>
          <p:spPr bwMode="gray">
            <a:xfrm>
              <a:off x="457198" y="1769409"/>
              <a:ext cx="1965960" cy="1979938"/>
            </a:xfrm>
            <a:prstGeom prst="rect">
              <a:avLst/>
            </a:prstGeom>
            <a:grpFill/>
          </p:spPr>
          <p:txBody>
            <a:bodyPr lIns="182880" tIns="228600" rIns="182880"/>
            <a:lstStyle>
              <a:lvl1pPr marL="342900" indent="-342900" algn="l" defTabSz="457200" rtl="0" eaLnBrk="1" latinLnBrk="0" hangingPunct="1">
                <a:lnSpc>
                  <a:spcPts val="288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tx1"/>
                </a:buClr>
                <a:buFont typeface="Wingdings" charset="2"/>
                <a:buChar char="§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79450" indent="-28575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/>
                <a:buChar char="–"/>
                <a:defRPr sz="20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79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defRPr sz="18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20800" marR="0" indent="-228600" algn="l" defTabSz="4572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SzTx/>
                <a:buFont typeface="Arial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02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tabLst/>
                <a:defRPr sz="14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Clr>
                  <a:srgbClr val="20343A"/>
                </a:buClr>
                <a:buFont typeface="Wingdings" charset="2"/>
                <a:buNone/>
              </a:pPr>
              <a:endParaRPr lang="en-US" sz="2133" dirty="0">
                <a:solidFill>
                  <a:srgbClr val="FFFFFF"/>
                </a:solidFill>
              </a:endParaRPr>
            </a:p>
          </p:txBody>
        </p:sp>
        <p:cxnSp>
          <p:nvCxnSpPr>
            <p:cNvPr id="22" name="Straight Connector 21"/>
            <p:cNvCxnSpPr/>
            <p:nvPr userDrawn="1"/>
          </p:nvCxnSpPr>
          <p:spPr bwMode="gray">
            <a:xfrm>
              <a:off x="456346" y="1780592"/>
              <a:ext cx="1966812" cy="0"/>
            </a:xfrm>
            <a:prstGeom prst="line">
              <a:avLst/>
            </a:prstGeom>
            <a:grpFill/>
            <a:ln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518747" y="2600962"/>
            <a:ext cx="2499253" cy="74167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None/>
              <a:defRPr>
                <a:solidFill>
                  <a:schemeClr val="accent3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Demo Name</a:t>
            </a:r>
            <a:endParaRPr lang="en-US" dirty="0"/>
          </a:p>
        </p:txBody>
      </p:sp>
      <p:sp>
        <p:nvSpPr>
          <p:cNvPr id="24" name="Text Placeholder 8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18747" y="3322322"/>
            <a:ext cx="2499253" cy="78231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2133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Name</a:t>
            </a:r>
          </a:p>
          <a:p>
            <a:pPr lvl="0"/>
            <a:r>
              <a:rPr lang="en-US" dirty="0" smtClean="0"/>
              <a:t>Location</a:t>
            </a:r>
            <a:endParaRPr lang="en-US" dirty="0"/>
          </a:p>
        </p:txBody>
      </p:sp>
      <p:grpSp>
        <p:nvGrpSpPr>
          <p:cNvPr id="25" name="Group 24"/>
          <p:cNvGrpSpPr/>
          <p:nvPr userDrawn="1"/>
        </p:nvGrpSpPr>
        <p:grpSpPr bwMode="gray">
          <a:xfrm>
            <a:off x="6182915" y="2359212"/>
            <a:ext cx="2622416" cy="2639917"/>
            <a:chOff x="456346" y="1769409"/>
            <a:chExt cx="1966812" cy="1979938"/>
          </a:xfrm>
          <a:solidFill>
            <a:schemeClr val="accent1"/>
          </a:solidFill>
        </p:grpSpPr>
        <p:sp>
          <p:nvSpPr>
            <p:cNvPr id="26" name="Content Placeholder 2"/>
            <p:cNvSpPr txBox="1">
              <a:spLocks/>
            </p:cNvSpPr>
            <p:nvPr userDrawn="1"/>
          </p:nvSpPr>
          <p:spPr bwMode="gray">
            <a:xfrm>
              <a:off x="457198" y="1769409"/>
              <a:ext cx="1965960" cy="1979938"/>
            </a:xfrm>
            <a:prstGeom prst="rect">
              <a:avLst/>
            </a:prstGeom>
            <a:grpFill/>
          </p:spPr>
          <p:txBody>
            <a:bodyPr lIns="182880" tIns="228600" rIns="182880"/>
            <a:lstStyle>
              <a:lvl1pPr marL="342900" indent="-342900" algn="l" defTabSz="457200" rtl="0" eaLnBrk="1" latinLnBrk="0" hangingPunct="1">
                <a:lnSpc>
                  <a:spcPts val="288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tx1"/>
                </a:buClr>
                <a:buFont typeface="Wingdings" charset="2"/>
                <a:buChar char="§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79450" indent="-28575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/>
                <a:buChar char="–"/>
                <a:defRPr sz="20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79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defRPr sz="18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20800" marR="0" indent="-228600" algn="l" defTabSz="4572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SzTx/>
                <a:buFont typeface="Arial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02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tabLst/>
                <a:defRPr sz="14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Clr>
                  <a:srgbClr val="20343A"/>
                </a:buClr>
                <a:buFont typeface="Wingdings" charset="2"/>
                <a:buNone/>
              </a:pPr>
              <a:endParaRPr lang="en-US" sz="2133" dirty="0">
                <a:solidFill>
                  <a:srgbClr val="FFFFFF"/>
                </a:solidFill>
              </a:endParaRPr>
            </a:p>
          </p:txBody>
        </p:sp>
        <p:cxnSp>
          <p:nvCxnSpPr>
            <p:cNvPr id="27" name="Straight Connector 26"/>
            <p:cNvCxnSpPr/>
            <p:nvPr userDrawn="1"/>
          </p:nvCxnSpPr>
          <p:spPr bwMode="gray">
            <a:xfrm>
              <a:off x="456346" y="1780592"/>
              <a:ext cx="1966812" cy="0"/>
            </a:xfrm>
            <a:prstGeom prst="line">
              <a:avLst/>
            </a:prstGeom>
            <a:grpFill/>
            <a:ln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Text Placeholder 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05973" y="2600962"/>
            <a:ext cx="2499253" cy="74167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None/>
              <a:defRPr>
                <a:solidFill>
                  <a:schemeClr val="accent3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Demo Name</a:t>
            </a:r>
            <a:endParaRPr lang="en-US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305973" y="3322322"/>
            <a:ext cx="2499253" cy="78231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2133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Name</a:t>
            </a:r>
          </a:p>
          <a:p>
            <a:pPr lvl="0"/>
            <a:r>
              <a:rPr lang="en-US" dirty="0" smtClean="0"/>
              <a:t>Loc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5041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Pa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2192000" cy="6858000"/>
          </a:xfrm>
        </p:spPr>
        <p:txBody>
          <a:bodyPr lIns="274320" tIns="365760" rIns="91440" bIns="1280160" anchor="t" anchorCtr="0"/>
          <a:lstStyle>
            <a:lvl1pPr algn="l">
              <a:buNone/>
              <a:defRPr/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7947716" y="2"/>
            <a:ext cx="2889504" cy="4168996"/>
          </a:xfrm>
          <a:solidFill>
            <a:srgbClr val="53BBD4">
              <a:alpha val="95000"/>
            </a:srgbClr>
          </a:solidFill>
        </p:spPr>
        <p:txBody>
          <a:bodyPr vert="horz" lIns="182880" tIns="182880" rIns="91440" bIns="182880" rtlCol="0" anchor="b" anchorCtr="0">
            <a:noAutofit/>
          </a:bodyPr>
          <a:lstStyle>
            <a:lvl1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dirty="0">
                <a:solidFill>
                  <a:schemeClr val="bg1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1152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3111" y="210314"/>
            <a:ext cx="10972800" cy="116681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588037" y="1321935"/>
            <a:ext cx="10973620" cy="609951"/>
          </a:xfrm>
          <a:prstGeom prst="rect">
            <a:avLst/>
          </a:prstGeom>
          <a:solidFill>
            <a:schemeClr val="tx2"/>
          </a:solidFill>
        </p:spPr>
        <p:txBody>
          <a:bodyPr lIns="914400" bIns="137160" anchor="ctr" anchorCtr="0"/>
          <a:lstStyle>
            <a:lvl1pPr marL="0" indent="0" algn="l">
              <a:lnSpc>
                <a:spcPts val="3840"/>
              </a:lnSpc>
              <a:buNone/>
              <a:defRPr sz="2133" b="1" cap="all">
                <a:solidFill>
                  <a:schemeClr val="bg1"/>
                </a:solidFill>
              </a:defRPr>
            </a:lvl1pPr>
            <a:lvl2pPr>
              <a:defRPr sz="2667" b="0">
                <a:solidFill>
                  <a:schemeClr val="tx1"/>
                </a:solidFill>
              </a:defRPr>
            </a:lvl2pPr>
            <a:lvl3pPr>
              <a:defRPr sz="2400" b="0">
                <a:solidFill>
                  <a:schemeClr val="tx1"/>
                </a:solidFill>
              </a:defRPr>
            </a:lvl3pPr>
            <a:lvl4pPr>
              <a:defRPr sz="2133" b="0">
                <a:solidFill>
                  <a:schemeClr val="tx1"/>
                </a:solidFill>
              </a:defRPr>
            </a:lvl4pPr>
            <a:lvl5pPr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 smtClean="0"/>
              <a:t>CLICK TO EDIT MASTER TEXT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588037" y="2103354"/>
            <a:ext cx="10973620" cy="609951"/>
          </a:xfrm>
          <a:prstGeom prst="rect">
            <a:avLst/>
          </a:prstGeom>
          <a:solidFill>
            <a:schemeClr val="tx2"/>
          </a:solidFill>
        </p:spPr>
        <p:txBody>
          <a:bodyPr lIns="914400" bIns="137160" anchor="ctr" anchorCtr="0"/>
          <a:lstStyle>
            <a:lvl1pPr marL="0" indent="0" algn="l">
              <a:lnSpc>
                <a:spcPts val="3840"/>
              </a:lnSpc>
              <a:buNone/>
              <a:defRPr sz="2133" b="1" cap="all">
                <a:solidFill>
                  <a:schemeClr val="bg1"/>
                </a:solidFill>
              </a:defRPr>
            </a:lvl1pPr>
            <a:lvl2pPr>
              <a:defRPr sz="2667" b="0">
                <a:solidFill>
                  <a:schemeClr val="tx1"/>
                </a:solidFill>
              </a:defRPr>
            </a:lvl2pPr>
            <a:lvl3pPr>
              <a:defRPr sz="2400" b="0">
                <a:solidFill>
                  <a:schemeClr val="tx1"/>
                </a:solidFill>
              </a:defRPr>
            </a:lvl3pPr>
            <a:lvl4pPr>
              <a:defRPr sz="2133" b="0">
                <a:solidFill>
                  <a:schemeClr val="tx1"/>
                </a:solidFill>
              </a:defRPr>
            </a:lvl4pPr>
            <a:lvl5pPr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 smtClean="0"/>
              <a:t>CLICK TO EDIT MASTER TEXT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2" hasCustomPrompt="1"/>
          </p:nvPr>
        </p:nvSpPr>
        <p:spPr bwMode="gray">
          <a:xfrm>
            <a:off x="588037" y="5229030"/>
            <a:ext cx="10973620" cy="609951"/>
          </a:xfrm>
          <a:prstGeom prst="rect">
            <a:avLst/>
          </a:prstGeom>
          <a:solidFill>
            <a:schemeClr val="tx2"/>
          </a:solidFill>
        </p:spPr>
        <p:txBody>
          <a:bodyPr lIns="914400" bIns="137160" anchor="ctr" anchorCtr="0"/>
          <a:lstStyle>
            <a:lvl1pPr marL="0" indent="0" algn="l">
              <a:lnSpc>
                <a:spcPts val="3840"/>
              </a:lnSpc>
              <a:buNone/>
              <a:defRPr sz="2133" b="1" cap="all">
                <a:solidFill>
                  <a:schemeClr val="bg1"/>
                </a:solidFill>
              </a:defRPr>
            </a:lvl1pPr>
            <a:lvl2pPr>
              <a:defRPr sz="2667" b="0">
                <a:solidFill>
                  <a:schemeClr val="tx1"/>
                </a:solidFill>
              </a:defRPr>
            </a:lvl2pPr>
            <a:lvl3pPr>
              <a:defRPr sz="2400" b="0">
                <a:solidFill>
                  <a:schemeClr val="tx1"/>
                </a:solidFill>
              </a:defRPr>
            </a:lvl3pPr>
            <a:lvl4pPr>
              <a:defRPr sz="2133" b="0">
                <a:solidFill>
                  <a:schemeClr val="tx1"/>
                </a:solidFill>
              </a:defRPr>
            </a:lvl4pPr>
            <a:lvl5pPr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 smtClean="0"/>
              <a:t>CLICK TO EDIT MASTER TEXT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3" hasCustomPrompt="1"/>
          </p:nvPr>
        </p:nvSpPr>
        <p:spPr bwMode="gray">
          <a:xfrm>
            <a:off x="588037" y="2884773"/>
            <a:ext cx="10973620" cy="609951"/>
          </a:xfrm>
          <a:prstGeom prst="rect">
            <a:avLst/>
          </a:prstGeom>
          <a:solidFill>
            <a:schemeClr val="tx2"/>
          </a:solidFill>
        </p:spPr>
        <p:txBody>
          <a:bodyPr lIns="914400" bIns="137160" anchor="ctr" anchorCtr="0"/>
          <a:lstStyle>
            <a:lvl1pPr marL="0" indent="0" algn="l">
              <a:lnSpc>
                <a:spcPts val="3840"/>
              </a:lnSpc>
              <a:buNone/>
              <a:defRPr sz="2133" b="1" cap="all">
                <a:solidFill>
                  <a:schemeClr val="bg1"/>
                </a:solidFill>
              </a:defRPr>
            </a:lvl1pPr>
            <a:lvl2pPr>
              <a:defRPr sz="2667" b="0">
                <a:solidFill>
                  <a:schemeClr val="tx1"/>
                </a:solidFill>
              </a:defRPr>
            </a:lvl2pPr>
            <a:lvl3pPr>
              <a:defRPr sz="2400" b="0">
                <a:solidFill>
                  <a:schemeClr val="tx1"/>
                </a:solidFill>
              </a:defRPr>
            </a:lvl3pPr>
            <a:lvl4pPr>
              <a:defRPr sz="2133" b="0">
                <a:solidFill>
                  <a:schemeClr val="tx1"/>
                </a:solidFill>
              </a:defRPr>
            </a:lvl4pPr>
            <a:lvl5pPr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 smtClean="0"/>
              <a:t>CLICK TO EDIT MASTER 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4" hasCustomPrompt="1"/>
          </p:nvPr>
        </p:nvSpPr>
        <p:spPr bwMode="gray">
          <a:xfrm>
            <a:off x="588037" y="3666191"/>
            <a:ext cx="10973620" cy="609951"/>
          </a:xfrm>
          <a:prstGeom prst="rect">
            <a:avLst/>
          </a:prstGeom>
          <a:solidFill>
            <a:schemeClr val="tx2"/>
          </a:solidFill>
        </p:spPr>
        <p:txBody>
          <a:bodyPr lIns="914400" bIns="137160" anchor="ctr" anchorCtr="0"/>
          <a:lstStyle>
            <a:lvl1pPr marL="0" indent="0" algn="l">
              <a:lnSpc>
                <a:spcPts val="3840"/>
              </a:lnSpc>
              <a:buNone/>
              <a:defRPr sz="2133" b="1" cap="all">
                <a:solidFill>
                  <a:schemeClr val="bg1"/>
                </a:solidFill>
              </a:defRPr>
            </a:lvl1pPr>
            <a:lvl2pPr>
              <a:defRPr sz="2667" b="0">
                <a:solidFill>
                  <a:schemeClr val="tx1"/>
                </a:solidFill>
              </a:defRPr>
            </a:lvl2pPr>
            <a:lvl3pPr>
              <a:defRPr sz="2400" b="0">
                <a:solidFill>
                  <a:schemeClr val="tx1"/>
                </a:solidFill>
              </a:defRPr>
            </a:lvl3pPr>
            <a:lvl4pPr>
              <a:defRPr sz="2133" b="0">
                <a:solidFill>
                  <a:schemeClr val="tx1"/>
                </a:solidFill>
              </a:defRPr>
            </a:lvl4pPr>
            <a:lvl5pPr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 smtClean="0"/>
              <a:t>CLICK TO EDIT MASTER TEXT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 hasCustomPrompt="1"/>
          </p:nvPr>
        </p:nvSpPr>
        <p:spPr bwMode="gray">
          <a:xfrm>
            <a:off x="588037" y="4447611"/>
            <a:ext cx="10973620" cy="609951"/>
          </a:xfrm>
          <a:prstGeom prst="rect">
            <a:avLst/>
          </a:prstGeom>
          <a:solidFill>
            <a:schemeClr val="tx2"/>
          </a:solidFill>
        </p:spPr>
        <p:txBody>
          <a:bodyPr lIns="914400" bIns="137160" anchor="ctr" anchorCtr="0"/>
          <a:lstStyle>
            <a:lvl1pPr marL="0" indent="0" algn="l">
              <a:lnSpc>
                <a:spcPts val="3840"/>
              </a:lnSpc>
              <a:buNone/>
              <a:defRPr sz="2133" b="1" cap="all">
                <a:solidFill>
                  <a:schemeClr val="bg1"/>
                </a:solidFill>
              </a:defRPr>
            </a:lvl1pPr>
            <a:lvl2pPr>
              <a:defRPr sz="2667" b="0">
                <a:solidFill>
                  <a:schemeClr val="tx1"/>
                </a:solidFill>
              </a:defRPr>
            </a:lvl2pPr>
            <a:lvl3pPr>
              <a:defRPr sz="2400" b="0">
                <a:solidFill>
                  <a:schemeClr val="tx1"/>
                </a:solidFill>
              </a:defRPr>
            </a:lvl3pPr>
            <a:lvl4pPr>
              <a:defRPr sz="2133" b="0">
                <a:solidFill>
                  <a:schemeClr val="tx1"/>
                </a:solidFill>
              </a:defRPr>
            </a:lvl4pPr>
            <a:lvl5pPr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 smtClean="0"/>
              <a:t>CLICK TO EDIT MASTER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025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4575" y="210314"/>
            <a:ext cx="10972800" cy="116681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05936" y="1395004"/>
            <a:ext cx="5384800" cy="4513783"/>
          </a:xfrm>
          <a:prstGeom prst="rect">
            <a:avLst/>
          </a:prstGeom>
        </p:spPr>
        <p:txBody>
          <a:bodyPr/>
          <a:lstStyle>
            <a:lvl1pPr>
              <a:lnSpc>
                <a:spcPts val="3840"/>
              </a:lnSpc>
              <a:defRPr sz="3200" b="0">
                <a:solidFill>
                  <a:schemeClr val="tx1"/>
                </a:solidFill>
              </a:defRPr>
            </a:lvl1pPr>
            <a:lvl2pPr>
              <a:defRPr sz="2667" b="0">
                <a:solidFill>
                  <a:schemeClr val="tx1"/>
                </a:solidFill>
              </a:defRPr>
            </a:lvl2pPr>
            <a:lvl3pPr>
              <a:defRPr sz="2400" b="0">
                <a:solidFill>
                  <a:schemeClr val="tx1"/>
                </a:solidFill>
              </a:defRPr>
            </a:lvl3pPr>
            <a:lvl4pPr>
              <a:defRPr sz="2133" b="0">
                <a:solidFill>
                  <a:schemeClr val="tx1"/>
                </a:solidFill>
              </a:defRPr>
            </a:lvl4pPr>
            <a:lvl5pPr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197600" y="1395004"/>
            <a:ext cx="5384800" cy="4513783"/>
          </a:xfrm>
          <a:prstGeom prst="rect">
            <a:avLst/>
          </a:prstGeom>
        </p:spPr>
        <p:txBody>
          <a:bodyPr/>
          <a:lstStyle>
            <a:lvl1pPr>
              <a:defRPr sz="3200" b="0">
                <a:solidFill>
                  <a:schemeClr val="tx1"/>
                </a:solidFill>
              </a:defRPr>
            </a:lvl1pPr>
            <a:lvl2pPr>
              <a:defRPr sz="2667" b="0">
                <a:solidFill>
                  <a:schemeClr val="tx1"/>
                </a:solidFill>
              </a:defRPr>
            </a:lvl2pPr>
            <a:lvl3pPr>
              <a:defRPr sz="2400" b="0">
                <a:solidFill>
                  <a:schemeClr val="tx1"/>
                </a:solidFill>
              </a:defRPr>
            </a:lvl3pPr>
            <a:lvl4pPr>
              <a:defRPr sz="2133" b="0">
                <a:solidFill>
                  <a:schemeClr val="tx1"/>
                </a:solidFill>
              </a:defRPr>
            </a:lvl4pPr>
            <a:lvl5pPr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8231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6039" y="210314"/>
            <a:ext cx="10972800" cy="60933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12" name="Content Placeholder 5"/>
          <p:cNvSpPr>
            <a:spLocks noGrp="1"/>
          </p:cNvSpPr>
          <p:nvPr>
            <p:ph sz="quarter" idx="11" hasCustomPrompt="1"/>
          </p:nvPr>
        </p:nvSpPr>
        <p:spPr bwMode="gray">
          <a:xfrm>
            <a:off x="519430" y="865881"/>
            <a:ext cx="10966028" cy="338555"/>
          </a:xfrm>
        </p:spPr>
        <p:txBody>
          <a:bodyPr vert="horz" lIns="91440" tIns="0" rIns="91440" bIns="0" rtlCol="0" anchor="t">
            <a:sp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 smtClean="0"/>
              <a:t>Subtitle | 18 </a:t>
            </a:r>
            <a:r>
              <a:rPr lang="en-US" dirty="0" err="1" smtClean="0"/>
              <a:t>Pt</a:t>
            </a:r>
            <a:r>
              <a:rPr lang="en-US" dirty="0" smtClean="0"/>
              <a:t> | Max 2 Lines | Max Character: 100 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609600" y="1395004"/>
            <a:ext cx="5384800" cy="4513783"/>
          </a:xfrm>
          <a:prstGeom prst="rect">
            <a:avLst/>
          </a:prstGeom>
        </p:spPr>
        <p:txBody>
          <a:bodyPr/>
          <a:lstStyle>
            <a:lvl1pPr>
              <a:lnSpc>
                <a:spcPts val="3840"/>
              </a:lnSpc>
              <a:defRPr sz="3200" b="0">
                <a:solidFill>
                  <a:schemeClr val="tx1"/>
                </a:solidFill>
              </a:defRPr>
            </a:lvl1pPr>
            <a:lvl2pPr>
              <a:defRPr sz="2667" b="0">
                <a:solidFill>
                  <a:schemeClr val="tx1"/>
                </a:solidFill>
              </a:defRPr>
            </a:lvl2pPr>
            <a:lvl3pPr>
              <a:defRPr sz="2400" b="0">
                <a:solidFill>
                  <a:schemeClr val="tx1"/>
                </a:solidFill>
              </a:defRPr>
            </a:lvl3pPr>
            <a:lvl4pPr>
              <a:defRPr sz="2133" b="0">
                <a:solidFill>
                  <a:schemeClr val="tx1"/>
                </a:solidFill>
              </a:defRPr>
            </a:lvl4pPr>
            <a:lvl5pPr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197600" y="1395004"/>
            <a:ext cx="5384800" cy="4513783"/>
          </a:xfrm>
          <a:prstGeom prst="rect">
            <a:avLst/>
          </a:prstGeom>
        </p:spPr>
        <p:txBody>
          <a:bodyPr/>
          <a:lstStyle>
            <a:lvl1pPr>
              <a:defRPr sz="3200" b="0">
                <a:solidFill>
                  <a:schemeClr val="tx1"/>
                </a:solidFill>
              </a:defRPr>
            </a:lvl1pPr>
            <a:lvl2pPr>
              <a:defRPr sz="2667" b="0">
                <a:solidFill>
                  <a:schemeClr val="tx1"/>
                </a:solidFill>
              </a:defRPr>
            </a:lvl2pPr>
            <a:lvl3pPr>
              <a:defRPr sz="2400" b="0">
                <a:solidFill>
                  <a:schemeClr val="tx1"/>
                </a:solidFill>
              </a:defRPr>
            </a:lvl3pPr>
            <a:lvl4pPr>
              <a:defRPr sz="2133" b="0">
                <a:solidFill>
                  <a:schemeClr val="tx1"/>
                </a:solidFill>
              </a:defRPr>
            </a:lvl4pPr>
            <a:lvl5pPr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4943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4575" y="210314"/>
            <a:ext cx="10972800" cy="116681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3616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6039" y="210314"/>
            <a:ext cx="10972800" cy="60933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5" name="Content Placeholder 5"/>
          <p:cNvSpPr>
            <a:spLocks noGrp="1"/>
          </p:cNvSpPr>
          <p:nvPr>
            <p:ph sz="quarter" idx="11" hasCustomPrompt="1"/>
          </p:nvPr>
        </p:nvSpPr>
        <p:spPr bwMode="gray">
          <a:xfrm>
            <a:off x="519430" y="865881"/>
            <a:ext cx="10966028" cy="338555"/>
          </a:xfrm>
        </p:spPr>
        <p:txBody>
          <a:bodyPr vert="horz" lIns="91440" tIns="0" rIns="91440" bIns="0" rtlCol="0" anchor="t">
            <a:sp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 smtClean="0"/>
              <a:t>Subtitle | 18 </a:t>
            </a:r>
            <a:r>
              <a:rPr lang="en-US" dirty="0" err="1" smtClean="0"/>
              <a:t>Pt</a:t>
            </a:r>
            <a:r>
              <a:rPr lang="en-US" dirty="0" smtClean="0"/>
              <a:t> | Max 2 Lines | Max Character: 100 </a:t>
            </a:r>
          </a:p>
        </p:txBody>
      </p:sp>
    </p:spTree>
    <p:extLst>
      <p:ext uri="{BB962C8B-B14F-4D97-AF65-F5344CB8AC3E}">
        <p14:creationId xmlns:p14="http://schemas.microsoft.com/office/powerpoint/2010/main" val="653440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id:image001.png@01D07830.ED14C8B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51" y="6351"/>
            <a:ext cx="209550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70604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10314"/>
            <a:ext cx="10972800" cy="116681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  <p:sp>
        <p:nvSpPr>
          <p:cNvPr id="3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12820" y="5924673"/>
            <a:ext cx="10966360" cy="236539"/>
          </a:xfrm>
        </p:spPr>
        <p:txBody>
          <a:bodyPr tIns="45720" bIns="4572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333">
                <a:solidFill>
                  <a:schemeClr val="tx2"/>
                </a:solidFill>
              </a:defRPr>
            </a:lvl1pPr>
            <a:lvl2pPr marL="524920" indent="0">
              <a:buNone/>
              <a:defRPr sz="1467"/>
            </a:lvl2pPr>
            <a:lvl3pPr marL="999042" indent="0">
              <a:buNone/>
              <a:defRPr sz="1467"/>
            </a:lvl3pPr>
            <a:lvl4pPr marL="1456230" indent="0">
              <a:buNone/>
              <a:defRPr sz="1467"/>
            </a:lvl4pPr>
            <a:lvl5pPr marL="1828754" indent="0">
              <a:buNone/>
              <a:defRPr sz="1467"/>
            </a:lvl5pPr>
          </a:lstStyle>
          <a:p>
            <a:pPr lvl="0"/>
            <a:r>
              <a:rPr lang="en-US" dirty="0" smtClean="0"/>
              <a:t>Click to add a Source or Note</a:t>
            </a:r>
          </a:p>
        </p:txBody>
      </p:sp>
    </p:spTree>
    <p:extLst>
      <p:ext uri="{BB962C8B-B14F-4D97-AF65-F5344CB8AC3E}">
        <p14:creationId xmlns:p14="http://schemas.microsoft.com/office/powerpoint/2010/main" val="1940621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001" y="1795636"/>
            <a:ext cx="5058750" cy="4403948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278000"/>
            <a:ext cx="5058000" cy="49295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274826" y="1277982"/>
            <a:ext cx="5059925" cy="436017"/>
          </a:xfrm>
        </p:spPr>
        <p:txBody>
          <a:bodyPr>
            <a:noAutofit/>
          </a:bodyPr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88639425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lide0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6509" y="1164005"/>
            <a:ext cx="10972800" cy="757130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3639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814"/>
            <a:ext cx="3860800" cy="36372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65">
                <a:solidFill>
                  <a:srgbClr val="7F7F7F"/>
                </a:solidFill>
              </a:defRPr>
            </a:lvl1pPr>
          </a:lstStyle>
          <a:p>
            <a:r>
              <a:rPr lang="en-US" dirty="0" smtClean="0"/>
              <a:t>© 2016 CA. All RIGHTS RESERVED.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03253" y="6356814"/>
            <a:ext cx="398927" cy="36372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5">
                <a:solidFill>
                  <a:srgbClr val="7F7F7F"/>
                </a:solidFill>
              </a:defRPr>
            </a:lvl1pPr>
          </a:lstStyle>
          <a:p>
            <a:fld id="{B253FF73-56A9-104A-8EEB-34ED56CC4EE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16039" y="774430"/>
            <a:ext cx="8032749" cy="1072157"/>
          </a:xfrm>
          <a:prstGeom prst="rect">
            <a:avLst/>
          </a:prstGeom>
        </p:spPr>
        <p:txBody>
          <a:bodyPr/>
          <a:lstStyle>
            <a:lvl1pPr algn="l">
              <a:defRPr sz="3863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ontent Area | 29pt Bol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07572" y="3157965"/>
            <a:ext cx="10989733" cy="2446719"/>
          </a:xfrm>
          <a:prstGeom prst="rect">
            <a:avLst/>
          </a:prstGeom>
        </p:spPr>
        <p:txBody>
          <a:bodyPr/>
          <a:lstStyle>
            <a:lvl1pPr>
              <a:defRPr b="0" i="0" baseline="0"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820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4575" y="210314"/>
            <a:ext cx="10972800" cy="116681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00919" y="1395004"/>
            <a:ext cx="10966643" cy="4513783"/>
          </a:xfrm>
          <a:prstGeom prst="rect">
            <a:avLst/>
          </a:prstGeom>
        </p:spPr>
        <p:txBody>
          <a:bodyPr/>
          <a:lstStyle>
            <a:lvl1pPr>
              <a:lnSpc>
                <a:spcPts val="3840"/>
              </a:lnSpc>
              <a:defRPr sz="3200" b="0">
                <a:solidFill>
                  <a:schemeClr val="tx1"/>
                </a:solidFill>
              </a:defRPr>
            </a:lvl1pPr>
            <a:lvl2pPr>
              <a:defRPr sz="2667" b="0">
                <a:solidFill>
                  <a:schemeClr val="tx1"/>
                </a:solidFill>
              </a:defRPr>
            </a:lvl2pPr>
            <a:lvl3pPr>
              <a:defRPr sz="2400" b="0">
                <a:solidFill>
                  <a:schemeClr val="tx1"/>
                </a:solidFill>
              </a:defRPr>
            </a:lvl3pPr>
            <a:lvl4pPr>
              <a:defRPr sz="2133" b="0">
                <a:solidFill>
                  <a:schemeClr val="tx1"/>
                </a:solidFill>
              </a:defRPr>
            </a:lvl4pPr>
            <a:lvl5pPr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9130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6039" y="210314"/>
            <a:ext cx="10972800" cy="60933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00376" y="1395004"/>
            <a:ext cx="10966643" cy="4513783"/>
          </a:xfrm>
          <a:prstGeom prst="rect">
            <a:avLst/>
          </a:prstGeom>
        </p:spPr>
        <p:txBody>
          <a:bodyPr/>
          <a:lstStyle>
            <a:lvl1pPr>
              <a:lnSpc>
                <a:spcPts val="3840"/>
              </a:lnSpc>
              <a:defRPr sz="3200" b="0">
                <a:solidFill>
                  <a:schemeClr val="tx1"/>
                </a:solidFill>
              </a:defRPr>
            </a:lvl1pPr>
            <a:lvl2pPr>
              <a:defRPr sz="2667" b="0">
                <a:solidFill>
                  <a:schemeClr val="tx1"/>
                </a:solidFill>
              </a:defRPr>
            </a:lvl2pPr>
            <a:lvl3pPr>
              <a:defRPr sz="2400" b="0">
                <a:solidFill>
                  <a:schemeClr val="tx1"/>
                </a:solidFill>
              </a:defRPr>
            </a:lvl3pPr>
            <a:lvl4pPr>
              <a:defRPr sz="2133" b="0">
                <a:solidFill>
                  <a:schemeClr val="tx1"/>
                </a:solidFill>
              </a:defRPr>
            </a:lvl4pPr>
            <a:lvl5pPr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5"/>
          <p:cNvSpPr>
            <a:spLocks noGrp="1"/>
          </p:cNvSpPr>
          <p:nvPr>
            <p:ph sz="quarter" idx="11" hasCustomPrompt="1"/>
          </p:nvPr>
        </p:nvSpPr>
        <p:spPr bwMode="gray">
          <a:xfrm>
            <a:off x="519430" y="865881"/>
            <a:ext cx="10966028" cy="338555"/>
          </a:xfrm>
        </p:spPr>
        <p:txBody>
          <a:bodyPr vert="horz" lIns="91440" tIns="0" rIns="91440" bIns="0" rtlCol="0" anchor="t">
            <a:sp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 smtClean="0"/>
              <a:t>Subtitle | 18 </a:t>
            </a:r>
            <a:r>
              <a:rPr lang="en-US" dirty="0" err="1" smtClean="0"/>
              <a:t>Pt</a:t>
            </a:r>
            <a:r>
              <a:rPr lang="en-US" dirty="0" smtClean="0"/>
              <a:t> | Max 2 Lines | Max Character: 100 </a:t>
            </a:r>
          </a:p>
        </p:txBody>
      </p:sp>
    </p:spTree>
    <p:extLst>
      <p:ext uri="{BB962C8B-B14F-4D97-AF65-F5344CB8AC3E}">
        <p14:creationId xmlns:p14="http://schemas.microsoft.com/office/powerpoint/2010/main" val="1122774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4575" y="210314"/>
            <a:ext cx="10972800" cy="116681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612679" y="2193097"/>
            <a:ext cx="10966643" cy="3730399"/>
          </a:xfrm>
          <a:prstGeom prst="rect">
            <a:avLst/>
          </a:prstGeom>
        </p:spPr>
        <p:txBody>
          <a:bodyPr/>
          <a:lstStyle>
            <a:lvl1pPr>
              <a:lnSpc>
                <a:spcPts val="3840"/>
              </a:lnSpc>
              <a:defRPr sz="3200" b="0">
                <a:solidFill>
                  <a:schemeClr val="tx1"/>
                </a:solidFill>
              </a:defRPr>
            </a:lvl1pPr>
            <a:lvl2pPr>
              <a:defRPr sz="2667" b="0">
                <a:solidFill>
                  <a:schemeClr val="tx1"/>
                </a:solidFill>
              </a:defRPr>
            </a:lvl2pPr>
            <a:lvl3pPr>
              <a:defRPr sz="2400" b="0">
                <a:solidFill>
                  <a:schemeClr val="tx1"/>
                </a:solidFill>
              </a:defRPr>
            </a:lvl3pPr>
            <a:lvl4pPr>
              <a:defRPr sz="2133" b="0">
                <a:solidFill>
                  <a:schemeClr val="tx1"/>
                </a:solidFill>
              </a:defRPr>
            </a:lvl4pPr>
            <a:lvl5pPr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09600" y="1611751"/>
            <a:ext cx="10972800" cy="423283"/>
          </a:xfrm>
          <a:solidFill>
            <a:schemeClr val="accent3"/>
          </a:solidFill>
        </p:spPr>
        <p:txBody>
          <a:bodyPr tIns="91440" bIns="9144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HIGHLIGHTED TEXT IF NEEDED – UPPERCASE</a:t>
            </a:r>
          </a:p>
        </p:txBody>
      </p:sp>
    </p:spTree>
    <p:extLst>
      <p:ext uri="{BB962C8B-B14F-4D97-AF65-F5344CB8AC3E}">
        <p14:creationId xmlns:p14="http://schemas.microsoft.com/office/powerpoint/2010/main" val="1007547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6039" y="210314"/>
            <a:ext cx="10972800" cy="60933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612679" y="2193097"/>
            <a:ext cx="10966643" cy="3730399"/>
          </a:xfrm>
          <a:prstGeom prst="rect">
            <a:avLst/>
          </a:prstGeom>
        </p:spPr>
        <p:txBody>
          <a:bodyPr/>
          <a:lstStyle>
            <a:lvl1pPr>
              <a:lnSpc>
                <a:spcPts val="3840"/>
              </a:lnSpc>
              <a:defRPr sz="3200" b="0">
                <a:solidFill>
                  <a:schemeClr val="tx1"/>
                </a:solidFill>
              </a:defRPr>
            </a:lvl1pPr>
            <a:lvl2pPr>
              <a:defRPr sz="2667" b="0">
                <a:solidFill>
                  <a:schemeClr val="tx1"/>
                </a:solidFill>
              </a:defRPr>
            </a:lvl2pPr>
            <a:lvl3pPr>
              <a:defRPr sz="2400" b="0">
                <a:solidFill>
                  <a:schemeClr val="tx1"/>
                </a:solidFill>
              </a:defRPr>
            </a:lvl3pPr>
            <a:lvl4pPr>
              <a:defRPr sz="2133" b="0">
                <a:solidFill>
                  <a:schemeClr val="tx1"/>
                </a:solidFill>
              </a:defRPr>
            </a:lvl4pPr>
            <a:lvl5pPr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5"/>
          <p:cNvSpPr>
            <a:spLocks noGrp="1"/>
          </p:cNvSpPr>
          <p:nvPr>
            <p:ph sz="quarter" idx="11" hasCustomPrompt="1"/>
          </p:nvPr>
        </p:nvSpPr>
        <p:spPr bwMode="gray">
          <a:xfrm>
            <a:off x="519430" y="865881"/>
            <a:ext cx="10966028" cy="338555"/>
          </a:xfrm>
        </p:spPr>
        <p:txBody>
          <a:bodyPr vert="horz" lIns="91440" tIns="0" rIns="91440" bIns="0" rtlCol="0" anchor="t">
            <a:sp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 smtClean="0"/>
              <a:t>Subtitle | 18 </a:t>
            </a:r>
            <a:r>
              <a:rPr lang="en-US" dirty="0" err="1" smtClean="0"/>
              <a:t>Pt</a:t>
            </a:r>
            <a:r>
              <a:rPr lang="en-US" dirty="0" smtClean="0"/>
              <a:t> | Max 2 Lines | Max Character: 100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09600" y="1611751"/>
            <a:ext cx="10972800" cy="423283"/>
          </a:xfrm>
          <a:solidFill>
            <a:schemeClr val="accent3"/>
          </a:solidFill>
        </p:spPr>
        <p:txBody>
          <a:bodyPr tIns="91440" bIns="9144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HIGHLIGHTED TEXT IF NEEDED – UPPERCASE</a:t>
            </a:r>
          </a:p>
        </p:txBody>
      </p:sp>
    </p:spTree>
    <p:extLst>
      <p:ext uri="{BB962C8B-B14F-4D97-AF65-F5344CB8AC3E}">
        <p14:creationId xmlns:p14="http://schemas.microsoft.com/office/powerpoint/2010/main" val="4097179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4575" y="210314"/>
            <a:ext cx="10972800" cy="116681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3412931" y="1645921"/>
            <a:ext cx="8221301" cy="386486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840"/>
              </a:lnSpc>
              <a:buNone/>
              <a:defRPr sz="3200" b="0">
                <a:solidFill>
                  <a:schemeClr val="tx1"/>
                </a:solidFill>
              </a:defRPr>
            </a:lvl1pPr>
            <a:lvl2pPr>
              <a:defRPr sz="2667" b="0">
                <a:solidFill>
                  <a:schemeClr val="tx1"/>
                </a:solidFill>
              </a:defRPr>
            </a:lvl2pPr>
            <a:lvl3pPr>
              <a:defRPr sz="2400" b="0">
                <a:solidFill>
                  <a:schemeClr val="tx1"/>
                </a:solidFill>
              </a:defRPr>
            </a:lvl3pPr>
            <a:lvl4pPr>
              <a:defRPr sz="2133" b="0">
                <a:solidFill>
                  <a:schemeClr val="tx1"/>
                </a:solidFill>
              </a:defRPr>
            </a:lvl4pPr>
            <a:lvl5pPr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2"/>
          <p:cNvSpPr txBox="1">
            <a:spLocks/>
          </p:cNvSpPr>
          <p:nvPr userDrawn="1"/>
        </p:nvSpPr>
        <p:spPr bwMode="gray">
          <a:xfrm>
            <a:off x="660293" y="1400275"/>
            <a:ext cx="2621280" cy="4256732"/>
          </a:xfrm>
          <a:prstGeom prst="rect">
            <a:avLst/>
          </a:prstGeom>
          <a:solidFill>
            <a:srgbClr val="22475C"/>
          </a:solidFill>
        </p:spPr>
        <p:txBody>
          <a:bodyPr lIns="243840" tIns="304800" rIns="243840"/>
          <a:lstStyle>
            <a:lvl1pPr marL="342900" indent="-342900" algn="l" defTabSz="457200" rtl="0" eaLnBrk="1" latinLnBrk="0" hangingPunct="1">
              <a:lnSpc>
                <a:spcPts val="2880"/>
              </a:lnSpc>
              <a:spcBef>
                <a:spcPts val="1200"/>
              </a:spcBef>
              <a:spcAft>
                <a:spcPts val="200"/>
              </a:spcAft>
              <a:buClr>
                <a:schemeClr val="tx1"/>
              </a:buClr>
              <a:buFont typeface="Wingdings" charset="2"/>
              <a:buChar char="§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79450" indent="-285750" algn="l" defTabSz="457200" rtl="0" eaLnBrk="1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/>
              <a:buChar char="–"/>
              <a:defRPr sz="2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77900" indent="-228600" algn="l" defTabSz="457200" rtl="0" eaLnBrk="1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charset="2"/>
              <a:buChar char="§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0800" marR="0" indent="-228600" algn="l" defTabSz="4572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-228600" algn="l" defTabSz="457200" rtl="0" eaLnBrk="1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charset="2"/>
              <a:buChar char="§"/>
              <a:tabLst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Clr>
                <a:srgbClr val="20343A"/>
              </a:buClr>
              <a:buFont typeface="Wingdings" charset="2"/>
              <a:buNone/>
            </a:pPr>
            <a:endParaRPr lang="en-US" sz="1867" dirty="0">
              <a:solidFill>
                <a:srgbClr val="FFFFFF"/>
              </a:solidFill>
            </a:endParaRP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660293" y="1412051"/>
            <a:ext cx="2622416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82320" y="1645922"/>
            <a:ext cx="2499253" cy="1168399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>
                <a:solidFill>
                  <a:schemeClr val="accent1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782320" y="2854962"/>
            <a:ext cx="2499253" cy="78231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867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ompany</a:t>
            </a:r>
          </a:p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8658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 bwMode="gray">
          <a:xfrm>
            <a:off x="608461" y="2359212"/>
            <a:ext cx="2622416" cy="2639917"/>
            <a:chOff x="456346" y="1769409"/>
            <a:chExt cx="1966812" cy="1979938"/>
          </a:xfrm>
        </p:grpSpPr>
        <p:sp>
          <p:nvSpPr>
            <p:cNvPr id="11" name="Content Placeholder 2"/>
            <p:cNvSpPr txBox="1">
              <a:spLocks/>
            </p:cNvSpPr>
            <p:nvPr userDrawn="1"/>
          </p:nvSpPr>
          <p:spPr bwMode="gray">
            <a:xfrm>
              <a:off x="457198" y="1769409"/>
              <a:ext cx="1965960" cy="1979938"/>
            </a:xfrm>
            <a:prstGeom prst="rect">
              <a:avLst/>
            </a:prstGeom>
            <a:solidFill>
              <a:srgbClr val="22475C"/>
            </a:solidFill>
          </p:spPr>
          <p:txBody>
            <a:bodyPr lIns="182880" tIns="228600" rIns="182880"/>
            <a:lstStyle>
              <a:lvl1pPr marL="342900" indent="-342900" algn="l" defTabSz="457200" rtl="0" eaLnBrk="1" latinLnBrk="0" hangingPunct="1">
                <a:lnSpc>
                  <a:spcPts val="288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tx1"/>
                </a:buClr>
                <a:buFont typeface="Wingdings" charset="2"/>
                <a:buChar char="§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79450" indent="-28575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/>
                <a:buChar char="–"/>
                <a:defRPr sz="20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79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defRPr sz="18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20800" marR="0" indent="-228600" algn="l" defTabSz="4572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SzTx/>
                <a:buFont typeface="Arial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02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tabLst/>
                <a:defRPr sz="14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Clr>
                  <a:srgbClr val="20343A"/>
                </a:buClr>
                <a:buFont typeface="Wingdings" charset="2"/>
                <a:buNone/>
              </a:pPr>
              <a:endParaRPr lang="en-US" sz="2133" dirty="0">
                <a:solidFill>
                  <a:srgbClr val="FFFFFF"/>
                </a:solidFill>
              </a:endParaRPr>
            </a:p>
          </p:txBody>
        </p:sp>
        <p:cxnSp>
          <p:nvCxnSpPr>
            <p:cNvPr id="12" name="Straight Connector 11"/>
            <p:cNvCxnSpPr/>
            <p:nvPr userDrawn="1"/>
          </p:nvCxnSpPr>
          <p:spPr bwMode="gray">
            <a:xfrm>
              <a:off x="456346" y="1780592"/>
              <a:ext cx="1966812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4575" y="210314"/>
            <a:ext cx="10972800" cy="116681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31520" y="2600962"/>
            <a:ext cx="2499253" cy="74167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Demo Name</a:t>
            </a:r>
            <a:endParaRPr lang="en-US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731520" y="3322322"/>
            <a:ext cx="2499253" cy="78231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2133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Name</a:t>
            </a:r>
          </a:p>
          <a:p>
            <a:pPr lvl="0"/>
            <a:r>
              <a:rPr lang="en-US" dirty="0" smtClean="0"/>
              <a:t>Location</a:t>
            </a:r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 bwMode="gray">
          <a:xfrm>
            <a:off x="8970141" y="2359212"/>
            <a:ext cx="2622416" cy="2639917"/>
            <a:chOff x="456346" y="1769409"/>
            <a:chExt cx="1966812" cy="1979938"/>
          </a:xfrm>
        </p:grpSpPr>
        <p:sp>
          <p:nvSpPr>
            <p:cNvPr id="15" name="Content Placeholder 2"/>
            <p:cNvSpPr txBox="1">
              <a:spLocks/>
            </p:cNvSpPr>
            <p:nvPr userDrawn="1"/>
          </p:nvSpPr>
          <p:spPr bwMode="gray">
            <a:xfrm>
              <a:off x="457198" y="1769409"/>
              <a:ext cx="1965960" cy="1979938"/>
            </a:xfrm>
            <a:prstGeom prst="rect">
              <a:avLst/>
            </a:prstGeom>
            <a:solidFill>
              <a:srgbClr val="22475C"/>
            </a:solidFill>
          </p:spPr>
          <p:txBody>
            <a:bodyPr lIns="182880" tIns="228600" rIns="182880"/>
            <a:lstStyle>
              <a:lvl1pPr marL="342900" indent="-342900" algn="l" defTabSz="457200" rtl="0" eaLnBrk="1" latinLnBrk="0" hangingPunct="1">
                <a:lnSpc>
                  <a:spcPts val="288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tx1"/>
                </a:buClr>
                <a:buFont typeface="Wingdings" charset="2"/>
                <a:buChar char="§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79450" indent="-28575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/>
                <a:buChar char="–"/>
                <a:defRPr sz="20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79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defRPr sz="18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20800" marR="0" indent="-228600" algn="l" defTabSz="4572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SzTx/>
                <a:buFont typeface="Arial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02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tabLst/>
                <a:defRPr sz="14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Clr>
                  <a:srgbClr val="20343A"/>
                </a:buClr>
                <a:buFont typeface="Wingdings" charset="2"/>
                <a:buNone/>
              </a:pPr>
              <a:endParaRPr lang="en-US" sz="2133" dirty="0">
                <a:solidFill>
                  <a:srgbClr val="FFFFFF"/>
                </a:solidFill>
              </a:endParaRPr>
            </a:p>
          </p:txBody>
        </p:sp>
        <p:cxnSp>
          <p:nvCxnSpPr>
            <p:cNvPr id="16" name="Straight Connector 15"/>
            <p:cNvCxnSpPr/>
            <p:nvPr userDrawn="1"/>
          </p:nvCxnSpPr>
          <p:spPr bwMode="gray">
            <a:xfrm>
              <a:off x="456346" y="1780592"/>
              <a:ext cx="1966812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 Placehold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9093200" y="2600962"/>
            <a:ext cx="2499253" cy="74167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Demo Name</a:t>
            </a:r>
            <a:endParaRPr lang="en-US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093200" y="3322322"/>
            <a:ext cx="2499253" cy="78231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2133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Name</a:t>
            </a:r>
          </a:p>
          <a:p>
            <a:pPr lvl="0"/>
            <a:r>
              <a:rPr lang="en-US" dirty="0" smtClean="0"/>
              <a:t>Location</a:t>
            </a:r>
            <a:endParaRPr lang="en-US" dirty="0"/>
          </a:p>
        </p:txBody>
      </p:sp>
      <p:grpSp>
        <p:nvGrpSpPr>
          <p:cNvPr id="20" name="Group 19"/>
          <p:cNvGrpSpPr/>
          <p:nvPr userDrawn="1"/>
        </p:nvGrpSpPr>
        <p:grpSpPr bwMode="gray">
          <a:xfrm>
            <a:off x="3395688" y="2359212"/>
            <a:ext cx="2622416" cy="2639917"/>
            <a:chOff x="456346" y="1769409"/>
            <a:chExt cx="1966812" cy="1979938"/>
          </a:xfrm>
        </p:grpSpPr>
        <p:sp>
          <p:nvSpPr>
            <p:cNvPr id="21" name="Content Placeholder 2"/>
            <p:cNvSpPr txBox="1">
              <a:spLocks/>
            </p:cNvSpPr>
            <p:nvPr userDrawn="1"/>
          </p:nvSpPr>
          <p:spPr bwMode="gray">
            <a:xfrm>
              <a:off x="457198" y="1769409"/>
              <a:ext cx="1965960" cy="1979938"/>
            </a:xfrm>
            <a:prstGeom prst="rect">
              <a:avLst/>
            </a:prstGeom>
            <a:solidFill>
              <a:srgbClr val="22475C"/>
            </a:solidFill>
          </p:spPr>
          <p:txBody>
            <a:bodyPr lIns="182880" tIns="228600" rIns="182880"/>
            <a:lstStyle>
              <a:lvl1pPr marL="342900" indent="-342900" algn="l" defTabSz="457200" rtl="0" eaLnBrk="1" latinLnBrk="0" hangingPunct="1">
                <a:lnSpc>
                  <a:spcPts val="288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tx1"/>
                </a:buClr>
                <a:buFont typeface="Wingdings" charset="2"/>
                <a:buChar char="§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79450" indent="-28575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/>
                <a:buChar char="–"/>
                <a:defRPr sz="20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79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defRPr sz="18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20800" marR="0" indent="-228600" algn="l" defTabSz="4572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SzTx/>
                <a:buFont typeface="Arial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02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tabLst/>
                <a:defRPr sz="14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Clr>
                  <a:srgbClr val="20343A"/>
                </a:buClr>
                <a:buFont typeface="Wingdings" charset="2"/>
                <a:buNone/>
              </a:pPr>
              <a:endParaRPr lang="en-US" sz="2133" dirty="0">
                <a:solidFill>
                  <a:srgbClr val="FFFFFF"/>
                </a:solidFill>
              </a:endParaRPr>
            </a:p>
          </p:txBody>
        </p:sp>
        <p:cxnSp>
          <p:nvCxnSpPr>
            <p:cNvPr id="22" name="Straight Connector 21"/>
            <p:cNvCxnSpPr/>
            <p:nvPr userDrawn="1"/>
          </p:nvCxnSpPr>
          <p:spPr bwMode="gray">
            <a:xfrm>
              <a:off x="456346" y="1780592"/>
              <a:ext cx="1966812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518747" y="2600962"/>
            <a:ext cx="2499253" cy="74167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Demo Name</a:t>
            </a:r>
            <a:endParaRPr lang="en-US" dirty="0"/>
          </a:p>
        </p:txBody>
      </p:sp>
      <p:sp>
        <p:nvSpPr>
          <p:cNvPr id="24" name="Text Placeholder 8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18747" y="3322322"/>
            <a:ext cx="2499253" cy="78231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2133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Name</a:t>
            </a:r>
          </a:p>
          <a:p>
            <a:pPr lvl="0"/>
            <a:r>
              <a:rPr lang="en-US" dirty="0" smtClean="0"/>
              <a:t>Location</a:t>
            </a:r>
            <a:endParaRPr lang="en-US" dirty="0"/>
          </a:p>
        </p:txBody>
      </p:sp>
      <p:grpSp>
        <p:nvGrpSpPr>
          <p:cNvPr id="25" name="Group 24"/>
          <p:cNvGrpSpPr/>
          <p:nvPr userDrawn="1"/>
        </p:nvGrpSpPr>
        <p:grpSpPr bwMode="gray">
          <a:xfrm>
            <a:off x="6182915" y="2359212"/>
            <a:ext cx="2622416" cy="2639917"/>
            <a:chOff x="456346" y="1769409"/>
            <a:chExt cx="1966812" cy="1979938"/>
          </a:xfrm>
        </p:grpSpPr>
        <p:sp>
          <p:nvSpPr>
            <p:cNvPr id="26" name="Content Placeholder 2"/>
            <p:cNvSpPr txBox="1">
              <a:spLocks/>
            </p:cNvSpPr>
            <p:nvPr userDrawn="1"/>
          </p:nvSpPr>
          <p:spPr bwMode="gray">
            <a:xfrm>
              <a:off x="457198" y="1769409"/>
              <a:ext cx="1965960" cy="1979938"/>
            </a:xfrm>
            <a:prstGeom prst="rect">
              <a:avLst/>
            </a:prstGeom>
            <a:solidFill>
              <a:srgbClr val="22475C"/>
            </a:solidFill>
          </p:spPr>
          <p:txBody>
            <a:bodyPr lIns="182880" tIns="228600" rIns="182880"/>
            <a:lstStyle>
              <a:lvl1pPr marL="342900" indent="-342900" algn="l" defTabSz="457200" rtl="0" eaLnBrk="1" latinLnBrk="0" hangingPunct="1">
                <a:lnSpc>
                  <a:spcPts val="288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tx1"/>
                </a:buClr>
                <a:buFont typeface="Wingdings" charset="2"/>
                <a:buChar char="§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79450" indent="-28575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/>
                <a:buChar char="–"/>
                <a:defRPr sz="20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79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defRPr sz="18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20800" marR="0" indent="-228600" algn="l" defTabSz="4572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SzTx/>
                <a:buFont typeface="Arial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02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tabLst/>
                <a:defRPr sz="14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Clr>
                  <a:srgbClr val="20343A"/>
                </a:buClr>
                <a:buFont typeface="Wingdings" charset="2"/>
                <a:buNone/>
              </a:pPr>
              <a:endParaRPr lang="en-US" sz="2133" dirty="0">
                <a:solidFill>
                  <a:srgbClr val="FFFFFF"/>
                </a:solidFill>
              </a:endParaRPr>
            </a:p>
          </p:txBody>
        </p:sp>
        <p:cxnSp>
          <p:nvCxnSpPr>
            <p:cNvPr id="27" name="Straight Connector 26"/>
            <p:cNvCxnSpPr/>
            <p:nvPr userDrawn="1"/>
          </p:nvCxnSpPr>
          <p:spPr bwMode="gray">
            <a:xfrm>
              <a:off x="456346" y="1780592"/>
              <a:ext cx="1966812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Text Placeholder 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05973" y="2600962"/>
            <a:ext cx="2499253" cy="74167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Demo Name</a:t>
            </a:r>
            <a:endParaRPr lang="en-US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305973" y="3322322"/>
            <a:ext cx="2499253" cy="78231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2133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Name</a:t>
            </a:r>
          </a:p>
          <a:p>
            <a:pPr lvl="0"/>
            <a:r>
              <a:rPr lang="en-US" dirty="0" smtClean="0"/>
              <a:t>Loc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357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 bwMode="gray">
          <a:xfrm>
            <a:off x="608461" y="1411817"/>
            <a:ext cx="2622416" cy="4243936"/>
            <a:chOff x="456346" y="1769409"/>
            <a:chExt cx="1966812" cy="1979938"/>
          </a:xfrm>
        </p:grpSpPr>
        <p:sp>
          <p:nvSpPr>
            <p:cNvPr id="11" name="Content Placeholder 2"/>
            <p:cNvSpPr txBox="1">
              <a:spLocks/>
            </p:cNvSpPr>
            <p:nvPr userDrawn="1"/>
          </p:nvSpPr>
          <p:spPr bwMode="gray">
            <a:xfrm>
              <a:off x="457198" y="1769409"/>
              <a:ext cx="1965960" cy="1979938"/>
            </a:xfrm>
            <a:prstGeom prst="rect">
              <a:avLst/>
            </a:prstGeom>
            <a:solidFill>
              <a:srgbClr val="22475C"/>
            </a:solidFill>
          </p:spPr>
          <p:txBody>
            <a:bodyPr lIns="182880" tIns="228600" rIns="182880"/>
            <a:lstStyle>
              <a:lvl1pPr marL="342900" indent="-342900" algn="l" defTabSz="457200" rtl="0" eaLnBrk="1" latinLnBrk="0" hangingPunct="1">
                <a:lnSpc>
                  <a:spcPts val="288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tx1"/>
                </a:buClr>
                <a:buFont typeface="Wingdings" charset="2"/>
                <a:buChar char="§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79450" indent="-28575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/>
                <a:buChar char="–"/>
                <a:defRPr sz="20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79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defRPr sz="18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20800" marR="0" indent="-228600" algn="l" defTabSz="4572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SzTx/>
                <a:buFont typeface="Arial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02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tabLst/>
                <a:defRPr sz="14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Clr>
                  <a:srgbClr val="20343A"/>
                </a:buClr>
                <a:buFont typeface="Wingdings" charset="2"/>
                <a:buNone/>
              </a:pPr>
              <a:endParaRPr lang="en-US" sz="2133" dirty="0">
                <a:solidFill>
                  <a:srgbClr val="FFFFFF"/>
                </a:solidFill>
              </a:endParaRPr>
            </a:p>
          </p:txBody>
        </p:sp>
        <p:cxnSp>
          <p:nvCxnSpPr>
            <p:cNvPr id="12" name="Straight Connector 11"/>
            <p:cNvCxnSpPr/>
            <p:nvPr userDrawn="1"/>
          </p:nvCxnSpPr>
          <p:spPr bwMode="gray">
            <a:xfrm>
              <a:off x="456346" y="1780592"/>
              <a:ext cx="1966812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31520" y="1653568"/>
            <a:ext cx="2499253" cy="113979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731520" y="2852022"/>
            <a:ext cx="2499253" cy="78231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867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ompany</a:t>
            </a:r>
          </a:p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 bwMode="gray">
          <a:xfrm>
            <a:off x="8970141" y="1411817"/>
            <a:ext cx="2622416" cy="4243936"/>
            <a:chOff x="456346" y="1769409"/>
            <a:chExt cx="1966812" cy="1979938"/>
          </a:xfrm>
        </p:grpSpPr>
        <p:sp>
          <p:nvSpPr>
            <p:cNvPr id="15" name="Content Placeholder 2"/>
            <p:cNvSpPr txBox="1">
              <a:spLocks/>
            </p:cNvSpPr>
            <p:nvPr userDrawn="1"/>
          </p:nvSpPr>
          <p:spPr bwMode="gray">
            <a:xfrm>
              <a:off x="457198" y="1769409"/>
              <a:ext cx="1965960" cy="1979938"/>
            </a:xfrm>
            <a:prstGeom prst="rect">
              <a:avLst/>
            </a:prstGeom>
            <a:solidFill>
              <a:srgbClr val="22475C"/>
            </a:solidFill>
          </p:spPr>
          <p:txBody>
            <a:bodyPr lIns="182880" tIns="228600" rIns="182880"/>
            <a:lstStyle>
              <a:lvl1pPr marL="342900" indent="-342900" algn="l" defTabSz="457200" rtl="0" eaLnBrk="1" latinLnBrk="0" hangingPunct="1">
                <a:lnSpc>
                  <a:spcPts val="288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tx1"/>
                </a:buClr>
                <a:buFont typeface="Wingdings" charset="2"/>
                <a:buChar char="§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79450" indent="-28575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/>
                <a:buChar char="–"/>
                <a:defRPr sz="20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79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defRPr sz="18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20800" marR="0" indent="-228600" algn="l" defTabSz="4572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SzTx/>
                <a:buFont typeface="Arial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02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tabLst/>
                <a:defRPr sz="14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Clr>
                  <a:srgbClr val="20343A"/>
                </a:buClr>
                <a:buFont typeface="Wingdings" charset="2"/>
                <a:buNone/>
              </a:pPr>
              <a:endParaRPr lang="en-US" sz="2133" dirty="0">
                <a:solidFill>
                  <a:srgbClr val="FFFFFF"/>
                </a:solidFill>
              </a:endParaRPr>
            </a:p>
          </p:txBody>
        </p:sp>
        <p:cxnSp>
          <p:nvCxnSpPr>
            <p:cNvPr id="16" name="Straight Connector 15"/>
            <p:cNvCxnSpPr/>
            <p:nvPr userDrawn="1"/>
          </p:nvCxnSpPr>
          <p:spPr bwMode="gray">
            <a:xfrm>
              <a:off x="456346" y="1780592"/>
              <a:ext cx="1966812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oup 19"/>
          <p:cNvGrpSpPr/>
          <p:nvPr userDrawn="1"/>
        </p:nvGrpSpPr>
        <p:grpSpPr bwMode="gray">
          <a:xfrm>
            <a:off x="3395688" y="1411817"/>
            <a:ext cx="2622416" cy="4243936"/>
            <a:chOff x="456346" y="1769409"/>
            <a:chExt cx="1966812" cy="1979938"/>
          </a:xfrm>
        </p:grpSpPr>
        <p:sp>
          <p:nvSpPr>
            <p:cNvPr id="21" name="Content Placeholder 2"/>
            <p:cNvSpPr txBox="1">
              <a:spLocks/>
            </p:cNvSpPr>
            <p:nvPr userDrawn="1"/>
          </p:nvSpPr>
          <p:spPr bwMode="gray">
            <a:xfrm>
              <a:off x="457198" y="1769409"/>
              <a:ext cx="1965960" cy="1979938"/>
            </a:xfrm>
            <a:prstGeom prst="rect">
              <a:avLst/>
            </a:prstGeom>
            <a:solidFill>
              <a:srgbClr val="22475C"/>
            </a:solidFill>
          </p:spPr>
          <p:txBody>
            <a:bodyPr lIns="182880" tIns="228600" rIns="182880"/>
            <a:lstStyle>
              <a:lvl1pPr marL="342900" indent="-342900" algn="l" defTabSz="457200" rtl="0" eaLnBrk="1" latinLnBrk="0" hangingPunct="1">
                <a:lnSpc>
                  <a:spcPts val="288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tx1"/>
                </a:buClr>
                <a:buFont typeface="Wingdings" charset="2"/>
                <a:buChar char="§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79450" indent="-28575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/>
                <a:buChar char="–"/>
                <a:defRPr sz="20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79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defRPr sz="18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20800" marR="0" indent="-228600" algn="l" defTabSz="4572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SzTx/>
                <a:buFont typeface="Arial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02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tabLst/>
                <a:defRPr sz="14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Clr>
                  <a:srgbClr val="20343A"/>
                </a:buClr>
                <a:buFont typeface="Wingdings" charset="2"/>
                <a:buNone/>
              </a:pPr>
              <a:endParaRPr lang="en-US" sz="2133" dirty="0">
                <a:solidFill>
                  <a:srgbClr val="FFFFFF"/>
                </a:solidFill>
              </a:endParaRPr>
            </a:p>
          </p:txBody>
        </p:sp>
        <p:cxnSp>
          <p:nvCxnSpPr>
            <p:cNvPr id="22" name="Straight Connector 21"/>
            <p:cNvCxnSpPr/>
            <p:nvPr userDrawn="1"/>
          </p:nvCxnSpPr>
          <p:spPr bwMode="gray">
            <a:xfrm>
              <a:off x="456346" y="1780592"/>
              <a:ext cx="1966812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 bwMode="gray">
          <a:xfrm>
            <a:off x="6182915" y="1411817"/>
            <a:ext cx="2622416" cy="4243936"/>
            <a:chOff x="456346" y="1769409"/>
            <a:chExt cx="1966812" cy="1979938"/>
          </a:xfrm>
        </p:grpSpPr>
        <p:sp>
          <p:nvSpPr>
            <p:cNvPr id="26" name="Content Placeholder 2"/>
            <p:cNvSpPr txBox="1">
              <a:spLocks/>
            </p:cNvSpPr>
            <p:nvPr userDrawn="1"/>
          </p:nvSpPr>
          <p:spPr bwMode="gray">
            <a:xfrm>
              <a:off x="457198" y="1769409"/>
              <a:ext cx="1965960" cy="1979938"/>
            </a:xfrm>
            <a:prstGeom prst="rect">
              <a:avLst/>
            </a:prstGeom>
            <a:solidFill>
              <a:srgbClr val="22475C"/>
            </a:solidFill>
          </p:spPr>
          <p:txBody>
            <a:bodyPr lIns="182880" tIns="228600" rIns="182880"/>
            <a:lstStyle>
              <a:lvl1pPr marL="342900" indent="-342900" algn="l" defTabSz="457200" rtl="0" eaLnBrk="1" latinLnBrk="0" hangingPunct="1">
                <a:lnSpc>
                  <a:spcPts val="288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tx1"/>
                </a:buClr>
                <a:buFont typeface="Wingdings" charset="2"/>
                <a:buChar char="§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79450" indent="-28575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/>
                <a:buChar char="–"/>
                <a:defRPr sz="20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79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defRPr sz="18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20800" marR="0" indent="-228600" algn="l" defTabSz="4572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SzTx/>
                <a:buFont typeface="Arial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02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tabLst/>
                <a:defRPr sz="14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Clr>
                  <a:srgbClr val="20343A"/>
                </a:buClr>
                <a:buFont typeface="Wingdings" charset="2"/>
                <a:buNone/>
              </a:pPr>
              <a:endParaRPr lang="en-US" sz="2133" dirty="0">
                <a:solidFill>
                  <a:srgbClr val="FFFFFF"/>
                </a:solidFill>
              </a:endParaRPr>
            </a:p>
          </p:txBody>
        </p:sp>
        <p:cxnSp>
          <p:nvCxnSpPr>
            <p:cNvPr id="27" name="Straight Connector 26"/>
            <p:cNvCxnSpPr/>
            <p:nvPr userDrawn="1"/>
          </p:nvCxnSpPr>
          <p:spPr bwMode="gray">
            <a:xfrm>
              <a:off x="456346" y="1780592"/>
              <a:ext cx="1966812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4575" y="210314"/>
            <a:ext cx="10972800" cy="116681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9093304" y="1653568"/>
            <a:ext cx="2499253" cy="113979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32" name="Text Placehold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093304" y="2852022"/>
            <a:ext cx="2499253" cy="78231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867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ompany</a:t>
            </a:r>
          </a:p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518782" y="1653568"/>
            <a:ext cx="2499253" cy="113979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18851" y="2852022"/>
            <a:ext cx="2499253" cy="78231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867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ompany</a:t>
            </a:r>
          </a:p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37" name="Text Placeholder 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06043" y="1653568"/>
            <a:ext cx="2499253" cy="113979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38" name="Text Placeholder 8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306043" y="2852022"/>
            <a:ext cx="2499253" cy="78231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867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ompany</a:t>
            </a:r>
          </a:p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9773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8077824" y="1746619"/>
            <a:ext cx="3512432" cy="3865104"/>
            <a:chOff x="456346" y="1309964"/>
            <a:chExt cx="2634324" cy="2898828"/>
          </a:xfrm>
        </p:grpSpPr>
        <p:sp>
          <p:nvSpPr>
            <p:cNvPr id="36" name="Content Placeholder 2"/>
            <p:cNvSpPr txBox="1">
              <a:spLocks/>
            </p:cNvSpPr>
            <p:nvPr userDrawn="1"/>
          </p:nvSpPr>
          <p:spPr bwMode="gray">
            <a:xfrm>
              <a:off x="457198" y="1309964"/>
              <a:ext cx="2633472" cy="2898828"/>
            </a:xfrm>
            <a:prstGeom prst="rect">
              <a:avLst/>
            </a:prstGeom>
            <a:solidFill>
              <a:schemeClr val="accent3"/>
            </a:solidFill>
          </p:spPr>
          <p:txBody>
            <a:bodyPr lIns="182880" tIns="228600" rIns="182880"/>
            <a:lstStyle>
              <a:lvl1pPr marL="342900" indent="-342900" algn="l" defTabSz="457200" rtl="0" eaLnBrk="1" latinLnBrk="0" hangingPunct="1">
                <a:lnSpc>
                  <a:spcPts val="288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tx1"/>
                </a:buClr>
                <a:buFont typeface="Wingdings" charset="2"/>
                <a:buChar char="§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79450" indent="-28575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/>
                <a:buChar char="–"/>
                <a:defRPr sz="20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79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defRPr sz="18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20800" marR="0" indent="-228600" algn="l" defTabSz="4572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SzTx/>
                <a:buFont typeface="Arial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02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tabLst/>
                <a:defRPr sz="14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Clr>
                  <a:srgbClr val="20343A"/>
                </a:buClr>
                <a:buFont typeface="Wingdings" charset="2"/>
                <a:buNone/>
              </a:pPr>
              <a:endParaRPr lang="en-US" sz="1867" dirty="0">
                <a:solidFill>
                  <a:srgbClr val="FFFFFF"/>
                </a:solidFill>
              </a:endParaRPr>
            </a:p>
          </p:txBody>
        </p:sp>
        <p:cxnSp>
          <p:nvCxnSpPr>
            <p:cNvPr id="37" name="Straight Connector 36"/>
            <p:cNvCxnSpPr/>
            <p:nvPr userDrawn="1"/>
          </p:nvCxnSpPr>
          <p:spPr bwMode="gray">
            <a:xfrm>
              <a:off x="456346" y="1318795"/>
              <a:ext cx="2633472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8200883" y="1991362"/>
            <a:ext cx="3291840" cy="74167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Enter Text Here</a:t>
            </a:r>
            <a:endParaRPr lang="en-US" dirty="0"/>
          </a:p>
        </p:txBody>
      </p:sp>
      <p:sp>
        <p:nvSpPr>
          <p:cNvPr id="39" name="Text Placeholder 8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200883" y="2702562"/>
            <a:ext cx="3291840" cy="273303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867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Enter Text Here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 bwMode="gray">
          <a:xfrm>
            <a:off x="608461" y="1746619"/>
            <a:ext cx="3512432" cy="3865104"/>
            <a:chOff x="456346" y="1309964"/>
            <a:chExt cx="2634324" cy="2898828"/>
          </a:xfrm>
        </p:grpSpPr>
        <p:sp>
          <p:nvSpPr>
            <p:cNvPr id="30" name="Content Placeholder 2"/>
            <p:cNvSpPr txBox="1">
              <a:spLocks/>
            </p:cNvSpPr>
            <p:nvPr userDrawn="1"/>
          </p:nvSpPr>
          <p:spPr bwMode="gray">
            <a:xfrm>
              <a:off x="457198" y="1309964"/>
              <a:ext cx="2633472" cy="2898828"/>
            </a:xfrm>
            <a:prstGeom prst="rect">
              <a:avLst/>
            </a:prstGeom>
            <a:solidFill>
              <a:schemeClr val="accent3"/>
            </a:solidFill>
          </p:spPr>
          <p:txBody>
            <a:bodyPr lIns="182880" tIns="228600" rIns="182880"/>
            <a:lstStyle>
              <a:lvl1pPr marL="342900" indent="-342900" algn="l" defTabSz="457200" rtl="0" eaLnBrk="1" latinLnBrk="0" hangingPunct="1">
                <a:lnSpc>
                  <a:spcPts val="288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tx1"/>
                </a:buClr>
                <a:buFont typeface="Wingdings" charset="2"/>
                <a:buChar char="§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79450" indent="-28575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/>
                <a:buChar char="–"/>
                <a:defRPr sz="20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79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defRPr sz="18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20800" marR="0" indent="-228600" algn="l" defTabSz="4572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SzTx/>
                <a:buFont typeface="Arial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02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tabLst/>
                <a:defRPr sz="14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Clr>
                  <a:srgbClr val="20343A"/>
                </a:buClr>
                <a:buFont typeface="Wingdings" charset="2"/>
                <a:buNone/>
              </a:pPr>
              <a:endParaRPr lang="en-US" sz="1867" dirty="0">
                <a:solidFill>
                  <a:srgbClr val="FFFFFF"/>
                </a:solidFill>
              </a:endParaRPr>
            </a:p>
          </p:txBody>
        </p:sp>
        <p:cxnSp>
          <p:nvCxnSpPr>
            <p:cNvPr id="31" name="Straight Connector 30"/>
            <p:cNvCxnSpPr/>
            <p:nvPr userDrawn="1"/>
          </p:nvCxnSpPr>
          <p:spPr bwMode="gray">
            <a:xfrm>
              <a:off x="456346" y="1318795"/>
              <a:ext cx="2633472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 Placehold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731520" y="1991362"/>
            <a:ext cx="3291840" cy="74167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Enter Text Here</a:t>
            </a:r>
            <a:endParaRPr lang="en-US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31520" y="2702562"/>
            <a:ext cx="3291840" cy="273303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867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Enter Text Here</a:t>
            </a:r>
            <a:endParaRPr lang="en-US" dirty="0"/>
          </a:p>
        </p:txBody>
      </p:sp>
      <p:grpSp>
        <p:nvGrpSpPr>
          <p:cNvPr id="40" name="Group 39"/>
          <p:cNvGrpSpPr/>
          <p:nvPr userDrawn="1"/>
        </p:nvGrpSpPr>
        <p:grpSpPr bwMode="gray">
          <a:xfrm>
            <a:off x="4342007" y="1746619"/>
            <a:ext cx="3512432" cy="3865104"/>
            <a:chOff x="456346" y="1309964"/>
            <a:chExt cx="2634324" cy="2898828"/>
          </a:xfrm>
        </p:grpSpPr>
        <p:sp>
          <p:nvSpPr>
            <p:cNvPr id="41" name="Content Placeholder 2"/>
            <p:cNvSpPr txBox="1">
              <a:spLocks/>
            </p:cNvSpPr>
            <p:nvPr userDrawn="1"/>
          </p:nvSpPr>
          <p:spPr bwMode="gray">
            <a:xfrm>
              <a:off x="457198" y="1309964"/>
              <a:ext cx="2633472" cy="2898828"/>
            </a:xfrm>
            <a:prstGeom prst="rect">
              <a:avLst/>
            </a:prstGeom>
            <a:solidFill>
              <a:schemeClr val="accent3"/>
            </a:solidFill>
          </p:spPr>
          <p:txBody>
            <a:bodyPr lIns="182880" tIns="228600" rIns="182880"/>
            <a:lstStyle>
              <a:lvl1pPr marL="342900" indent="-342900" algn="l" defTabSz="457200" rtl="0" eaLnBrk="1" latinLnBrk="0" hangingPunct="1">
                <a:lnSpc>
                  <a:spcPts val="288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tx1"/>
                </a:buClr>
                <a:buFont typeface="Wingdings" charset="2"/>
                <a:buChar char="§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79450" indent="-28575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/>
                <a:buChar char="–"/>
                <a:defRPr sz="20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79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defRPr sz="18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20800" marR="0" indent="-228600" algn="l" defTabSz="4572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SzTx/>
                <a:buFont typeface="Arial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02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tabLst/>
                <a:defRPr sz="14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Clr>
                  <a:srgbClr val="20343A"/>
                </a:buClr>
                <a:buFont typeface="Wingdings" charset="2"/>
                <a:buNone/>
              </a:pPr>
              <a:endParaRPr lang="en-US" sz="1867" dirty="0">
                <a:solidFill>
                  <a:srgbClr val="FFFFFF"/>
                </a:solidFill>
              </a:endParaRPr>
            </a:p>
          </p:txBody>
        </p:sp>
        <p:cxnSp>
          <p:nvCxnSpPr>
            <p:cNvPr id="42" name="Straight Connector 41"/>
            <p:cNvCxnSpPr/>
            <p:nvPr userDrawn="1"/>
          </p:nvCxnSpPr>
          <p:spPr bwMode="gray">
            <a:xfrm>
              <a:off x="456346" y="1318795"/>
              <a:ext cx="2633472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" name="Text Placeholder 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65065" y="1991362"/>
            <a:ext cx="3291840" cy="74167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Enter Text Here</a:t>
            </a:r>
            <a:endParaRPr lang="en-US" dirty="0"/>
          </a:p>
        </p:txBody>
      </p:sp>
      <p:sp>
        <p:nvSpPr>
          <p:cNvPr id="44" name="Text Placeholder 8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465065" y="2702562"/>
            <a:ext cx="3291840" cy="273303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867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Enter Text Here</a:t>
            </a:r>
            <a:endParaRPr lang="en-US" dirty="0"/>
          </a:p>
        </p:txBody>
      </p:sp>
      <p:sp>
        <p:nvSpPr>
          <p:cNvPr id="45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6039" y="210314"/>
            <a:ext cx="10972800" cy="60933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6" name="Content Placeholder 5"/>
          <p:cNvSpPr>
            <a:spLocks noGrp="1"/>
          </p:cNvSpPr>
          <p:nvPr>
            <p:ph sz="quarter" idx="11" hasCustomPrompt="1"/>
          </p:nvPr>
        </p:nvSpPr>
        <p:spPr bwMode="gray">
          <a:xfrm>
            <a:off x="519430" y="865881"/>
            <a:ext cx="10966028" cy="338555"/>
          </a:xfrm>
        </p:spPr>
        <p:txBody>
          <a:bodyPr vert="horz" lIns="91440" tIns="0" rIns="91440" bIns="0" rtlCol="0" anchor="t">
            <a:sp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 smtClean="0"/>
              <a:t>Subtitle | 18 </a:t>
            </a:r>
            <a:r>
              <a:rPr lang="en-US" dirty="0" err="1" smtClean="0"/>
              <a:t>Pt</a:t>
            </a:r>
            <a:r>
              <a:rPr lang="en-US" dirty="0" smtClean="0"/>
              <a:t> | Max 2 Lines | Max Character: 100 </a:t>
            </a:r>
          </a:p>
        </p:txBody>
      </p:sp>
    </p:spTree>
    <p:extLst>
      <p:ext uri="{BB962C8B-B14F-4D97-AF65-F5344CB8AC3E}">
        <p14:creationId xmlns:p14="http://schemas.microsoft.com/office/powerpoint/2010/main" val="2715268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3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751" y="1278001"/>
            <a:ext cx="5058000" cy="233017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4" name="Text Placeholder 2"/>
          <p:cNvSpPr>
            <a:spLocks noGrp="1"/>
          </p:cNvSpPr>
          <p:nvPr>
            <p:ph idx="28"/>
          </p:nvPr>
        </p:nvSpPr>
        <p:spPr bwMode="gray">
          <a:xfrm>
            <a:off x="845575" y="1278001"/>
            <a:ext cx="5058000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5" name="Content Placeholder 3"/>
          <p:cNvSpPr>
            <a:spLocks noGrp="1"/>
          </p:cNvSpPr>
          <p:nvPr>
            <p:ph sz="half" idx="29"/>
          </p:nvPr>
        </p:nvSpPr>
        <p:spPr bwMode="gray">
          <a:xfrm>
            <a:off x="6276751" y="3877592"/>
            <a:ext cx="5058000" cy="233017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idx="30"/>
          </p:nvPr>
        </p:nvSpPr>
        <p:spPr bwMode="gray">
          <a:xfrm>
            <a:off x="845575" y="3877592"/>
            <a:ext cx="5058000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873246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 userDrawn="1">
          <p15:clr>
            <a:srgbClr val="FBAE40"/>
          </p15:clr>
        </p15:guide>
        <p15:guide id="0" pos="3948" userDrawn="1">
          <p15:clr>
            <a:srgbClr val="FBAE40"/>
          </p15:clr>
        </p15:guide>
        <p15:guide id="2" orient="horz" pos="2274" userDrawn="1">
          <p15:clr>
            <a:srgbClr val="FBAE40"/>
          </p15:clr>
        </p15:guide>
        <p15:guide id="3" orient="horz" pos="2442" userDrawn="1">
          <p15:clr>
            <a:srgbClr val="FBAE40"/>
          </p15:clr>
        </p15:guide>
      </p15:sldGuideLst>
    </p:ext>
  </p:extLs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 bwMode="gray">
          <a:xfrm>
            <a:off x="608461" y="1746619"/>
            <a:ext cx="10980659" cy="3865104"/>
            <a:chOff x="456346" y="1309964"/>
            <a:chExt cx="2634324" cy="2898828"/>
          </a:xfrm>
        </p:grpSpPr>
        <p:sp>
          <p:nvSpPr>
            <p:cNvPr id="30" name="Content Placeholder 2"/>
            <p:cNvSpPr txBox="1">
              <a:spLocks/>
            </p:cNvSpPr>
            <p:nvPr userDrawn="1"/>
          </p:nvSpPr>
          <p:spPr bwMode="gray">
            <a:xfrm>
              <a:off x="457198" y="1309964"/>
              <a:ext cx="2633472" cy="2898828"/>
            </a:xfrm>
            <a:prstGeom prst="rect">
              <a:avLst/>
            </a:prstGeom>
            <a:solidFill>
              <a:schemeClr val="accent3"/>
            </a:solidFill>
          </p:spPr>
          <p:txBody>
            <a:bodyPr lIns="182880" tIns="228600" rIns="182880"/>
            <a:lstStyle>
              <a:lvl1pPr marL="342900" indent="-342900" algn="l" defTabSz="457200" rtl="0" eaLnBrk="1" latinLnBrk="0" hangingPunct="1">
                <a:lnSpc>
                  <a:spcPts val="288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tx1"/>
                </a:buClr>
                <a:buFont typeface="Wingdings" charset="2"/>
                <a:buChar char="§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79450" indent="-28575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/>
                <a:buChar char="–"/>
                <a:defRPr sz="20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79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defRPr sz="18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20800" marR="0" indent="-228600" algn="l" defTabSz="4572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SzTx/>
                <a:buFont typeface="Arial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02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tabLst/>
                <a:defRPr sz="14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Clr>
                  <a:srgbClr val="20343A"/>
                </a:buClr>
                <a:buFont typeface="Wingdings" charset="2"/>
                <a:buNone/>
              </a:pPr>
              <a:endParaRPr lang="en-US" sz="1867" dirty="0">
                <a:solidFill>
                  <a:srgbClr val="FFFFFF"/>
                </a:solidFill>
              </a:endParaRPr>
            </a:p>
          </p:txBody>
        </p:sp>
        <p:cxnSp>
          <p:nvCxnSpPr>
            <p:cNvPr id="31" name="Straight Connector 30"/>
            <p:cNvCxnSpPr/>
            <p:nvPr userDrawn="1"/>
          </p:nvCxnSpPr>
          <p:spPr bwMode="gray">
            <a:xfrm>
              <a:off x="456346" y="1318795"/>
              <a:ext cx="2633472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 Placehold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731520" y="1991362"/>
            <a:ext cx="10647681" cy="74167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Enter Text Here</a:t>
            </a:r>
            <a:endParaRPr lang="en-US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31517" y="2702562"/>
            <a:ext cx="10753939" cy="273303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867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Enter Text Here</a:t>
            </a:r>
            <a:endParaRPr lang="en-US" dirty="0"/>
          </a:p>
        </p:txBody>
      </p:sp>
      <p:sp>
        <p:nvSpPr>
          <p:cNvPr id="45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6039" y="210314"/>
            <a:ext cx="10972800" cy="60933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6" name="Content Placeholder 5"/>
          <p:cNvSpPr>
            <a:spLocks noGrp="1"/>
          </p:cNvSpPr>
          <p:nvPr>
            <p:ph sz="quarter" idx="11" hasCustomPrompt="1"/>
          </p:nvPr>
        </p:nvSpPr>
        <p:spPr bwMode="gray">
          <a:xfrm>
            <a:off x="519430" y="865881"/>
            <a:ext cx="10966028" cy="338555"/>
          </a:xfrm>
        </p:spPr>
        <p:txBody>
          <a:bodyPr vert="horz" lIns="91440" tIns="0" rIns="91440" bIns="0" rtlCol="0" anchor="t">
            <a:sp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 smtClean="0"/>
              <a:t>Subtitle | 18 </a:t>
            </a:r>
            <a:r>
              <a:rPr lang="en-US" dirty="0" err="1" smtClean="0"/>
              <a:t>Pt</a:t>
            </a:r>
            <a:r>
              <a:rPr lang="en-US" dirty="0" smtClean="0"/>
              <a:t> | Max 2 Lines | Max Character: 100 </a:t>
            </a:r>
          </a:p>
        </p:txBody>
      </p:sp>
    </p:spTree>
    <p:extLst>
      <p:ext uri="{BB962C8B-B14F-4D97-AF65-F5344CB8AC3E}">
        <p14:creationId xmlns:p14="http://schemas.microsoft.com/office/powerpoint/2010/main" val="85860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4575" y="210314"/>
            <a:ext cx="10972800" cy="116681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  <p:grpSp>
        <p:nvGrpSpPr>
          <p:cNvPr id="20" name="Group 19"/>
          <p:cNvGrpSpPr/>
          <p:nvPr userDrawn="1"/>
        </p:nvGrpSpPr>
        <p:grpSpPr bwMode="gray">
          <a:xfrm>
            <a:off x="3395688" y="2359212"/>
            <a:ext cx="2622416" cy="2639917"/>
            <a:chOff x="456346" y="1769409"/>
            <a:chExt cx="1966812" cy="1979938"/>
          </a:xfrm>
          <a:solidFill>
            <a:schemeClr val="accent1"/>
          </a:solidFill>
        </p:grpSpPr>
        <p:sp>
          <p:nvSpPr>
            <p:cNvPr id="21" name="Content Placeholder 2"/>
            <p:cNvSpPr txBox="1">
              <a:spLocks/>
            </p:cNvSpPr>
            <p:nvPr userDrawn="1"/>
          </p:nvSpPr>
          <p:spPr bwMode="gray">
            <a:xfrm>
              <a:off x="457198" y="1769409"/>
              <a:ext cx="1965960" cy="1979938"/>
            </a:xfrm>
            <a:prstGeom prst="rect">
              <a:avLst/>
            </a:prstGeom>
            <a:grpFill/>
          </p:spPr>
          <p:txBody>
            <a:bodyPr lIns="182880" tIns="228600" rIns="182880"/>
            <a:lstStyle>
              <a:lvl1pPr marL="342900" indent="-342900" algn="l" defTabSz="457200" rtl="0" eaLnBrk="1" latinLnBrk="0" hangingPunct="1">
                <a:lnSpc>
                  <a:spcPts val="288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tx1"/>
                </a:buClr>
                <a:buFont typeface="Wingdings" charset="2"/>
                <a:buChar char="§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79450" indent="-28575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/>
                <a:buChar char="–"/>
                <a:defRPr sz="20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79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defRPr sz="18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20800" marR="0" indent="-228600" algn="l" defTabSz="4572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SzTx/>
                <a:buFont typeface="Arial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02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tabLst/>
                <a:defRPr sz="14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Clr>
                  <a:srgbClr val="20343A"/>
                </a:buClr>
                <a:buFont typeface="Wingdings" charset="2"/>
                <a:buNone/>
              </a:pPr>
              <a:endParaRPr lang="en-US" sz="2133" dirty="0">
                <a:solidFill>
                  <a:srgbClr val="FFFFFF"/>
                </a:solidFill>
              </a:endParaRPr>
            </a:p>
          </p:txBody>
        </p:sp>
        <p:cxnSp>
          <p:nvCxnSpPr>
            <p:cNvPr id="22" name="Straight Connector 21"/>
            <p:cNvCxnSpPr/>
            <p:nvPr userDrawn="1"/>
          </p:nvCxnSpPr>
          <p:spPr bwMode="gray">
            <a:xfrm>
              <a:off x="456346" y="1780592"/>
              <a:ext cx="1966812" cy="0"/>
            </a:xfrm>
            <a:prstGeom prst="line">
              <a:avLst/>
            </a:prstGeom>
            <a:grpFill/>
            <a:ln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518747" y="2600962"/>
            <a:ext cx="2499253" cy="74167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None/>
              <a:defRPr>
                <a:solidFill>
                  <a:schemeClr val="accent3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Demo Name</a:t>
            </a:r>
            <a:endParaRPr lang="en-US" dirty="0"/>
          </a:p>
        </p:txBody>
      </p:sp>
      <p:sp>
        <p:nvSpPr>
          <p:cNvPr id="24" name="Text Placeholder 8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18747" y="3322322"/>
            <a:ext cx="2499253" cy="78231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2133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Name</a:t>
            </a:r>
          </a:p>
          <a:p>
            <a:pPr lvl="0"/>
            <a:r>
              <a:rPr lang="en-US" dirty="0" smtClean="0"/>
              <a:t>Location</a:t>
            </a:r>
            <a:endParaRPr lang="en-US" dirty="0"/>
          </a:p>
        </p:txBody>
      </p:sp>
      <p:grpSp>
        <p:nvGrpSpPr>
          <p:cNvPr id="25" name="Group 24"/>
          <p:cNvGrpSpPr/>
          <p:nvPr userDrawn="1"/>
        </p:nvGrpSpPr>
        <p:grpSpPr bwMode="gray">
          <a:xfrm>
            <a:off x="6182915" y="2359212"/>
            <a:ext cx="2622416" cy="2639917"/>
            <a:chOff x="456346" y="1769409"/>
            <a:chExt cx="1966812" cy="1979938"/>
          </a:xfrm>
          <a:solidFill>
            <a:schemeClr val="accent1"/>
          </a:solidFill>
        </p:grpSpPr>
        <p:sp>
          <p:nvSpPr>
            <p:cNvPr id="26" name="Content Placeholder 2"/>
            <p:cNvSpPr txBox="1">
              <a:spLocks/>
            </p:cNvSpPr>
            <p:nvPr userDrawn="1"/>
          </p:nvSpPr>
          <p:spPr bwMode="gray">
            <a:xfrm>
              <a:off x="457198" y="1769409"/>
              <a:ext cx="1965960" cy="1979938"/>
            </a:xfrm>
            <a:prstGeom prst="rect">
              <a:avLst/>
            </a:prstGeom>
            <a:grpFill/>
          </p:spPr>
          <p:txBody>
            <a:bodyPr lIns="182880" tIns="228600" rIns="182880"/>
            <a:lstStyle>
              <a:lvl1pPr marL="342900" indent="-342900" algn="l" defTabSz="457200" rtl="0" eaLnBrk="1" latinLnBrk="0" hangingPunct="1">
                <a:lnSpc>
                  <a:spcPts val="288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tx1"/>
                </a:buClr>
                <a:buFont typeface="Wingdings" charset="2"/>
                <a:buChar char="§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79450" indent="-28575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/>
                <a:buChar char="–"/>
                <a:defRPr sz="20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79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defRPr sz="18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20800" marR="0" indent="-228600" algn="l" defTabSz="457200" rtl="0" eaLnBrk="1" fontAlgn="auto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SzTx/>
                <a:buFont typeface="Arial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0200" indent="-228600" algn="l" defTabSz="457200" rtl="0" eaLnBrk="1" latinLnBrk="0" hangingPunct="1">
                <a:lnSpc>
                  <a:spcPts val="22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Wingdings" charset="2"/>
                <a:buChar char="§"/>
                <a:tabLst/>
                <a:defRPr sz="14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Clr>
                  <a:srgbClr val="20343A"/>
                </a:buClr>
                <a:buFont typeface="Wingdings" charset="2"/>
                <a:buNone/>
              </a:pPr>
              <a:endParaRPr lang="en-US" sz="2133" dirty="0">
                <a:solidFill>
                  <a:srgbClr val="FFFFFF"/>
                </a:solidFill>
              </a:endParaRPr>
            </a:p>
          </p:txBody>
        </p:sp>
        <p:cxnSp>
          <p:nvCxnSpPr>
            <p:cNvPr id="27" name="Straight Connector 26"/>
            <p:cNvCxnSpPr/>
            <p:nvPr userDrawn="1"/>
          </p:nvCxnSpPr>
          <p:spPr bwMode="gray">
            <a:xfrm>
              <a:off x="456346" y="1780592"/>
              <a:ext cx="1966812" cy="0"/>
            </a:xfrm>
            <a:prstGeom prst="line">
              <a:avLst/>
            </a:prstGeom>
            <a:grpFill/>
            <a:ln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Text Placeholder 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05973" y="2600962"/>
            <a:ext cx="2499253" cy="74167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None/>
              <a:defRPr>
                <a:solidFill>
                  <a:schemeClr val="accent3"/>
                </a:solidFill>
              </a:defRPr>
            </a:lvl1pPr>
            <a:lvl2pPr marL="524920" indent="0">
              <a:buNone/>
              <a:defRPr/>
            </a:lvl2pPr>
            <a:lvl3pPr marL="999042" indent="0">
              <a:buNone/>
              <a:defRPr/>
            </a:lvl3pPr>
            <a:lvl4pPr marL="1456230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Demo Name</a:t>
            </a:r>
            <a:endParaRPr lang="en-US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305973" y="3322322"/>
            <a:ext cx="2499253" cy="78231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2133">
                <a:solidFill>
                  <a:schemeClr val="bg1"/>
                </a:solidFill>
              </a:defRPr>
            </a:lvl1pPr>
            <a:lvl2pPr marL="524920" indent="0">
              <a:buNone/>
              <a:defRPr>
                <a:solidFill>
                  <a:schemeClr val="bg1"/>
                </a:solidFill>
              </a:defRPr>
            </a:lvl2pPr>
            <a:lvl3pPr marL="999042" indent="0">
              <a:buNone/>
              <a:defRPr>
                <a:solidFill>
                  <a:schemeClr val="bg1"/>
                </a:solidFill>
              </a:defRPr>
            </a:lvl3pPr>
            <a:lvl4pPr marL="1456230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Name</a:t>
            </a:r>
          </a:p>
          <a:p>
            <a:pPr lvl="0"/>
            <a:r>
              <a:rPr lang="en-US" dirty="0" smtClean="0"/>
              <a:t>Loc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030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Pa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2192000" cy="6858000"/>
          </a:xfrm>
        </p:spPr>
        <p:txBody>
          <a:bodyPr lIns="274320" tIns="365760" rIns="91440" bIns="1280160" anchor="t" anchorCtr="0"/>
          <a:lstStyle>
            <a:lvl1pPr algn="l">
              <a:buNone/>
              <a:defRPr/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7947716" y="2"/>
            <a:ext cx="2889504" cy="4168996"/>
          </a:xfrm>
          <a:solidFill>
            <a:srgbClr val="53BBD4">
              <a:alpha val="95000"/>
            </a:srgbClr>
          </a:solidFill>
        </p:spPr>
        <p:txBody>
          <a:bodyPr vert="horz" lIns="182880" tIns="182880" rIns="91440" bIns="182880" rtlCol="0" anchor="b" anchorCtr="0">
            <a:noAutofit/>
          </a:bodyPr>
          <a:lstStyle>
            <a:lvl1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dirty="0">
                <a:solidFill>
                  <a:schemeClr val="bg1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2936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3111" y="210314"/>
            <a:ext cx="10972800" cy="116681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588037" y="1321935"/>
            <a:ext cx="10973620" cy="609951"/>
          </a:xfrm>
          <a:prstGeom prst="rect">
            <a:avLst/>
          </a:prstGeom>
          <a:solidFill>
            <a:schemeClr val="tx2"/>
          </a:solidFill>
        </p:spPr>
        <p:txBody>
          <a:bodyPr lIns="914400" bIns="137160" anchor="ctr" anchorCtr="0"/>
          <a:lstStyle>
            <a:lvl1pPr marL="0" indent="0" algn="l">
              <a:lnSpc>
                <a:spcPts val="3840"/>
              </a:lnSpc>
              <a:buNone/>
              <a:defRPr sz="2133" b="1" cap="all">
                <a:solidFill>
                  <a:schemeClr val="bg1"/>
                </a:solidFill>
              </a:defRPr>
            </a:lvl1pPr>
            <a:lvl2pPr>
              <a:defRPr sz="2667" b="0">
                <a:solidFill>
                  <a:schemeClr val="tx1"/>
                </a:solidFill>
              </a:defRPr>
            </a:lvl2pPr>
            <a:lvl3pPr>
              <a:defRPr sz="2400" b="0">
                <a:solidFill>
                  <a:schemeClr val="tx1"/>
                </a:solidFill>
              </a:defRPr>
            </a:lvl3pPr>
            <a:lvl4pPr>
              <a:defRPr sz="2133" b="0">
                <a:solidFill>
                  <a:schemeClr val="tx1"/>
                </a:solidFill>
              </a:defRPr>
            </a:lvl4pPr>
            <a:lvl5pPr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 smtClean="0"/>
              <a:t>CLICK TO EDIT MASTER TEXT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588037" y="2103354"/>
            <a:ext cx="10973620" cy="609951"/>
          </a:xfrm>
          <a:prstGeom prst="rect">
            <a:avLst/>
          </a:prstGeom>
          <a:solidFill>
            <a:schemeClr val="tx2"/>
          </a:solidFill>
        </p:spPr>
        <p:txBody>
          <a:bodyPr lIns="914400" bIns="137160" anchor="ctr" anchorCtr="0"/>
          <a:lstStyle>
            <a:lvl1pPr marL="0" indent="0" algn="l">
              <a:lnSpc>
                <a:spcPts val="3840"/>
              </a:lnSpc>
              <a:buNone/>
              <a:defRPr sz="2133" b="1" cap="all">
                <a:solidFill>
                  <a:schemeClr val="bg1"/>
                </a:solidFill>
              </a:defRPr>
            </a:lvl1pPr>
            <a:lvl2pPr>
              <a:defRPr sz="2667" b="0">
                <a:solidFill>
                  <a:schemeClr val="tx1"/>
                </a:solidFill>
              </a:defRPr>
            </a:lvl2pPr>
            <a:lvl3pPr>
              <a:defRPr sz="2400" b="0">
                <a:solidFill>
                  <a:schemeClr val="tx1"/>
                </a:solidFill>
              </a:defRPr>
            </a:lvl3pPr>
            <a:lvl4pPr>
              <a:defRPr sz="2133" b="0">
                <a:solidFill>
                  <a:schemeClr val="tx1"/>
                </a:solidFill>
              </a:defRPr>
            </a:lvl4pPr>
            <a:lvl5pPr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 smtClean="0"/>
              <a:t>CLICK TO EDIT MASTER TEXT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2" hasCustomPrompt="1"/>
          </p:nvPr>
        </p:nvSpPr>
        <p:spPr bwMode="gray">
          <a:xfrm>
            <a:off x="588037" y="5229030"/>
            <a:ext cx="10973620" cy="609951"/>
          </a:xfrm>
          <a:prstGeom prst="rect">
            <a:avLst/>
          </a:prstGeom>
          <a:solidFill>
            <a:schemeClr val="tx2"/>
          </a:solidFill>
        </p:spPr>
        <p:txBody>
          <a:bodyPr lIns="914400" bIns="137160" anchor="ctr" anchorCtr="0"/>
          <a:lstStyle>
            <a:lvl1pPr marL="0" indent="0" algn="l">
              <a:lnSpc>
                <a:spcPts val="3840"/>
              </a:lnSpc>
              <a:buNone/>
              <a:defRPr sz="2133" b="1" cap="all">
                <a:solidFill>
                  <a:schemeClr val="bg1"/>
                </a:solidFill>
              </a:defRPr>
            </a:lvl1pPr>
            <a:lvl2pPr>
              <a:defRPr sz="2667" b="0">
                <a:solidFill>
                  <a:schemeClr val="tx1"/>
                </a:solidFill>
              </a:defRPr>
            </a:lvl2pPr>
            <a:lvl3pPr>
              <a:defRPr sz="2400" b="0">
                <a:solidFill>
                  <a:schemeClr val="tx1"/>
                </a:solidFill>
              </a:defRPr>
            </a:lvl3pPr>
            <a:lvl4pPr>
              <a:defRPr sz="2133" b="0">
                <a:solidFill>
                  <a:schemeClr val="tx1"/>
                </a:solidFill>
              </a:defRPr>
            </a:lvl4pPr>
            <a:lvl5pPr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 smtClean="0"/>
              <a:t>CLICK TO EDIT MASTER TEXT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3" hasCustomPrompt="1"/>
          </p:nvPr>
        </p:nvSpPr>
        <p:spPr bwMode="gray">
          <a:xfrm>
            <a:off x="588037" y="2884773"/>
            <a:ext cx="10973620" cy="609951"/>
          </a:xfrm>
          <a:prstGeom prst="rect">
            <a:avLst/>
          </a:prstGeom>
          <a:solidFill>
            <a:schemeClr val="tx2"/>
          </a:solidFill>
        </p:spPr>
        <p:txBody>
          <a:bodyPr lIns="914400" bIns="137160" anchor="ctr" anchorCtr="0"/>
          <a:lstStyle>
            <a:lvl1pPr marL="0" indent="0" algn="l">
              <a:lnSpc>
                <a:spcPts val="3840"/>
              </a:lnSpc>
              <a:buNone/>
              <a:defRPr sz="2133" b="1" cap="all">
                <a:solidFill>
                  <a:schemeClr val="bg1"/>
                </a:solidFill>
              </a:defRPr>
            </a:lvl1pPr>
            <a:lvl2pPr>
              <a:defRPr sz="2667" b="0">
                <a:solidFill>
                  <a:schemeClr val="tx1"/>
                </a:solidFill>
              </a:defRPr>
            </a:lvl2pPr>
            <a:lvl3pPr>
              <a:defRPr sz="2400" b="0">
                <a:solidFill>
                  <a:schemeClr val="tx1"/>
                </a:solidFill>
              </a:defRPr>
            </a:lvl3pPr>
            <a:lvl4pPr>
              <a:defRPr sz="2133" b="0">
                <a:solidFill>
                  <a:schemeClr val="tx1"/>
                </a:solidFill>
              </a:defRPr>
            </a:lvl4pPr>
            <a:lvl5pPr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 smtClean="0"/>
              <a:t>CLICK TO EDIT MASTER 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4" hasCustomPrompt="1"/>
          </p:nvPr>
        </p:nvSpPr>
        <p:spPr bwMode="gray">
          <a:xfrm>
            <a:off x="588037" y="3666191"/>
            <a:ext cx="10973620" cy="609951"/>
          </a:xfrm>
          <a:prstGeom prst="rect">
            <a:avLst/>
          </a:prstGeom>
          <a:solidFill>
            <a:schemeClr val="tx2"/>
          </a:solidFill>
        </p:spPr>
        <p:txBody>
          <a:bodyPr lIns="914400" bIns="137160" anchor="ctr" anchorCtr="0"/>
          <a:lstStyle>
            <a:lvl1pPr marL="0" indent="0" algn="l">
              <a:lnSpc>
                <a:spcPts val="3840"/>
              </a:lnSpc>
              <a:buNone/>
              <a:defRPr sz="2133" b="1" cap="all">
                <a:solidFill>
                  <a:schemeClr val="bg1"/>
                </a:solidFill>
              </a:defRPr>
            </a:lvl1pPr>
            <a:lvl2pPr>
              <a:defRPr sz="2667" b="0">
                <a:solidFill>
                  <a:schemeClr val="tx1"/>
                </a:solidFill>
              </a:defRPr>
            </a:lvl2pPr>
            <a:lvl3pPr>
              <a:defRPr sz="2400" b="0">
                <a:solidFill>
                  <a:schemeClr val="tx1"/>
                </a:solidFill>
              </a:defRPr>
            </a:lvl3pPr>
            <a:lvl4pPr>
              <a:defRPr sz="2133" b="0">
                <a:solidFill>
                  <a:schemeClr val="tx1"/>
                </a:solidFill>
              </a:defRPr>
            </a:lvl4pPr>
            <a:lvl5pPr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 smtClean="0"/>
              <a:t>CLICK TO EDIT MASTER TEXT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 hasCustomPrompt="1"/>
          </p:nvPr>
        </p:nvSpPr>
        <p:spPr bwMode="gray">
          <a:xfrm>
            <a:off x="588037" y="4447611"/>
            <a:ext cx="10973620" cy="609951"/>
          </a:xfrm>
          <a:prstGeom prst="rect">
            <a:avLst/>
          </a:prstGeom>
          <a:solidFill>
            <a:schemeClr val="tx2"/>
          </a:solidFill>
        </p:spPr>
        <p:txBody>
          <a:bodyPr lIns="914400" bIns="137160" anchor="ctr" anchorCtr="0"/>
          <a:lstStyle>
            <a:lvl1pPr marL="0" indent="0" algn="l">
              <a:lnSpc>
                <a:spcPts val="3840"/>
              </a:lnSpc>
              <a:buNone/>
              <a:defRPr sz="2133" b="1" cap="all">
                <a:solidFill>
                  <a:schemeClr val="bg1"/>
                </a:solidFill>
              </a:defRPr>
            </a:lvl1pPr>
            <a:lvl2pPr>
              <a:defRPr sz="2667" b="0">
                <a:solidFill>
                  <a:schemeClr val="tx1"/>
                </a:solidFill>
              </a:defRPr>
            </a:lvl2pPr>
            <a:lvl3pPr>
              <a:defRPr sz="2400" b="0">
                <a:solidFill>
                  <a:schemeClr val="tx1"/>
                </a:solidFill>
              </a:defRPr>
            </a:lvl3pPr>
            <a:lvl4pPr>
              <a:defRPr sz="2133" b="0">
                <a:solidFill>
                  <a:schemeClr val="tx1"/>
                </a:solidFill>
              </a:defRPr>
            </a:lvl4pPr>
            <a:lvl5pPr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 smtClean="0"/>
              <a:t>CLICK TO EDIT MASTER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931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4575" y="210314"/>
            <a:ext cx="10972800" cy="116681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05936" y="1395004"/>
            <a:ext cx="5384800" cy="4513783"/>
          </a:xfrm>
          <a:prstGeom prst="rect">
            <a:avLst/>
          </a:prstGeom>
        </p:spPr>
        <p:txBody>
          <a:bodyPr/>
          <a:lstStyle>
            <a:lvl1pPr>
              <a:lnSpc>
                <a:spcPts val="3840"/>
              </a:lnSpc>
              <a:defRPr sz="3200" b="0">
                <a:solidFill>
                  <a:schemeClr val="tx1"/>
                </a:solidFill>
              </a:defRPr>
            </a:lvl1pPr>
            <a:lvl2pPr>
              <a:defRPr sz="2667" b="0">
                <a:solidFill>
                  <a:schemeClr val="tx1"/>
                </a:solidFill>
              </a:defRPr>
            </a:lvl2pPr>
            <a:lvl3pPr>
              <a:defRPr sz="2400" b="0">
                <a:solidFill>
                  <a:schemeClr val="tx1"/>
                </a:solidFill>
              </a:defRPr>
            </a:lvl3pPr>
            <a:lvl4pPr>
              <a:defRPr sz="2133" b="0">
                <a:solidFill>
                  <a:schemeClr val="tx1"/>
                </a:solidFill>
              </a:defRPr>
            </a:lvl4pPr>
            <a:lvl5pPr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197600" y="1395004"/>
            <a:ext cx="5384800" cy="4513783"/>
          </a:xfrm>
          <a:prstGeom prst="rect">
            <a:avLst/>
          </a:prstGeom>
        </p:spPr>
        <p:txBody>
          <a:bodyPr/>
          <a:lstStyle>
            <a:lvl1pPr>
              <a:defRPr sz="3200" b="0">
                <a:solidFill>
                  <a:schemeClr val="tx1"/>
                </a:solidFill>
              </a:defRPr>
            </a:lvl1pPr>
            <a:lvl2pPr>
              <a:defRPr sz="2667" b="0">
                <a:solidFill>
                  <a:schemeClr val="tx1"/>
                </a:solidFill>
              </a:defRPr>
            </a:lvl2pPr>
            <a:lvl3pPr>
              <a:defRPr sz="2400" b="0">
                <a:solidFill>
                  <a:schemeClr val="tx1"/>
                </a:solidFill>
              </a:defRPr>
            </a:lvl3pPr>
            <a:lvl4pPr>
              <a:defRPr sz="2133" b="0">
                <a:solidFill>
                  <a:schemeClr val="tx1"/>
                </a:solidFill>
              </a:defRPr>
            </a:lvl4pPr>
            <a:lvl5pPr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6228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6039" y="210314"/>
            <a:ext cx="10972800" cy="60933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12" name="Content Placeholder 5"/>
          <p:cNvSpPr>
            <a:spLocks noGrp="1"/>
          </p:cNvSpPr>
          <p:nvPr>
            <p:ph sz="quarter" idx="11" hasCustomPrompt="1"/>
          </p:nvPr>
        </p:nvSpPr>
        <p:spPr bwMode="gray">
          <a:xfrm>
            <a:off x="519430" y="865881"/>
            <a:ext cx="10966028" cy="338555"/>
          </a:xfrm>
        </p:spPr>
        <p:txBody>
          <a:bodyPr vert="horz" lIns="91440" tIns="0" rIns="91440" bIns="0" rtlCol="0" anchor="t">
            <a:sp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 smtClean="0"/>
              <a:t>Subtitle | 18 </a:t>
            </a:r>
            <a:r>
              <a:rPr lang="en-US" dirty="0" err="1" smtClean="0"/>
              <a:t>Pt</a:t>
            </a:r>
            <a:r>
              <a:rPr lang="en-US" dirty="0" smtClean="0"/>
              <a:t> | Max 2 Lines | Max Character: 100 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609600" y="1395004"/>
            <a:ext cx="5384800" cy="4513783"/>
          </a:xfrm>
          <a:prstGeom prst="rect">
            <a:avLst/>
          </a:prstGeom>
        </p:spPr>
        <p:txBody>
          <a:bodyPr/>
          <a:lstStyle>
            <a:lvl1pPr>
              <a:lnSpc>
                <a:spcPts val="3840"/>
              </a:lnSpc>
              <a:defRPr sz="3200" b="0">
                <a:solidFill>
                  <a:schemeClr val="tx1"/>
                </a:solidFill>
              </a:defRPr>
            </a:lvl1pPr>
            <a:lvl2pPr>
              <a:defRPr sz="2667" b="0">
                <a:solidFill>
                  <a:schemeClr val="tx1"/>
                </a:solidFill>
              </a:defRPr>
            </a:lvl2pPr>
            <a:lvl3pPr>
              <a:defRPr sz="2400" b="0">
                <a:solidFill>
                  <a:schemeClr val="tx1"/>
                </a:solidFill>
              </a:defRPr>
            </a:lvl3pPr>
            <a:lvl4pPr>
              <a:defRPr sz="2133" b="0">
                <a:solidFill>
                  <a:schemeClr val="tx1"/>
                </a:solidFill>
              </a:defRPr>
            </a:lvl4pPr>
            <a:lvl5pPr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197600" y="1395004"/>
            <a:ext cx="5384800" cy="4513783"/>
          </a:xfrm>
          <a:prstGeom prst="rect">
            <a:avLst/>
          </a:prstGeom>
        </p:spPr>
        <p:txBody>
          <a:bodyPr/>
          <a:lstStyle>
            <a:lvl1pPr>
              <a:defRPr sz="3200" b="0">
                <a:solidFill>
                  <a:schemeClr val="tx1"/>
                </a:solidFill>
              </a:defRPr>
            </a:lvl1pPr>
            <a:lvl2pPr>
              <a:defRPr sz="2667" b="0">
                <a:solidFill>
                  <a:schemeClr val="tx1"/>
                </a:solidFill>
              </a:defRPr>
            </a:lvl2pPr>
            <a:lvl3pPr>
              <a:defRPr sz="2400" b="0">
                <a:solidFill>
                  <a:schemeClr val="tx1"/>
                </a:solidFill>
              </a:defRPr>
            </a:lvl3pPr>
            <a:lvl4pPr>
              <a:defRPr sz="2133" b="0">
                <a:solidFill>
                  <a:schemeClr val="tx1"/>
                </a:solidFill>
              </a:defRPr>
            </a:lvl4pPr>
            <a:lvl5pPr>
              <a:defRPr sz="1867" b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3798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4575" y="210314"/>
            <a:ext cx="10972800" cy="116681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1792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6039" y="210314"/>
            <a:ext cx="10972800" cy="60933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5" name="Content Placeholder 5"/>
          <p:cNvSpPr>
            <a:spLocks noGrp="1"/>
          </p:cNvSpPr>
          <p:nvPr>
            <p:ph sz="quarter" idx="11" hasCustomPrompt="1"/>
          </p:nvPr>
        </p:nvSpPr>
        <p:spPr bwMode="gray">
          <a:xfrm>
            <a:off x="519430" y="865881"/>
            <a:ext cx="10966028" cy="338555"/>
          </a:xfrm>
        </p:spPr>
        <p:txBody>
          <a:bodyPr vert="horz" lIns="91440" tIns="0" rIns="91440" bIns="0" rtlCol="0" anchor="t">
            <a:sp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 smtClean="0"/>
              <a:t>Subtitle | 18 </a:t>
            </a:r>
            <a:r>
              <a:rPr lang="en-US" dirty="0" err="1" smtClean="0"/>
              <a:t>Pt</a:t>
            </a:r>
            <a:r>
              <a:rPr lang="en-US" dirty="0" smtClean="0"/>
              <a:t> | Max 2 Lines | Max Character: 100 </a:t>
            </a:r>
          </a:p>
        </p:txBody>
      </p:sp>
    </p:spTree>
    <p:extLst>
      <p:ext uri="{BB962C8B-B14F-4D97-AF65-F5344CB8AC3E}">
        <p14:creationId xmlns:p14="http://schemas.microsoft.com/office/powerpoint/2010/main" val="4075599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60976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10314"/>
            <a:ext cx="10972800" cy="116681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  <p:sp>
        <p:nvSpPr>
          <p:cNvPr id="3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12820" y="5924673"/>
            <a:ext cx="10966360" cy="236539"/>
          </a:xfrm>
        </p:spPr>
        <p:txBody>
          <a:bodyPr tIns="45720" bIns="4572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333">
                <a:solidFill>
                  <a:schemeClr val="tx2"/>
                </a:solidFill>
              </a:defRPr>
            </a:lvl1pPr>
            <a:lvl2pPr marL="524920" indent="0">
              <a:buNone/>
              <a:defRPr sz="1467"/>
            </a:lvl2pPr>
            <a:lvl3pPr marL="999042" indent="0">
              <a:buNone/>
              <a:defRPr sz="1467"/>
            </a:lvl3pPr>
            <a:lvl4pPr marL="1456230" indent="0">
              <a:buNone/>
              <a:defRPr sz="1467"/>
            </a:lvl4pPr>
            <a:lvl5pPr marL="1828754" indent="0">
              <a:buNone/>
              <a:defRPr sz="1467"/>
            </a:lvl5pPr>
          </a:lstStyle>
          <a:p>
            <a:pPr lvl="0"/>
            <a:r>
              <a:rPr lang="en-US" dirty="0" smtClean="0"/>
              <a:t>Click to add a Source or Note</a:t>
            </a:r>
          </a:p>
        </p:txBody>
      </p:sp>
    </p:spTree>
    <p:extLst>
      <p:ext uri="{BB962C8B-B14F-4D97-AF65-F5344CB8AC3E}">
        <p14:creationId xmlns:p14="http://schemas.microsoft.com/office/powerpoint/2010/main" val="753324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846907" y="1278384"/>
            <a:ext cx="3265200" cy="23292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4458228" y="1278384"/>
            <a:ext cx="3265200" cy="23292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8069550" y="1278384"/>
            <a:ext cx="3265200" cy="23292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846908" y="3884251"/>
            <a:ext cx="3265200" cy="23292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4458229" y="3884251"/>
            <a:ext cx="3265200" cy="23292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8069550" y="3884251"/>
            <a:ext cx="3265200" cy="23292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62521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91" userDrawn="1">
          <p15:clr>
            <a:srgbClr val="FBAE40"/>
          </p15:clr>
        </p15:guide>
        <p15:guide id="2" pos="2808" userDrawn="1">
          <p15:clr>
            <a:srgbClr val="FBAE40"/>
          </p15:clr>
        </p15:guide>
        <p15:guide id="3" pos="4866" userDrawn="1">
          <p15:clr>
            <a:srgbClr val="FBAE40"/>
          </p15:clr>
        </p15:guide>
        <p15:guide id="4" pos="5082" userDrawn="1">
          <p15:clr>
            <a:srgbClr val="FBAE40"/>
          </p15:clr>
        </p15:guide>
        <p15:guide id="5" orient="horz" pos="2274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</p15:sldGuideLst>
    </p:ext>
  </p:extLs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lide0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6509" y="1164005"/>
            <a:ext cx="10972800" cy="757130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6836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 bwMode="gray">
          <a:xfrm>
            <a:off x="0" y="1643200"/>
            <a:ext cx="11339513" cy="3055937"/>
            <a:chOff x="409575" y="3144838"/>
            <a:chExt cx="11339513" cy="3055937"/>
          </a:xfrm>
        </p:grpSpPr>
        <p:sp>
          <p:nvSpPr>
            <p:cNvPr id="45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842434" y="2116801"/>
            <a:ext cx="10313209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240705"/>
            <a:ext cx="7082733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20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01" y="3556800"/>
            <a:ext cx="10305675" cy="385233"/>
          </a:xfrm>
        </p:spPr>
        <p:txBody>
          <a:bodyPr>
            <a:noAutofit/>
          </a:bodyPr>
          <a:lstStyle>
            <a:lvl1pPr>
              <a:lnSpc>
                <a:spcPts val="2199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5242061"/>
            <a:ext cx="2196000" cy="1318571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838200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3015150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426676" y="6559200"/>
            <a:ext cx="3600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-426676" y="6200775"/>
            <a:ext cx="3600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1206675" y="7019956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506675" y="6266693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-426676" y="5242062"/>
            <a:ext cx="3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 userDrawn="1"/>
        </p:nvSpPr>
        <p:spPr>
          <a:xfrm>
            <a:off x="-1506675" y="5297119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grpSp>
        <p:nvGrpSpPr>
          <p:cNvPr id="53" name="Group 52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54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5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167642" y="4291504"/>
            <a:ext cx="298800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380068222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  <p15:guide id="2" orient="horz" pos="3304">
          <p15:clr>
            <a:srgbClr val="FBAE40"/>
          </p15:clr>
        </p15:guide>
      </p15:sldGuideLst>
    </p:ext>
  </p:extLs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6" y="1278385"/>
            <a:ext cx="1048917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61" indent="-268261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21" indent="-266673">
              <a:buClr>
                <a:schemeClr val="accent2"/>
              </a:buClr>
              <a:defRPr/>
            </a:lvl3pPr>
            <a:lvl4pPr marL="807958" indent="-260324">
              <a:buClr>
                <a:schemeClr val="accent3"/>
              </a:buClr>
              <a:defRPr/>
            </a:lvl4pPr>
            <a:lvl5pPr marL="1071455" indent="-252387">
              <a:buClr>
                <a:schemeClr val="accent4"/>
              </a:buCl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49189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6" y="1795637"/>
            <a:ext cx="10489175" cy="44051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61" indent="-268261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21" indent="-266673">
              <a:buClr>
                <a:schemeClr val="accent2"/>
              </a:buClr>
              <a:defRPr/>
            </a:lvl3pPr>
            <a:lvl4pPr marL="807958" indent="-260324">
              <a:buClr>
                <a:schemeClr val="accent3"/>
              </a:buClr>
              <a:defRPr/>
            </a:lvl4pPr>
            <a:lvl5pPr marL="1071455" indent="-252387">
              <a:buClr>
                <a:schemeClr val="accent4"/>
              </a:buCl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845575" y="1277982"/>
            <a:ext cx="10489175" cy="436017"/>
          </a:xfrm>
        </p:spPr>
        <p:txBody>
          <a:bodyPr>
            <a:noAutofit/>
          </a:bodyPr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2801733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6" y="1278385"/>
            <a:ext cx="1048917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8261" indent="-268261">
              <a:buClr>
                <a:schemeClr val="accent1"/>
              </a:buClr>
              <a:buFont typeface="ING Me" pitchFamily="2" charset="0"/>
              <a:buChar char="•"/>
              <a:defRPr/>
            </a:lvl1pPr>
            <a:lvl2pPr marL="538110" indent="-268261">
              <a:buClr>
                <a:schemeClr val="accent2"/>
              </a:buClr>
              <a:buFont typeface="ING Me" pitchFamily="2" charset="0"/>
              <a:buChar char="•"/>
              <a:defRPr/>
            </a:lvl2pPr>
            <a:lvl3pPr marL="804782" indent="-266673">
              <a:buClr>
                <a:schemeClr val="accent3"/>
              </a:buClr>
              <a:defRPr/>
            </a:lvl3pPr>
            <a:lvl4pPr marL="1077806" indent="-260324">
              <a:buClr>
                <a:schemeClr val="accent4"/>
              </a:buClr>
              <a:defRPr/>
            </a:lvl4pPr>
            <a:lvl5pPr marL="1341303" indent="-252387">
              <a:buClr>
                <a:schemeClr val="accent5"/>
              </a:buCl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4058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1376203" y="1394143"/>
            <a:ext cx="2520000" cy="494294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44604" y="1394143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Authentication &amp; Security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44604" y="1985096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Front End Application Framework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44604" y="2576051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GPAM &amp; Authorization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44604" y="3167006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Customer Context &amp; Notification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44604" y="3757959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API Platform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44604" y="4348912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API Foundation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44604" y="4939867"/>
            <a:ext cx="1217172" cy="540000"/>
          </a:xfrm>
          <a:prstGeom prst="rect">
            <a:avLst/>
          </a:prstGeom>
          <a:solidFill>
            <a:srgbClr val="FFC000">
              <a:alpha val="40000"/>
            </a:srgbClr>
          </a:solidFill>
          <a:ln w="6350">
            <a:solidFill>
              <a:srgbClr val="FF62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Assembly Platform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44604" y="5530822"/>
            <a:ext cx="1217172" cy="540000"/>
          </a:xfrm>
          <a:prstGeom prst="rect">
            <a:avLst/>
          </a:prstGeom>
          <a:solidFill>
            <a:srgbClr val="FFC000">
              <a:alpha val="40000"/>
            </a:srgbClr>
          </a:solidFill>
          <a:ln w="6350">
            <a:solidFill>
              <a:srgbClr val="FF62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Experience Design</a:t>
            </a:r>
          </a:p>
        </p:txBody>
      </p:sp>
      <p:sp>
        <p:nvSpPr>
          <p:cNvPr id="29" name="TextBox 40"/>
          <p:cNvSpPr txBox="1"/>
          <p:nvPr userDrawn="1"/>
        </p:nvSpPr>
        <p:spPr>
          <a:xfrm>
            <a:off x="5054852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Q2</a:t>
            </a:r>
          </a:p>
        </p:txBody>
      </p:sp>
      <p:sp>
        <p:nvSpPr>
          <p:cNvPr id="37" name="Rectangle 36"/>
          <p:cNvSpPr/>
          <p:nvPr userDrawn="1"/>
        </p:nvSpPr>
        <p:spPr>
          <a:xfrm>
            <a:off x="3955716" y="1394143"/>
            <a:ext cx="2520000" cy="494294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9114750" y="1394143"/>
            <a:ext cx="2520000" cy="494294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6535224" y="1394143"/>
            <a:ext cx="2520000" cy="494294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40" name="TextBox 40"/>
          <p:cNvSpPr txBox="1"/>
          <p:nvPr userDrawn="1"/>
        </p:nvSpPr>
        <p:spPr>
          <a:xfrm>
            <a:off x="2475336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Q1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7634368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Q3</a:t>
            </a:r>
          </a:p>
        </p:txBody>
      </p:sp>
      <p:sp>
        <p:nvSpPr>
          <p:cNvPr id="42" name="TextBox 29"/>
          <p:cNvSpPr txBox="1"/>
          <p:nvPr userDrawn="1"/>
        </p:nvSpPr>
        <p:spPr>
          <a:xfrm>
            <a:off x="10213883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Q4</a:t>
            </a:r>
          </a:p>
        </p:txBody>
      </p:sp>
    </p:spTree>
    <p:extLst>
      <p:ext uri="{BB962C8B-B14F-4D97-AF65-F5344CB8AC3E}">
        <p14:creationId xmlns:p14="http://schemas.microsoft.com/office/powerpoint/2010/main" val="12463963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1324737" y="1394143"/>
            <a:ext cx="741993" cy="494294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3937748" y="1394143"/>
            <a:ext cx="741993" cy="494294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9163765" y="1394143"/>
            <a:ext cx="741993" cy="494294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6550756" y="1394143"/>
            <a:ext cx="741993" cy="494294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44604" y="1394143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Authentication &amp; Security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44604" y="1985096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Front End Application Framework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44604" y="2576051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GPAM &amp; Authorization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44604" y="3167006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Customer Context &amp; Notification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44604" y="3757959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API Platform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44604" y="4348912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API Foundation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44604" y="4939867"/>
            <a:ext cx="1217172" cy="540000"/>
          </a:xfrm>
          <a:prstGeom prst="rect">
            <a:avLst/>
          </a:prstGeom>
          <a:solidFill>
            <a:srgbClr val="FFC000">
              <a:alpha val="40000"/>
            </a:srgbClr>
          </a:solidFill>
          <a:ln w="6350">
            <a:solidFill>
              <a:srgbClr val="FF62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Assembly Platform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44604" y="5530822"/>
            <a:ext cx="1217172" cy="540000"/>
          </a:xfrm>
          <a:prstGeom prst="rect">
            <a:avLst/>
          </a:prstGeom>
          <a:solidFill>
            <a:srgbClr val="FFC000">
              <a:alpha val="40000"/>
            </a:srgbClr>
          </a:solidFill>
          <a:ln w="6350">
            <a:solidFill>
              <a:srgbClr val="FF62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Experience Design</a:t>
            </a:r>
          </a:p>
        </p:txBody>
      </p:sp>
      <p:sp>
        <p:nvSpPr>
          <p:cNvPr id="26" name="TextBox 24"/>
          <p:cNvSpPr txBox="1"/>
          <p:nvPr userDrawn="1"/>
        </p:nvSpPr>
        <p:spPr>
          <a:xfrm>
            <a:off x="7684322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Aug</a:t>
            </a:r>
          </a:p>
        </p:txBody>
      </p:sp>
      <p:sp>
        <p:nvSpPr>
          <p:cNvPr id="27" name="TextBox 28"/>
          <p:cNvSpPr txBox="1"/>
          <p:nvPr userDrawn="1"/>
        </p:nvSpPr>
        <p:spPr>
          <a:xfrm>
            <a:off x="10314747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Nov</a:t>
            </a:r>
          </a:p>
        </p:txBody>
      </p:sp>
      <p:sp>
        <p:nvSpPr>
          <p:cNvPr id="28" name="TextBox 29"/>
          <p:cNvSpPr txBox="1"/>
          <p:nvPr userDrawn="1"/>
        </p:nvSpPr>
        <p:spPr>
          <a:xfrm>
            <a:off x="5018880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May</a:t>
            </a:r>
          </a:p>
        </p:txBody>
      </p:sp>
      <p:sp>
        <p:nvSpPr>
          <p:cNvPr id="29" name="TextBox 40"/>
          <p:cNvSpPr txBox="1"/>
          <p:nvPr userDrawn="1"/>
        </p:nvSpPr>
        <p:spPr>
          <a:xfrm>
            <a:off x="2423477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Feb</a:t>
            </a:r>
          </a:p>
        </p:txBody>
      </p:sp>
      <p:sp>
        <p:nvSpPr>
          <p:cNvPr id="32" name="Rectangle 31"/>
          <p:cNvSpPr/>
          <p:nvPr userDrawn="1"/>
        </p:nvSpPr>
        <p:spPr>
          <a:xfrm>
            <a:off x="2195743" y="1394143"/>
            <a:ext cx="741993" cy="494294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4808751" y="1394143"/>
            <a:ext cx="741993" cy="494294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10034770" y="1394143"/>
            <a:ext cx="741993" cy="494294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35" name="Rectangle 34"/>
          <p:cNvSpPr/>
          <p:nvPr userDrawn="1"/>
        </p:nvSpPr>
        <p:spPr>
          <a:xfrm>
            <a:off x="7421760" y="1394143"/>
            <a:ext cx="741993" cy="494294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36" name="Rectangle 35"/>
          <p:cNvSpPr/>
          <p:nvPr userDrawn="1"/>
        </p:nvSpPr>
        <p:spPr>
          <a:xfrm>
            <a:off x="3066745" y="1394143"/>
            <a:ext cx="741993" cy="494294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5679754" y="1394143"/>
            <a:ext cx="741993" cy="494294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10905775" y="1394143"/>
            <a:ext cx="741993" cy="494294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8292762" y="1394143"/>
            <a:ext cx="741993" cy="494294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40" name="TextBox 40"/>
          <p:cNvSpPr txBox="1"/>
          <p:nvPr userDrawn="1"/>
        </p:nvSpPr>
        <p:spPr>
          <a:xfrm>
            <a:off x="1534866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Jan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3276874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Mar</a:t>
            </a:r>
          </a:p>
        </p:txBody>
      </p:sp>
      <p:sp>
        <p:nvSpPr>
          <p:cNvPr id="42" name="TextBox 29"/>
          <p:cNvSpPr txBox="1"/>
          <p:nvPr userDrawn="1"/>
        </p:nvSpPr>
        <p:spPr>
          <a:xfrm>
            <a:off x="4147877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Apr</a:t>
            </a:r>
          </a:p>
        </p:txBody>
      </p:sp>
      <p:sp>
        <p:nvSpPr>
          <p:cNvPr id="43" name="TextBox 29"/>
          <p:cNvSpPr txBox="1"/>
          <p:nvPr userDrawn="1"/>
        </p:nvSpPr>
        <p:spPr>
          <a:xfrm>
            <a:off x="5889883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Jun</a:t>
            </a:r>
          </a:p>
        </p:txBody>
      </p:sp>
      <p:sp>
        <p:nvSpPr>
          <p:cNvPr id="44" name="TextBox 29"/>
          <p:cNvSpPr txBox="1"/>
          <p:nvPr userDrawn="1"/>
        </p:nvSpPr>
        <p:spPr>
          <a:xfrm>
            <a:off x="6760885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Jul</a:t>
            </a:r>
          </a:p>
        </p:txBody>
      </p:sp>
      <p:sp>
        <p:nvSpPr>
          <p:cNvPr id="45" name="TextBox 24"/>
          <p:cNvSpPr txBox="1"/>
          <p:nvPr userDrawn="1"/>
        </p:nvSpPr>
        <p:spPr>
          <a:xfrm>
            <a:off x="8476059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Sep</a:t>
            </a:r>
          </a:p>
        </p:txBody>
      </p:sp>
      <p:sp>
        <p:nvSpPr>
          <p:cNvPr id="46" name="TextBox 24"/>
          <p:cNvSpPr txBox="1"/>
          <p:nvPr userDrawn="1"/>
        </p:nvSpPr>
        <p:spPr>
          <a:xfrm>
            <a:off x="9373894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Oct</a:t>
            </a:r>
          </a:p>
        </p:txBody>
      </p:sp>
      <p:sp>
        <p:nvSpPr>
          <p:cNvPr id="47" name="TextBox 28"/>
          <p:cNvSpPr txBox="1"/>
          <p:nvPr userDrawn="1"/>
        </p:nvSpPr>
        <p:spPr>
          <a:xfrm>
            <a:off x="11115904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Dec</a:t>
            </a:r>
          </a:p>
        </p:txBody>
      </p:sp>
    </p:spTree>
    <p:extLst>
      <p:ext uri="{BB962C8B-B14F-4D97-AF65-F5344CB8AC3E}">
        <p14:creationId xmlns:p14="http://schemas.microsoft.com/office/powerpoint/2010/main" val="42214176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6" y="1278385"/>
            <a:ext cx="1048917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4852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/>
          <p:cNvGrpSpPr>
            <a:grpSpLocks noChangeAspect="1"/>
          </p:cNvGrpSpPr>
          <p:nvPr userDrawn="1"/>
        </p:nvGrpSpPr>
        <p:grpSpPr bwMode="gray">
          <a:xfrm>
            <a:off x="1" y="1643200"/>
            <a:ext cx="5909320" cy="3045600"/>
            <a:chOff x="3465513" y="2070100"/>
            <a:chExt cx="5260975" cy="2711450"/>
          </a:xfrm>
        </p:grpSpPr>
        <p:sp>
          <p:nvSpPr>
            <p:cNvPr id="67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65" name="Picture Placeholder 64"/>
          <p:cNvSpPr>
            <a:spLocks noGrp="1"/>
          </p:cNvSpPr>
          <p:nvPr>
            <p:ph type="pic" sz="quarter" idx="12"/>
          </p:nvPr>
        </p:nvSpPr>
        <p:spPr bwMode="gray">
          <a:xfrm>
            <a:off x="-3175" y="2"/>
            <a:ext cx="12195175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79712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842434" y="2012286"/>
            <a:ext cx="4877966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031479"/>
            <a:ext cx="4877966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17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34" y="3603487"/>
            <a:ext cx="4877966" cy="290712"/>
          </a:xfrm>
        </p:spPr>
        <p:txBody>
          <a:bodyPr bIns="0">
            <a:noAutofit/>
          </a:bodyPr>
          <a:lstStyle>
            <a:lvl1pPr algn="l">
              <a:lnSpc>
                <a:spcPts val="1699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6055201"/>
            <a:ext cx="219600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3015150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-426676" y="6200775"/>
            <a:ext cx="3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1206675" y="7019956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1506675" y="6266693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838200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-426676" y="6559200"/>
            <a:ext cx="3600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78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0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1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2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3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4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5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6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7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8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89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0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1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2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3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4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5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6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7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8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42434" y="4381898"/>
            <a:ext cx="4878000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4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60846084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 userDrawn="1"/>
        </p:nvGrpSpPr>
        <p:grpSpPr bwMode="gray">
          <a:xfrm>
            <a:off x="0" y="1643200"/>
            <a:ext cx="11339513" cy="3055937"/>
            <a:chOff x="409575" y="3144838"/>
            <a:chExt cx="11339513" cy="3055937"/>
          </a:xfrm>
        </p:grpSpPr>
        <p:sp>
          <p:nvSpPr>
            <p:cNvPr id="51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842434" y="2116801"/>
            <a:ext cx="10313209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240705"/>
            <a:ext cx="7082733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20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01" y="3556800"/>
            <a:ext cx="10305675" cy="385233"/>
          </a:xfrm>
        </p:spPr>
        <p:txBody>
          <a:bodyPr>
            <a:noAutofit/>
          </a:bodyPr>
          <a:lstStyle>
            <a:lvl1pPr>
              <a:lnSpc>
                <a:spcPts val="2199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5242063"/>
            <a:ext cx="2196000" cy="1317138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3015150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426676" y="6200775"/>
            <a:ext cx="3600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1206675" y="7019956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506675" y="6266693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-426676" y="5242062"/>
            <a:ext cx="3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-1506675" y="5297119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838200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-426676" y="6559200"/>
            <a:ext cx="3600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5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7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4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167642" y="4291504"/>
            <a:ext cx="298800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10749168" y="-133099"/>
            <a:ext cx="1441027" cy="1565166"/>
            <a:chOff x="5364088" y="4720073"/>
            <a:chExt cx="1441027" cy="1565166"/>
          </a:xfrm>
        </p:grpSpPr>
        <p:sp>
          <p:nvSpPr>
            <p:cNvPr id="48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9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5985385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  <p15:guide id="2" orient="horz" pos="3304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846907" y="1795637"/>
            <a:ext cx="3265200" cy="269698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4458228" y="1795637"/>
            <a:ext cx="3265200" cy="269698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8069550" y="1795637"/>
            <a:ext cx="3265200" cy="269698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846908" y="4760735"/>
            <a:ext cx="3265200" cy="144004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4458229" y="4760735"/>
            <a:ext cx="3265200" cy="144004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8069550" y="4760735"/>
            <a:ext cx="3265200" cy="144004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845574" y="1277982"/>
            <a:ext cx="3265200" cy="436017"/>
          </a:xfrm>
        </p:spPr>
        <p:txBody>
          <a:bodyPr>
            <a:noAutofit/>
          </a:bodyPr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58228" y="1277982"/>
            <a:ext cx="3265200" cy="436017"/>
          </a:xfrm>
        </p:spPr>
        <p:txBody>
          <a:bodyPr/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8069550" y="1277982"/>
            <a:ext cx="3265200" cy="436017"/>
          </a:xfrm>
        </p:spPr>
        <p:txBody>
          <a:bodyPr/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796988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pos="2808">
          <p15:clr>
            <a:srgbClr val="FBAE40"/>
          </p15:clr>
        </p15:guide>
        <p15:guide id="3" pos="4866">
          <p15:clr>
            <a:srgbClr val="FBAE40"/>
          </p15:clr>
        </p15:guide>
        <p15:guide id="4" pos="5082">
          <p15:clr>
            <a:srgbClr val="FBAE40"/>
          </p15:clr>
        </p15:guide>
        <p15:guide id="5" orient="horz" pos="2830" userDrawn="1">
          <p15:clr>
            <a:srgbClr val="FBAE40"/>
          </p15:clr>
        </p15:guide>
        <p15:guide id="6" orient="horz" pos="2998" userDrawn="1">
          <p15:clr>
            <a:srgbClr val="FBAE40"/>
          </p15:clr>
        </p15:guide>
        <p15:guide id="7" pos="2592" userDrawn="1">
          <p15:clr>
            <a:srgbClr val="FBAE40"/>
          </p15:clr>
        </p15:guide>
      </p15:sldGuideLst>
    </p:ext>
  </p:extLs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>
            <a:grpSpLocks noChangeAspect="1"/>
          </p:cNvGrpSpPr>
          <p:nvPr userDrawn="1"/>
        </p:nvGrpSpPr>
        <p:grpSpPr bwMode="gray">
          <a:xfrm>
            <a:off x="1" y="1643200"/>
            <a:ext cx="5909320" cy="3045600"/>
            <a:chOff x="3465513" y="2070100"/>
            <a:chExt cx="5260975" cy="2711450"/>
          </a:xfrm>
        </p:grpSpPr>
        <p:sp>
          <p:nvSpPr>
            <p:cNvPr id="81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5" name="Freeform 84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842434" y="2012286"/>
            <a:ext cx="4877966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031479"/>
            <a:ext cx="4877966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17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34" y="3603487"/>
            <a:ext cx="4877966" cy="290712"/>
          </a:xfrm>
        </p:spPr>
        <p:txBody>
          <a:bodyPr bIns="0">
            <a:noAutofit/>
          </a:bodyPr>
          <a:lstStyle>
            <a:lvl1pPr algn="l">
              <a:lnSpc>
                <a:spcPts val="1699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6055201"/>
            <a:ext cx="219600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3015150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-426676" y="6200775"/>
            <a:ext cx="3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1206675" y="7019956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-1506675" y="6266693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838200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-426676" y="6559200"/>
            <a:ext cx="3600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5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4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42434" y="4381898"/>
            <a:ext cx="4878000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4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10749168" y="-133099"/>
            <a:ext cx="1441027" cy="1565166"/>
            <a:chOff x="5364088" y="4720073"/>
            <a:chExt cx="1441027" cy="1565166"/>
          </a:xfrm>
        </p:grpSpPr>
        <p:sp>
          <p:nvSpPr>
            <p:cNvPr id="4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8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  <p:sp>
        <p:nvSpPr>
          <p:cNvPr id="54" name="Picture Placeholder 53"/>
          <p:cNvSpPr>
            <a:spLocks noGrp="1"/>
          </p:cNvSpPr>
          <p:nvPr>
            <p:ph type="pic" sz="quarter" idx="12"/>
          </p:nvPr>
        </p:nvSpPr>
        <p:spPr bwMode="gray">
          <a:xfrm>
            <a:off x="-3175" y="2"/>
            <a:ext cx="12195175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79712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634654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0" y="1643200"/>
            <a:ext cx="11339513" cy="3055937"/>
            <a:chOff x="409575" y="3144838"/>
            <a:chExt cx="11339513" cy="3055937"/>
          </a:xfrm>
        </p:grpSpPr>
        <p:sp>
          <p:nvSpPr>
            <p:cNvPr id="37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842434" y="2116801"/>
            <a:ext cx="10313209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240705"/>
            <a:ext cx="7082733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20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01" y="3556800"/>
            <a:ext cx="10305675" cy="385233"/>
          </a:xfrm>
        </p:spPr>
        <p:txBody>
          <a:bodyPr>
            <a:noAutofit/>
          </a:bodyPr>
          <a:lstStyle>
            <a:lvl1pPr>
              <a:lnSpc>
                <a:spcPts val="2199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pic>
        <p:nvPicPr>
          <p:cNvPr id="13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838200" y="6291857"/>
            <a:ext cx="2196000" cy="287825"/>
          </a:xfrm>
          <a:prstGeom prst="rect">
            <a:avLst/>
          </a:prstGeom>
        </p:spPr>
      </p:pic>
      <p:grpSp>
        <p:nvGrpSpPr>
          <p:cNvPr id="44" name="Group 43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45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6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3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167642" y="4291504"/>
            <a:ext cx="298800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4511826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>
            <a:grpSpLocks noChangeAspect="1"/>
          </p:cNvGrpSpPr>
          <p:nvPr userDrawn="1"/>
        </p:nvGrpSpPr>
        <p:grpSpPr bwMode="gray">
          <a:xfrm>
            <a:off x="1" y="1643200"/>
            <a:ext cx="5909320" cy="3045600"/>
            <a:chOff x="3465513" y="2070100"/>
            <a:chExt cx="5260975" cy="2711450"/>
          </a:xfrm>
        </p:grpSpPr>
        <p:sp>
          <p:nvSpPr>
            <p:cNvPr id="75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76" name="Freeform 75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842434" y="2012286"/>
            <a:ext cx="4877966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031479"/>
            <a:ext cx="4877966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17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34" y="3603487"/>
            <a:ext cx="4877966" cy="290712"/>
          </a:xfrm>
        </p:spPr>
        <p:txBody>
          <a:bodyPr bIns="0">
            <a:noAutofit/>
          </a:bodyPr>
          <a:lstStyle>
            <a:lvl1pPr algn="l">
              <a:lnSpc>
                <a:spcPts val="1699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pic>
        <p:nvPicPr>
          <p:cNvPr id="19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838200" y="6291857"/>
            <a:ext cx="2196000" cy="287825"/>
          </a:xfrm>
          <a:prstGeom prst="rect">
            <a:avLst/>
          </a:prstGeom>
        </p:spPr>
      </p:pic>
      <p:grpSp>
        <p:nvGrpSpPr>
          <p:cNvPr id="42" name="Group 41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4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3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42434" y="4381898"/>
            <a:ext cx="4878000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4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2"/>
          </p:nvPr>
        </p:nvSpPr>
        <p:spPr bwMode="gray">
          <a:xfrm>
            <a:off x="-3175" y="2"/>
            <a:ext cx="12195175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79712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29961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 userDrawn="1"/>
        </p:nvGrpSpPr>
        <p:grpSpPr bwMode="gray">
          <a:xfrm>
            <a:off x="0" y="1643200"/>
            <a:ext cx="11339513" cy="3055937"/>
            <a:chOff x="409575" y="3144838"/>
            <a:chExt cx="11339513" cy="3055937"/>
          </a:xfrm>
        </p:grpSpPr>
        <p:sp>
          <p:nvSpPr>
            <p:cNvPr id="40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842434" y="2116801"/>
            <a:ext cx="10313209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240705"/>
            <a:ext cx="7082733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20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01" y="3556800"/>
            <a:ext cx="10305675" cy="385233"/>
          </a:xfrm>
        </p:spPr>
        <p:txBody>
          <a:bodyPr>
            <a:noAutofit/>
          </a:bodyPr>
          <a:lstStyle>
            <a:lvl1pPr>
              <a:lnSpc>
                <a:spcPts val="2199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pic>
        <p:nvPicPr>
          <p:cNvPr id="35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838201" y="6291857"/>
            <a:ext cx="2188369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167642" y="4291504"/>
            <a:ext cx="298800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10749168" y="-133099"/>
            <a:ext cx="1441027" cy="1565166"/>
            <a:chOff x="5364088" y="4720073"/>
            <a:chExt cx="1441027" cy="1565166"/>
          </a:xfrm>
        </p:grpSpPr>
        <p:sp>
          <p:nvSpPr>
            <p:cNvPr id="43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4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8239648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Al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/>
          <p:cNvGrpSpPr>
            <a:grpSpLocks noChangeAspect="1"/>
          </p:cNvGrpSpPr>
          <p:nvPr userDrawn="1"/>
        </p:nvGrpSpPr>
        <p:grpSpPr bwMode="gray">
          <a:xfrm>
            <a:off x="1" y="1643200"/>
            <a:ext cx="5909320" cy="3045600"/>
            <a:chOff x="3465513" y="2070100"/>
            <a:chExt cx="5260975" cy="2711450"/>
          </a:xfrm>
        </p:grpSpPr>
        <p:sp>
          <p:nvSpPr>
            <p:cNvPr id="80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1" name="Freeform 80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842434" y="2012286"/>
            <a:ext cx="4877966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031479"/>
            <a:ext cx="4877966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17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34" y="3603487"/>
            <a:ext cx="4877966" cy="290712"/>
          </a:xfrm>
        </p:spPr>
        <p:txBody>
          <a:bodyPr bIns="0">
            <a:noAutofit/>
          </a:bodyPr>
          <a:lstStyle>
            <a:lvl1pPr algn="l">
              <a:lnSpc>
                <a:spcPts val="1699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pic>
        <p:nvPicPr>
          <p:cNvPr id="30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838201" y="6291857"/>
            <a:ext cx="2188369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42434" y="4381898"/>
            <a:ext cx="4878000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4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70" name="Picture Placeholder 69"/>
          <p:cNvSpPr>
            <a:spLocks noGrp="1"/>
          </p:cNvSpPr>
          <p:nvPr>
            <p:ph type="pic" sz="quarter" idx="12"/>
          </p:nvPr>
        </p:nvSpPr>
        <p:spPr bwMode="gray">
          <a:xfrm>
            <a:off x="-3175" y="2"/>
            <a:ext cx="12195175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79712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10749168" y="-133099"/>
            <a:ext cx="1441027" cy="1565166"/>
            <a:chOff x="5364088" y="4720073"/>
            <a:chExt cx="1441027" cy="1565166"/>
          </a:xfrm>
        </p:grpSpPr>
        <p:sp>
          <p:nvSpPr>
            <p:cNvPr id="41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2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799362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696912" y="1201147"/>
            <a:ext cx="11199600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845575" y="1327150"/>
            <a:ext cx="10489176" cy="4752000"/>
          </a:xfrm>
        </p:spPr>
        <p:txBody>
          <a:bodyPr>
            <a:noAutofit/>
          </a:bodyPr>
          <a:lstStyle>
            <a:lvl1pPr marL="431956" marR="0" indent="-431956" algn="l" defTabSz="914286" rtl="0" eaLnBrk="1" fontAlgn="auto" latinLnBrk="0" hangingPunct="1">
              <a:lnSpc>
                <a:spcPts val="2199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55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760551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Picture R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>
            <a:spLocks noChangeAspect="1"/>
          </p:cNvSpPr>
          <p:nvPr userDrawn="1"/>
        </p:nvSpPr>
        <p:spPr bwMode="gray">
          <a:xfrm>
            <a:off x="696912" y="1201147"/>
            <a:ext cx="11199600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845576" y="1327149"/>
            <a:ext cx="5987025" cy="4752000"/>
          </a:xfrm>
        </p:spPr>
        <p:txBody>
          <a:bodyPr>
            <a:noAutofit/>
          </a:bodyPr>
          <a:lstStyle>
            <a:lvl1pPr marL="431956" marR="0" indent="-431956" algn="l" defTabSz="914286" rtl="0" eaLnBrk="1" fontAlgn="auto" latinLnBrk="0" hangingPunct="1">
              <a:lnSpc>
                <a:spcPts val="2199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55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7296150" y="1201147"/>
            <a:ext cx="4600362" cy="4999652"/>
          </a:xfrm>
          <a:custGeom>
            <a:avLst/>
            <a:gdLst>
              <a:gd name="connsiteX0" fmla="*/ 0 w 4600362"/>
              <a:gd name="connsiteY0" fmla="*/ 0 h 4999652"/>
              <a:gd name="connsiteX1" fmla="*/ 4504373 w 4600362"/>
              <a:gd name="connsiteY1" fmla="*/ 0 h 4999652"/>
              <a:gd name="connsiteX2" fmla="*/ 4536051 w 4600362"/>
              <a:gd name="connsiteY2" fmla="*/ 4129 h 4999652"/>
              <a:gd name="connsiteX3" fmla="*/ 4600362 w 4600362"/>
              <a:gd name="connsiteY3" fmla="*/ 96109 h 4999652"/>
              <a:gd name="connsiteX4" fmla="*/ 4600362 w 4600362"/>
              <a:gd name="connsiteY4" fmla="*/ 335164 h 4999652"/>
              <a:gd name="connsiteX5" fmla="*/ 4600362 w 4600362"/>
              <a:gd name="connsiteY5" fmla="*/ 370349 h 4999652"/>
              <a:gd name="connsiteX6" fmla="*/ 4600362 w 4600362"/>
              <a:gd name="connsiteY6" fmla="*/ 379203 h 4999652"/>
              <a:gd name="connsiteX7" fmla="*/ 4600362 w 4600362"/>
              <a:gd name="connsiteY7" fmla="*/ 400047 h 4999652"/>
              <a:gd name="connsiteX8" fmla="*/ 4600362 w 4600362"/>
              <a:gd name="connsiteY8" fmla="*/ 400231 h 4999652"/>
              <a:gd name="connsiteX9" fmla="*/ 4600362 w 4600362"/>
              <a:gd name="connsiteY9" fmla="*/ 471201 h 4999652"/>
              <a:gd name="connsiteX10" fmla="*/ 4600362 w 4600362"/>
              <a:gd name="connsiteY10" fmla="*/ 475720 h 4999652"/>
              <a:gd name="connsiteX11" fmla="*/ 4600362 w 4600362"/>
              <a:gd name="connsiteY11" fmla="*/ 508691 h 4999652"/>
              <a:gd name="connsiteX12" fmla="*/ 4600362 w 4600362"/>
              <a:gd name="connsiteY12" fmla="*/ 554483 h 4999652"/>
              <a:gd name="connsiteX13" fmla="*/ 4600362 w 4600362"/>
              <a:gd name="connsiteY13" fmla="*/ 563014 h 4999652"/>
              <a:gd name="connsiteX14" fmla="*/ 4600362 w 4600362"/>
              <a:gd name="connsiteY14" fmla="*/ 609404 h 4999652"/>
              <a:gd name="connsiteX15" fmla="*/ 4600362 w 4600362"/>
              <a:gd name="connsiteY15" fmla="*/ 662758 h 4999652"/>
              <a:gd name="connsiteX16" fmla="*/ 4600362 w 4600362"/>
              <a:gd name="connsiteY16" fmla="*/ 674287 h 4999652"/>
              <a:gd name="connsiteX17" fmla="*/ 4600362 w 4600362"/>
              <a:gd name="connsiteY17" fmla="*/ 749960 h 4999652"/>
              <a:gd name="connsiteX18" fmla="*/ 4600362 w 4600362"/>
              <a:gd name="connsiteY18" fmla="*/ 775784 h 4999652"/>
              <a:gd name="connsiteX19" fmla="*/ 4600362 w 4600362"/>
              <a:gd name="connsiteY19" fmla="*/ 837254 h 4999652"/>
              <a:gd name="connsiteX20" fmla="*/ 4600362 w 4600362"/>
              <a:gd name="connsiteY20" fmla="*/ 902920 h 4999652"/>
              <a:gd name="connsiteX21" fmla="*/ 4600362 w 4600362"/>
              <a:gd name="connsiteY21" fmla="*/ 936998 h 4999652"/>
              <a:gd name="connsiteX22" fmla="*/ 4600362 w 4600362"/>
              <a:gd name="connsiteY22" fmla="*/ 1044998 h 4999652"/>
              <a:gd name="connsiteX23" fmla="*/ 4600362 w 4600362"/>
              <a:gd name="connsiteY23" fmla="*/ 1050024 h 4999652"/>
              <a:gd name="connsiteX24" fmla="*/ 4600362 w 4600362"/>
              <a:gd name="connsiteY24" fmla="*/ 1177160 h 4999652"/>
              <a:gd name="connsiteX25" fmla="*/ 4600362 w 4600362"/>
              <a:gd name="connsiteY25" fmla="*/ 1202846 h 4999652"/>
              <a:gd name="connsiteX26" fmla="*/ 4600362 w 4600362"/>
              <a:gd name="connsiteY26" fmla="*/ 1319238 h 4999652"/>
              <a:gd name="connsiteX27" fmla="*/ 4600362 w 4600362"/>
              <a:gd name="connsiteY27" fmla="*/ 1377295 h 4999652"/>
              <a:gd name="connsiteX28" fmla="*/ 4600362 w 4600362"/>
              <a:gd name="connsiteY28" fmla="*/ 1477086 h 4999652"/>
              <a:gd name="connsiteX29" fmla="*/ 4600362 w 4600362"/>
              <a:gd name="connsiteY29" fmla="*/ 1569176 h 4999652"/>
              <a:gd name="connsiteX30" fmla="*/ 4600362 w 4600362"/>
              <a:gd name="connsiteY30" fmla="*/ 1651535 h 4999652"/>
              <a:gd name="connsiteX31" fmla="*/ 4600362 w 4600362"/>
              <a:gd name="connsiteY31" fmla="*/ 1779317 h 4999652"/>
              <a:gd name="connsiteX32" fmla="*/ 4600362 w 4600362"/>
              <a:gd name="connsiteY32" fmla="*/ 1843416 h 4999652"/>
              <a:gd name="connsiteX33" fmla="*/ 4600362 w 4600362"/>
              <a:gd name="connsiteY33" fmla="*/ 2008550 h 4999652"/>
              <a:gd name="connsiteX34" fmla="*/ 4600362 w 4600362"/>
              <a:gd name="connsiteY34" fmla="*/ 2053557 h 4999652"/>
              <a:gd name="connsiteX35" fmla="*/ 4600362 w 4600362"/>
              <a:gd name="connsiteY35" fmla="*/ 2257704 h 4999652"/>
              <a:gd name="connsiteX36" fmla="*/ 4600362 w 4600362"/>
              <a:gd name="connsiteY36" fmla="*/ 2282790 h 4999652"/>
              <a:gd name="connsiteX37" fmla="*/ 4600362 w 4600362"/>
              <a:gd name="connsiteY37" fmla="*/ 2527609 h 4999652"/>
              <a:gd name="connsiteX38" fmla="*/ 4600362 w 4600362"/>
              <a:gd name="connsiteY38" fmla="*/ 2531944 h 4999652"/>
              <a:gd name="connsiteX39" fmla="*/ 4600362 w 4600362"/>
              <a:gd name="connsiteY39" fmla="*/ 2801850 h 4999652"/>
              <a:gd name="connsiteX40" fmla="*/ 4600362 w 4600362"/>
              <a:gd name="connsiteY40" fmla="*/ 2819096 h 4999652"/>
              <a:gd name="connsiteX41" fmla="*/ 4600362 w 4600362"/>
              <a:gd name="connsiteY41" fmla="*/ 3093336 h 4999652"/>
              <a:gd name="connsiteX42" fmla="*/ 4600362 w 4600362"/>
              <a:gd name="connsiteY42" fmla="*/ 3132994 h 4999652"/>
              <a:gd name="connsiteX43" fmla="*/ 4600362 w 4600362"/>
              <a:gd name="connsiteY43" fmla="*/ 3407235 h 4999652"/>
              <a:gd name="connsiteX44" fmla="*/ 4600362 w 4600362"/>
              <a:gd name="connsiteY44" fmla="*/ 3470134 h 4999652"/>
              <a:gd name="connsiteX45" fmla="*/ 4600362 w 4600362"/>
              <a:gd name="connsiteY45" fmla="*/ 3744374 h 4999652"/>
              <a:gd name="connsiteX46" fmla="*/ 4600362 w 4600362"/>
              <a:gd name="connsiteY46" fmla="*/ 3831345 h 4999652"/>
              <a:gd name="connsiteX47" fmla="*/ 4600362 w 4600362"/>
              <a:gd name="connsiteY47" fmla="*/ 4105585 h 4999652"/>
              <a:gd name="connsiteX48" fmla="*/ 4600362 w 4600362"/>
              <a:gd name="connsiteY48" fmla="*/ 4217458 h 4999652"/>
              <a:gd name="connsiteX49" fmla="*/ 4600362 w 4600362"/>
              <a:gd name="connsiteY49" fmla="*/ 4491698 h 4999652"/>
              <a:gd name="connsiteX50" fmla="*/ 4600362 w 4600362"/>
              <a:gd name="connsiteY50" fmla="*/ 4629302 h 4999652"/>
              <a:gd name="connsiteX51" fmla="*/ 4600362 w 4600362"/>
              <a:gd name="connsiteY51" fmla="*/ 4903542 h 4999652"/>
              <a:gd name="connsiteX52" fmla="*/ 4504365 w 4600362"/>
              <a:gd name="connsiteY52" fmla="*/ 4999652 h 4999652"/>
              <a:gd name="connsiteX53" fmla="*/ 144766 w 4600362"/>
              <a:gd name="connsiteY53" fmla="*/ 4999652 h 4999652"/>
              <a:gd name="connsiteX54" fmla="*/ 0 w 4600362"/>
              <a:gd name="connsiteY54" fmla="*/ 4999652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600362" h="4999652">
                <a:moveTo>
                  <a:pt x="0" y="0"/>
                </a:moveTo>
                <a:lnTo>
                  <a:pt x="4504373" y="0"/>
                </a:lnTo>
                <a:lnTo>
                  <a:pt x="4536051" y="4129"/>
                </a:lnTo>
                <a:cubicBezTo>
                  <a:pt x="4600362" y="22525"/>
                  <a:pt x="4600362" y="96109"/>
                  <a:pt x="4600362" y="96109"/>
                </a:cubicBezTo>
                <a:cubicBezTo>
                  <a:pt x="4600362" y="96109"/>
                  <a:pt x="4600362" y="96109"/>
                  <a:pt x="4600362" y="335164"/>
                </a:cubicBezTo>
                <a:lnTo>
                  <a:pt x="4600362" y="370349"/>
                </a:lnTo>
                <a:cubicBezTo>
                  <a:pt x="4600362" y="370349"/>
                  <a:pt x="4600362" y="370349"/>
                  <a:pt x="4600362" y="379203"/>
                </a:cubicBezTo>
                <a:lnTo>
                  <a:pt x="4600362" y="400047"/>
                </a:lnTo>
                <a:lnTo>
                  <a:pt x="4600362" y="400231"/>
                </a:lnTo>
                <a:cubicBezTo>
                  <a:pt x="4600362" y="415172"/>
                  <a:pt x="4600362" y="437584"/>
                  <a:pt x="4600362" y="471201"/>
                </a:cubicBezTo>
                <a:lnTo>
                  <a:pt x="4600362" y="475720"/>
                </a:lnTo>
                <a:lnTo>
                  <a:pt x="4600362" y="508691"/>
                </a:lnTo>
                <a:cubicBezTo>
                  <a:pt x="4600362" y="522526"/>
                  <a:pt x="4600362" y="537743"/>
                  <a:pt x="4600362" y="554483"/>
                </a:cubicBezTo>
                <a:lnTo>
                  <a:pt x="4600362" y="563014"/>
                </a:lnTo>
                <a:lnTo>
                  <a:pt x="4600362" y="609404"/>
                </a:lnTo>
                <a:lnTo>
                  <a:pt x="4600362" y="662758"/>
                </a:lnTo>
                <a:lnTo>
                  <a:pt x="4600362" y="674287"/>
                </a:lnTo>
                <a:cubicBezTo>
                  <a:pt x="4600362" y="697667"/>
                  <a:pt x="4600362" y="722845"/>
                  <a:pt x="4600362" y="749960"/>
                </a:cubicBezTo>
                <a:lnTo>
                  <a:pt x="4600362" y="775784"/>
                </a:lnTo>
                <a:lnTo>
                  <a:pt x="4600362" y="837254"/>
                </a:lnTo>
                <a:lnTo>
                  <a:pt x="4600362" y="902920"/>
                </a:lnTo>
                <a:lnTo>
                  <a:pt x="4600362" y="936998"/>
                </a:lnTo>
                <a:lnTo>
                  <a:pt x="4600362" y="1044998"/>
                </a:lnTo>
                <a:lnTo>
                  <a:pt x="4600362" y="1050024"/>
                </a:lnTo>
                <a:cubicBezTo>
                  <a:pt x="4600362" y="1090005"/>
                  <a:pt x="4600362" y="1132337"/>
                  <a:pt x="4600362" y="1177160"/>
                </a:cubicBezTo>
                <a:lnTo>
                  <a:pt x="4600362" y="1202846"/>
                </a:lnTo>
                <a:lnTo>
                  <a:pt x="4600362" y="1319238"/>
                </a:lnTo>
                <a:lnTo>
                  <a:pt x="4600362" y="1377295"/>
                </a:lnTo>
                <a:lnTo>
                  <a:pt x="4600362" y="1477086"/>
                </a:lnTo>
                <a:lnTo>
                  <a:pt x="4600362" y="1569176"/>
                </a:lnTo>
                <a:lnTo>
                  <a:pt x="4600362" y="1651535"/>
                </a:lnTo>
                <a:lnTo>
                  <a:pt x="4600362" y="1779317"/>
                </a:lnTo>
                <a:lnTo>
                  <a:pt x="4600362" y="1843416"/>
                </a:lnTo>
                <a:lnTo>
                  <a:pt x="4600362" y="2008550"/>
                </a:lnTo>
                <a:lnTo>
                  <a:pt x="4600362" y="2053557"/>
                </a:lnTo>
                <a:lnTo>
                  <a:pt x="4600362" y="2257704"/>
                </a:lnTo>
                <a:lnTo>
                  <a:pt x="4600362" y="2282790"/>
                </a:lnTo>
                <a:lnTo>
                  <a:pt x="4600362" y="2527609"/>
                </a:lnTo>
                <a:lnTo>
                  <a:pt x="4600362" y="2531944"/>
                </a:lnTo>
                <a:cubicBezTo>
                  <a:pt x="4600362" y="2618408"/>
                  <a:pt x="4600362" y="2708330"/>
                  <a:pt x="4600362" y="2801850"/>
                </a:cubicBezTo>
                <a:lnTo>
                  <a:pt x="4600362" y="2819096"/>
                </a:lnTo>
                <a:lnTo>
                  <a:pt x="4600362" y="3093336"/>
                </a:lnTo>
                <a:lnTo>
                  <a:pt x="4600362" y="3132994"/>
                </a:lnTo>
                <a:lnTo>
                  <a:pt x="4600362" y="3407235"/>
                </a:lnTo>
                <a:lnTo>
                  <a:pt x="4600362" y="3470134"/>
                </a:lnTo>
                <a:lnTo>
                  <a:pt x="4600362" y="3744374"/>
                </a:lnTo>
                <a:lnTo>
                  <a:pt x="4600362" y="3831345"/>
                </a:lnTo>
                <a:lnTo>
                  <a:pt x="4600362" y="4105585"/>
                </a:lnTo>
                <a:lnTo>
                  <a:pt x="4600362" y="4217458"/>
                </a:lnTo>
                <a:lnTo>
                  <a:pt x="4600362" y="4491698"/>
                </a:lnTo>
                <a:lnTo>
                  <a:pt x="4600362" y="4629302"/>
                </a:lnTo>
                <a:lnTo>
                  <a:pt x="4600362" y="4903542"/>
                </a:lnTo>
                <a:cubicBezTo>
                  <a:pt x="4600362" y="4999652"/>
                  <a:pt x="4504365" y="4999652"/>
                  <a:pt x="4504365" y="4999652"/>
                </a:cubicBezTo>
                <a:cubicBezTo>
                  <a:pt x="4504365" y="4999652"/>
                  <a:pt x="4504365" y="4999652"/>
                  <a:pt x="144766" y="4999652"/>
                </a:cubicBezTo>
                <a:lnTo>
                  <a:pt x="0" y="4999652"/>
                </a:lnTo>
                <a:close/>
              </a:path>
            </a:pathLst>
          </a:custGeom>
          <a:noFill/>
        </p:spPr>
        <p:txBody>
          <a:bodyPr wrap="square" tIns="107990">
            <a:noAutofit/>
          </a:bodyPr>
          <a:lstStyle/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4112786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308">
          <p15:clr>
            <a:srgbClr val="FBAE40"/>
          </p15:clr>
        </p15:guide>
        <p15:guide id="2" pos="4596">
          <p15:clr>
            <a:srgbClr val="FBAE40"/>
          </p15:clr>
        </p15:guide>
      </p15:sldGuideLst>
    </p:ext>
  </p:extLs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9"/>
          <p:cNvSpPr>
            <a:spLocks noChangeAspect="1"/>
          </p:cNvSpPr>
          <p:nvPr userDrawn="1"/>
        </p:nvSpPr>
        <p:spPr bwMode="gray">
          <a:xfrm>
            <a:off x="0" y="1695450"/>
            <a:ext cx="11350800" cy="2382290"/>
          </a:xfrm>
          <a:custGeom>
            <a:avLst/>
            <a:gdLst>
              <a:gd name="T0" fmla="*/ 0 w 2680"/>
              <a:gd name="T1" fmla="*/ 560 h 560"/>
              <a:gd name="T2" fmla="*/ 2648 w 2680"/>
              <a:gd name="T3" fmla="*/ 560 h 560"/>
              <a:gd name="T4" fmla="*/ 2680 w 2680"/>
              <a:gd name="T5" fmla="*/ 528 h 560"/>
              <a:gd name="T6" fmla="*/ 2680 w 2680"/>
              <a:gd name="T7" fmla="*/ 32 h 560"/>
              <a:gd name="T8" fmla="*/ 2648 w 2680"/>
              <a:gd name="T9" fmla="*/ 0 h 560"/>
              <a:gd name="T10" fmla="*/ 0 w 2680"/>
              <a:gd name="T11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0" h="560">
                <a:moveTo>
                  <a:pt x="0" y="560"/>
                </a:moveTo>
                <a:cubicBezTo>
                  <a:pt x="2648" y="560"/>
                  <a:pt x="2648" y="560"/>
                  <a:pt x="2648" y="560"/>
                </a:cubicBezTo>
                <a:cubicBezTo>
                  <a:pt x="2648" y="560"/>
                  <a:pt x="2680" y="560"/>
                  <a:pt x="2680" y="528"/>
                </a:cubicBezTo>
                <a:cubicBezTo>
                  <a:pt x="2680" y="32"/>
                  <a:pt x="2680" y="32"/>
                  <a:pt x="2680" y="32"/>
                </a:cubicBezTo>
                <a:cubicBezTo>
                  <a:pt x="2680" y="32"/>
                  <a:pt x="2680" y="0"/>
                  <a:pt x="264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842434" y="1695452"/>
            <a:ext cx="10313209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0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1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0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23433" y="6358070"/>
            <a:ext cx="1183250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30759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7"/>
          <p:cNvSpPr>
            <a:spLocks noGrp="1"/>
          </p:cNvSpPr>
          <p:nvPr>
            <p:ph type="pic" sz="quarter" idx="16"/>
          </p:nvPr>
        </p:nvSpPr>
        <p:spPr bwMode="gray">
          <a:xfrm>
            <a:off x="696912" y="1696719"/>
            <a:ext cx="11199600" cy="4504080"/>
          </a:xfrm>
          <a:custGeom>
            <a:avLst/>
            <a:gdLst>
              <a:gd name="connsiteX0" fmla="*/ 95997 w 11199600"/>
              <a:gd name="connsiteY0" fmla="*/ 0 h 4504080"/>
              <a:gd name="connsiteX1" fmla="*/ 11103603 w 11199600"/>
              <a:gd name="connsiteY1" fmla="*/ 0 h 4504080"/>
              <a:gd name="connsiteX2" fmla="*/ 11199600 w 11199600"/>
              <a:gd name="connsiteY2" fmla="*/ 96110 h 4504080"/>
              <a:gd name="connsiteX3" fmla="*/ 11199600 w 11199600"/>
              <a:gd name="connsiteY3" fmla="*/ 335165 h 4504080"/>
              <a:gd name="connsiteX4" fmla="*/ 11199600 w 11199600"/>
              <a:gd name="connsiteY4" fmla="*/ 370350 h 4504080"/>
              <a:gd name="connsiteX5" fmla="*/ 11199600 w 11199600"/>
              <a:gd name="connsiteY5" fmla="*/ 379204 h 4504080"/>
              <a:gd name="connsiteX6" fmla="*/ 11199600 w 11199600"/>
              <a:gd name="connsiteY6" fmla="*/ 400048 h 4504080"/>
              <a:gd name="connsiteX7" fmla="*/ 11199600 w 11199600"/>
              <a:gd name="connsiteY7" fmla="*/ 400232 h 4504080"/>
              <a:gd name="connsiteX8" fmla="*/ 11199600 w 11199600"/>
              <a:gd name="connsiteY8" fmla="*/ 471202 h 4504080"/>
              <a:gd name="connsiteX9" fmla="*/ 11199600 w 11199600"/>
              <a:gd name="connsiteY9" fmla="*/ 475721 h 4504080"/>
              <a:gd name="connsiteX10" fmla="*/ 11199600 w 11199600"/>
              <a:gd name="connsiteY10" fmla="*/ 508692 h 4504080"/>
              <a:gd name="connsiteX11" fmla="*/ 11199600 w 11199600"/>
              <a:gd name="connsiteY11" fmla="*/ 554484 h 4504080"/>
              <a:gd name="connsiteX12" fmla="*/ 11199600 w 11199600"/>
              <a:gd name="connsiteY12" fmla="*/ 563015 h 4504080"/>
              <a:gd name="connsiteX13" fmla="*/ 11199600 w 11199600"/>
              <a:gd name="connsiteY13" fmla="*/ 609405 h 4504080"/>
              <a:gd name="connsiteX14" fmla="*/ 11199600 w 11199600"/>
              <a:gd name="connsiteY14" fmla="*/ 662759 h 4504080"/>
              <a:gd name="connsiteX15" fmla="*/ 11199600 w 11199600"/>
              <a:gd name="connsiteY15" fmla="*/ 674288 h 4504080"/>
              <a:gd name="connsiteX16" fmla="*/ 11199600 w 11199600"/>
              <a:gd name="connsiteY16" fmla="*/ 749961 h 4504080"/>
              <a:gd name="connsiteX17" fmla="*/ 11199600 w 11199600"/>
              <a:gd name="connsiteY17" fmla="*/ 775785 h 4504080"/>
              <a:gd name="connsiteX18" fmla="*/ 11199600 w 11199600"/>
              <a:gd name="connsiteY18" fmla="*/ 837255 h 4504080"/>
              <a:gd name="connsiteX19" fmla="*/ 11199600 w 11199600"/>
              <a:gd name="connsiteY19" fmla="*/ 902921 h 4504080"/>
              <a:gd name="connsiteX20" fmla="*/ 11199600 w 11199600"/>
              <a:gd name="connsiteY20" fmla="*/ 936999 h 4504080"/>
              <a:gd name="connsiteX21" fmla="*/ 11199600 w 11199600"/>
              <a:gd name="connsiteY21" fmla="*/ 1044999 h 4504080"/>
              <a:gd name="connsiteX22" fmla="*/ 11199600 w 11199600"/>
              <a:gd name="connsiteY22" fmla="*/ 1050025 h 4504080"/>
              <a:gd name="connsiteX23" fmla="*/ 11199600 w 11199600"/>
              <a:gd name="connsiteY23" fmla="*/ 1177161 h 4504080"/>
              <a:gd name="connsiteX24" fmla="*/ 11199600 w 11199600"/>
              <a:gd name="connsiteY24" fmla="*/ 1202847 h 4504080"/>
              <a:gd name="connsiteX25" fmla="*/ 11199600 w 11199600"/>
              <a:gd name="connsiteY25" fmla="*/ 1319239 h 4504080"/>
              <a:gd name="connsiteX26" fmla="*/ 11199600 w 11199600"/>
              <a:gd name="connsiteY26" fmla="*/ 1377296 h 4504080"/>
              <a:gd name="connsiteX27" fmla="*/ 11199600 w 11199600"/>
              <a:gd name="connsiteY27" fmla="*/ 1477087 h 4504080"/>
              <a:gd name="connsiteX28" fmla="*/ 11199600 w 11199600"/>
              <a:gd name="connsiteY28" fmla="*/ 1569177 h 4504080"/>
              <a:gd name="connsiteX29" fmla="*/ 11199600 w 11199600"/>
              <a:gd name="connsiteY29" fmla="*/ 1626118 h 4504080"/>
              <a:gd name="connsiteX30" fmla="*/ 11199600 w 11199600"/>
              <a:gd name="connsiteY30" fmla="*/ 1651536 h 4504080"/>
              <a:gd name="connsiteX31" fmla="*/ 11199600 w 11199600"/>
              <a:gd name="connsiteY31" fmla="*/ 1762133 h 4504080"/>
              <a:gd name="connsiteX32" fmla="*/ 11199600 w 11199600"/>
              <a:gd name="connsiteY32" fmla="*/ 1779318 h 4504080"/>
              <a:gd name="connsiteX33" fmla="*/ 11199600 w 11199600"/>
              <a:gd name="connsiteY33" fmla="*/ 1787219 h 4504080"/>
              <a:gd name="connsiteX34" fmla="*/ 11199600 w 11199600"/>
              <a:gd name="connsiteY34" fmla="*/ 1843417 h 4504080"/>
              <a:gd name="connsiteX35" fmla="*/ 11199600 w 11199600"/>
              <a:gd name="connsiteY35" fmla="*/ 1984894 h 4504080"/>
              <a:gd name="connsiteX36" fmla="*/ 11199600 w 11199600"/>
              <a:gd name="connsiteY36" fmla="*/ 2032038 h 4504080"/>
              <a:gd name="connsiteX37" fmla="*/ 11199600 w 11199600"/>
              <a:gd name="connsiteY37" fmla="*/ 2036373 h 4504080"/>
              <a:gd name="connsiteX38" fmla="*/ 11199600 w 11199600"/>
              <a:gd name="connsiteY38" fmla="*/ 2306279 h 4504080"/>
              <a:gd name="connsiteX39" fmla="*/ 11199600 w 11199600"/>
              <a:gd name="connsiteY39" fmla="*/ 2323525 h 4504080"/>
              <a:gd name="connsiteX40" fmla="*/ 11199600 w 11199600"/>
              <a:gd name="connsiteY40" fmla="*/ 2597765 h 4504080"/>
              <a:gd name="connsiteX41" fmla="*/ 11199600 w 11199600"/>
              <a:gd name="connsiteY41" fmla="*/ 2637423 h 4504080"/>
              <a:gd name="connsiteX42" fmla="*/ 11199600 w 11199600"/>
              <a:gd name="connsiteY42" fmla="*/ 2911664 h 4504080"/>
              <a:gd name="connsiteX43" fmla="*/ 11199600 w 11199600"/>
              <a:gd name="connsiteY43" fmla="*/ 2974563 h 4504080"/>
              <a:gd name="connsiteX44" fmla="*/ 11199600 w 11199600"/>
              <a:gd name="connsiteY44" fmla="*/ 3248803 h 4504080"/>
              <a:gd name="connsiteX45" fmla="*/ 11199600 w 11199600"/>
              <a:gd name="connsiteY45" fmla="*/ 3335774 h 4504080"/>
              <a:gd name="connsiteX46" fmla="*/ 11199600 w 11199600"/>
              <a:gd name="connsiteY46" fmla="*/ 3610014 h 4504080"/>
              <a:gd name="connsiteX47" fmla="*/ 11199600 w 11199600"/>
              <a:gd name="connsiteY47" fmla="*/ 3721887 h 4504080"/>
              <a:gd name="connsiteX48" fmla="*/ 11199600 w 11199600"/>
              <a:gd name="connsiteY48" fmla="*/ 3996127 h 4504080"/>
              <a:gd name="connsiteX49" fmla="*/ 11199600 w 11199600"/>
              <a:gd name="connsiteY49" fmla="*/ 4133731 h 4504080"/>
              <a:gd name="connsiteX50" fmla="*/ 11199600 w 11199600"/>
              <a:gd name="connsiteY50" fmla="*/ 4407971 h 4504080"/>
              <a:gd name="connsiteX51" fmla="*/ 11118603 w 11199600"/>
              <a:gd name="connsiteY51" fmla="*/ 4502580 h 4504080"/>
              <a:gd name="connsiteX52" fmla="*/ 11103613 w 11199600"/>
              <a:gd name="connsiteY52" fmla="*/ 4504080 h 4504080"/>
              <a:gd name="connsiteX53" fmla="*/ 95989 w 11199600"/>
              <a:gd name="connsiteY53" fmla="*/ 4504080 h 4504080"/>
              <a:gd name="connsiteX54" fmla="*/ 64311 w 11199600"/>
              <a:gd name="connsiteY54" fmla="*/ 4499952 h 4504080"/>
              <a:gd name="connsiteX55" fmla="*/ 0 w 11199600"/>
              <a:gd name="connsiteY55" fmla="*/ 4407971 h 4504080"/>
              <a:gd name="connsiteX56" fmla="*/ 0 w 11199600"/>
              <a:gd name="connsiteY56" fmla="*/ 4404236 h 4504080"/>
              <a:gd name="connsiteX57" fmla="*/ 0 w 11199600"/>
              <a:gd name="connsiteY57" fmla="*/ 4395365 h 4504080"/>
              <a:gd name="connsiteX58" fmla="*/ 0 w 11199600"/>
              <a:gd name="connsiteY58" fmla="*/ 4378089 h 4504080"/>
              <a:gd name="connsiteX59" fmla="*/ 0 w 11199600"/>
              <a:gd name="connsiteY59" fmla="*/ 4349608 h 4504080"/>
              <a:gd name="connsiteX60" fmla="*/ 0 w 11199600"/>
              <a:gd name="connsiteY60" fmla="*/ 4307120 h 4504080"/>
              <a:gd name="connsiteX61" fmla="*/ 0 w 11199600"/>
              <a:gd name="connsiteY61" fmla="*/ 4247823 h 4504080"/>
              <a:gd name="connsiteX62" fmla="*/ 0 w 11199600"/>
              <a:gd name="connsiteY62" fmla="*/ 4168916 h 4504080"/>
              <a:gd name="connsiteX63" fmla="*/ 0 w 11199600"/>
              <a:gd name="connsiteY63" fmla="*/ 4133731 h 4504080"/>
              <a:gd name="connsiteX64" fmla="*/ 0 w 11199600"/>
              <a:gd name="connsiteY64" fmla="*/ 4132625 h 4504080"/>
              <a:gd name="connsiteX65" fmla="*/ 0 w 11199600"/>
              <a:gd name="connsiteY65" fmla="*/ 4124877 h 4504080"/>
              <a:gd name="connsiteX66" fmla="*/ 0 w 11199600"/>
              <a:gd name="connsiteY66" fmla="*/ 4104034 h 4504080"/>
              <a:gd name="connsiteX67" fmla="*/ 0 w 11199600"/>
              <a:gd name="connsiteY67" fmla="*/ 4103849 h 4504080"/>
              <a:gd name="connsiteX68" fmla="*/ 0 w 11199600"/>
              <a:gd name="connsiteY68" fmla="*/ 4062900 h 4504080"/>
              <a:gd name="connsiteX69" fmla="*/ 0 w 11199600"/>
              <a:gd name="connsiteY69" fmla="*/ 4032880 h 4504080"/>
              <a:gd name="connsiteX70" fmla="*/ 0 w 11199600"/>
              <a:gd name="connsiteY70" fmla="*/ 4028361 h 4504080"/>
              <a:gd name="connsiteX71" fmla="*/ 0 w 11199600"/>
              <a:gd name="connsiteY71" fmla="*/ 3995389 h 4504080"/>
              <a:gd name="connsiteX72" fmla="*/ 0 w 11199600"/>
              <a:gd name="connsiteY72" fmla="*/ 3949598 h 4504080"/>
              <a:gd name="connsiteX73" fmla="*/ 0 w 11199600"/>
              <a:gd name="connsiteY73" fmla="*/ 3941067 h 4504080"/>
              <a:gd name="connsiteX74" fmla="*/ 0 w 11199600"/>
              <a:gd name="connsiteY74" fmla="*/ 3894676 h 4504080"/>
              <a:gd name="connsiteX75" fmla="*/ 0 w 11199600"/>
              <a:gd name="connsiteY75" fmla="*/ 3841322 h 4504080"/>
              <a:gd name="connsiteX76" fmla="*/ 0 w 11199600"/>
              <a:gd name="connsiteY76" fmla="*/ 3829794 h 4504080"/>
              <a:gd name="connsiteX77" fmla="*/ 0 w 11199600"/>
              <a:gd name="connsiteY77" fmla="*/ 3754121 h 4504080"/>
              <a:gd name="connsiteX78" fmla="*/ 0 w 11199600"/>
              <a:gd name="connsiteY78" fmla="*/ 3728297 h 4504080"/>
              <a:gd name="connsiteX79" fmla="*/ 0 w 11199600"/>
              <a:gd name="connsiteY79" fmla="*/ 3666827 h 4504080"/>
              <a:gd name="connsiteX80" fmla="*/ 0 w 11199600"/>
              <a:gd name="connsiteY80" fmla="*/ 3601160 h 4504080"/>
              <a:gd name="connsiteX81" fmla="*/ 0 w 11199600"/>
              <a:gd name="connsiteY81" fmla="*/ 3567082 h 4504080"/>
              <a:gd name="connsiteX82" fmla="*/ 0 w 11199600"/>
              <a:gd name="connsiteY82" fmla="*/ 3459083 h 4504080"/>
              <a:gd name="connsiteX83" fmla="*/ 0 w 11199600"/>
              <a:gd name="connsiteY83" fmla="*/ 3454057 h 4504080"/>
              <a:gd name="connsiteX84" fmla="*/ 0 w 11199600"/>
              <a:gd name="connsiteY84" fmla="*/ 3326920 h 4504080"/>
              <a:gd name="connsiteX85" fmla="*/ 0 w 11199600"/>
              <a:gd name="connsiteY85" fmla="*/ 3301235 h 4504080"/>
              <a:gd name="connsiteX86" fmla="*/ 0 w 11199600"/>
              <a:gd name="connsiteY86" fmla="*/ 3184843 h 4504080"/>
              <a:gd name="connsiteX87" fmla="*/ 0 w 11199600"/>
              <a:gd name="connsiteY87" fmla="*/ 3126785 h 4504080"/>
              <a:gd name="connsiteX88" fmla="*/ 0 w 11199600"/>
              <a:gd name="connsiteY88" fmla="*/ 3026995 h 4504080"/>
              <a:gd name="connsiteX89" fmla="*/ 0 w 11199600"/>
              <a:gd name="connsiteY89" fmla="*/ 2934905 h 4504080"/>
              <a:gd name="connsiteX90" fmla="*/ 0 w 11199600"/>
              <a:gd name="connsiteY90" fmla="*/ 2852545 h 4504080"/>
              <a:gd name="connsiteX91" fmla="*/ 0 w 11199600"/>
              <a:gd name="connsiteY91" fmla="*/ 2724763 h 4504080"/>
              <a:gd name="connsiteX92" fmla="*/ 0 w 11199600"/>
              <a:gd name="connsiteY92" fmla="*/ 2660665 h 4504080"/>
              <a:gd name="connsiteX93" fmla="*/ 0 w 11199600"/>
              <a:gd name="connsiteY93" fmla="*/ 2495530 h 4504080"/>
              <a:gd name="connsiteX94" fmla="*/ 0 w 11199600"/>
              <a:gd name="connsiteY94" fmla="*/ 2450523 h 4504080"/>
              <a:gd name="connsiteX95" fmla="*/ 0 w 11199600"/>
              <a:gd name="connsiteY95" fmla="*/ 2246376 h 4504080"/>
              <a:gd name="connsiteX96" fmla="*/ 0 w 11199600"/>
              <a:gd name="connsiteY96" fmla="*/ 2221290 h 4504080"/>
              <a:gd name="connsiteX97" fmla="*/ 0 w 11199600"/>
              <a:gd name="connsiteY97" fmla="*/ 1984894 h 4504080"/>
              <a:gd name="connsiteX98" fmla="*/ 0 w 11199600"/>
              <a:gd name="connsiteY98" fmla="*/ 1976471 h 4504080"/>
              <a:gd name="connsiteX99" fmla="*/ 0 w 11199600"/>
              <a:gd name="connsiteY99" fmla="*/ 1972136 h 4504080"/>
              <a:gd name="connsiteX100" fmla="*/ 0 w 11199600"/>
              <a:gd name="connsiteY100" fmla="*/ 1906316 h 4504080"/>
              <a:gd name="connsiteX101" fmla="*/ 0 w 11199600"/>
              <a:gd name="connsiteY101" fmla="*/ 1866658 h 4504080"/>
              <a:gd name="connsiteX102" fmla="*/ 0 w 11199600"/>
              <a:gd name="connsiteY102" fmla="*/ 1702231 h 4504080"/>
              <a:gd name="connsiteX103" fmla="*/ 0 w 11199600"/>
              <a:gd name="connsiteY103" fmla="*/ 1684984 h 4504080"/>
              <a:gd name="connsiteX104" fmla="*/ 0 w 11199600"/>
              <a:gd name="connsiteY104" fmla="*/ 1626118 h 4504080"/>
              <a:gd name="connsiteX105" fmla="*/ 0 w 11199600"/>
              <a:gd name="connsiteY105" fmla="*/ 1592418 h 4504080"/>
              <a:gd name="connsiteX106" fmla="*/ 0 w 11199600"/>
              <a:gd name="connsiteY106" fmla="*/ 1529519 h 4504080"/>
              <a:gd name="connsiteX107" fmla="*/ 0 w 11199600"/>
              <a:gd name="connsiteY107" fmla="*/ 1255278 h 4504080"/>
              <a:gd name="connsiteX108" fmla="*/ 0 w 11199600"/>
              <a:gd name="connsiteY108" fmla="*/ 1168307 h 4504080"/>
              <a:gd name="connsiteX109" fmla="*/ 0 w 11199600"/>
              <a:gd name="connsiteY109" fmla="*/ 894067 h 4504080"/>
              <a:gd name="connsiteX110" fmla="*/ 0 w 11199600"/>
              <a:gd name="connsiteY110" fmla="*/ 782195 h 4504080"/>
              <a:gd name="connsiteX111" fmla="*/ 0 w 11199600"/>
              <a:gd name="connsiteY111" fmla="*/ 507955 h 4504080"/>
              <a:gd name="connsiteX112" fmla="*/ 0 w 11199600"/>
              <a:gd name="connsiteY112" fmla="*/ 370350 h 4504080"/>
              <a:gd name="connsiteX113" fmla="*/ 0 w 11199600"/>
              <a:gd name="connsiteY113" fmla="*/ 96110 h 4504080"/>
              <a:gd name="connsiteX114" fmla="*/ 95997 w 11199600"/>
              <a:gd name="connsiteY114" fmla="*/ 0 h 450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1199600" h="4504080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26118"/>
                </a:lnTo>
                <a:lnTo>
                  <a:pt x="11199600" y="1651536"/>
                </a:lnTo>
                <a:lnTo>
                  <a:pt x="11199600" y="1762133"/>
                </a:lnTo>
                <a:lnTo>
                  <a:pt x="11199600" y="1779318"/>
                </a:lnTo>
                <a:lnTo>
                  <a:pt x="11199600" y="1787219"/>
                </a:lnTo>
                <a:lnTo>
                  <a:pt x="11199600" y="1843417"/>
                </a:lnTo>
                <a:lnTo>
                  <a:pt x="11199600" y="1984894"/>
                </a:lnTo>
                <a:lnTo>
                  <a:pt x="11199600" y="2032038"/>
                </a:lnTo>
                <a:lnTo>
                  <a:pt x="11199600" y="2036373"/>
                </a:lnTo>
                <a:cubicBezTo>
                  <a:pt x="11199600" y="2122837"/>
                  <a:pt x="11199600" y="2212759"/>
                  <a:pt x="11199600" y="2306279"/>
                </a:cubicBezTo>
                <a:lnTo>
                  <a:pt x="11199600" y="2323525"/>
                </a:lnTo>
                <a:lnTo>
                  <a:pt x="11199600" y="2597765"/>
                </a:lnTo>
                <a:lnTo>
                  <a:pt x="11199600" y="2637423"/>
                </a:lnTo>
                <a:lnTo>
                  <a:pt x="11199600" y="2911664"/>
                </a:lnTo>
                <a:lnTo>
                  <a:pt x="11199600" y="2974563"/>
                </a:lnTo>
                <a:lnTo>
                  <a:pt x="11199600" y="3248803"/>
                </a:lnTo>
                <a:lnTo>
                  <a:pt x="11199600" y="3335774"/>
                </a:lnTo>
                <a:lnTo>
                  <a:pt x="11199600" y="3610014"/>
                </a:lnTo>
                <a:lnTo>
                  <a:pt x="11199600" y="3721887"/>
                </a:lnTo>
                <a:lnTo>
                  <a:pt x="11199600" y="3996127"/>
                </a:lnTo>
                <a:lnTo>
                  <a:pt x="11199600" y="4133731"/>
                </a:lnTo>
                <a:lnTo>
                  <a:pt x="11199600" y="4407971"/>
                </a:lnTo>
                <a:cubicBezTo>
                  <a:pt x="11199600" y="4480054"/>
                  <a:pt x="11145602" y="4498074"/>
                  <a:pt x="11118603" y="4502580"/>
                </a:cubicBezTo>
                <a:lnTo>
                  <a:pt x="11103613" y="4504080"/>
                </a:lnTo>
                <a:lnTo>
                  <a:pt x="95989" y="4504080"/>
                </a:lnTo>
                <a:lnTo>
                  <a:pt x="64311" y="4499952"/>
                </a:lnTo>
                <a:cubicBezTo>
                  <a:pt x="0" y="4481555"/>
                  <a:pt x="0" y="4407971"/>
                  <a:pt x="0" y="4407971"/>
                </a:cubicBezTo>
                <a:lnTo>
                  <a:pt x="0" y="4404236"/>
                </a:lnTo>
                <a:lnTo>
                  <a:pt x="0" y="4395365"/>
                </a:lnTo>
                <a:lnTo>
                  <a:pt x="0" y="4378089"/>
                </a:lnTo>
                <a:lnTo>
                  <a:pt x="0" y="4349608"/>
                </a:lnTo>
                <a:lnTo>
                  <a:pt x="0" y="4307120"/>
                </a:lnTo>
                <a:lnTo>
                  <a:pt x="0" y="4247823"/>
                </a:lnTo>
                <a:lnTo>
                  <a:pt x="0" y="4168916"/>
                </a:lnTo>
                <a:lnTo>
                  <a:pt x="0" y="4133731"/>
                </a:lnTo>
                <a:lnTo>
                  <a:pt x="0" y="4132625"/>
                </a:lnTo>
                <a:lnTo>
                  <a:pt x="0" y="4124877"/>
                </a:lnTo>
                <a:lnTo>
                  <a:pt x="0" y="4104034"/>
                </a:lnTo>
                <a:lnTo>
                  <a:pt x="0" y="4103849"/>
                </a:lnTo>
                <a:lnTo>
                  <a:pt x="0" y="4062900"/>
                </a:lnTo>
                <a:lnTo>
                  <a:pt x="0" y="4032880"/>
                </a:lnTo>
                <a:lnTo>
                  <a:pt x="0" y="4028361"/>
                </a:lnTo>
                <a:lnTo>
                  <a:pt x="0" y="3995389"/>
                </a:lnTo>
                <a:lnTo>
                  <a:pt x="0" y="3949598"/>
                </a:lnTo>
                <a:lnTo>
                  <a:pt x="0" y="3941067"/>
                </a:lnTo>
                <a:lnTo>
                  <a:pt x="0" y="3894676"/>
                </a:lnTo>
                <a:lnTo>
                  <a:pt x="0" y="3841322"/>
                </a:lnTo>
                <a:lnTo>
                  <a:pt x="0" y="3829794"/>
                </a:lnTo>
                <a:lnTo>
                  <a:pt x="0" y="3754121"/>
                </a:lnTo>
                <a:lnTo>
                  <a:pt x="0" y="3728297"/>
                </a:lnTo>
                <a:lnTo>
                  <a:pt x="0" y="3666827"/>
                </a:lnTo>
                <a:lnTo>
                  <a:pt x="0" y="3601160"/>
                </a:lnTo>
                <a:lnTo>
                  <a:pt x="0" y="3567082"/>
                </a:lnTo>
                <a:lnTo>
                  <a:pt x="0" y="3459083"/>
                </a:lnTo>
                <a:lnTo>
                  <a:pt x="0" y="3454057"/>
                </a:lnTo>
                <a:lnTo>
                  <a:pt x="0" y="3326920"/>
                </a:lnTo>
                <a:lnTo>
                  <a:pt x="0" y="3301235"/>
                </a:lnTo>
                <a:lnTo>
                  <a:pt x="0" y="3184843"/>
                </a:lnTo>
                <a:lnTo>
                  <a:pt x="0" y="3126785"/>
                </a:lnTo>
                <a:lnTo>
                  <a:pt x="0" y="3026995"/>
                </a:lnTo>
                <a:lnTo>
                  <a:pt x="0" y="2934905"/>
                </a:lnTo>
                <a:lnTo>
                  <a:pt x="0" y="2852545"/>
                </a:lnTo>
                <a:lnTo>
                  <a:pt x="0" y="2724763"/>
                </a:lnTo>
                <a:lnTo>
                  <a:pt x="0" y="2660665"/>
                </a:lnTo>
                <a:lnTo>
                  <a:pt x="0" y="2495530"/>
                </a:lnTo>
                <a:lnTo>
                  <a:pt x="0" y="2450523"/>
                </a:lnTo>
                <a:lnTo>
                  <a:pt x="0" y="2246376"/>
                </a:lnTo>
                <a:lnTo>
                  <a:pt x="0" y="2221290"/>
                </a:lnTo>
                <a:lnTo>
                  <a:pt x="0" y="1984894"/>
                </a:lnTo>
                <a:lnTo>
                  <a:pt x="0" y="1976471"/>
                </a:lnTo>
                <a:lnTo>
                  <a:pt x="0" y="197213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702231"/>
                </a:lnTo>
                <a:lnTo>
                  <a:pt x="0" y="1684984"/>
                </a:lnTo>
                <a:lnTo>
                  <a:pt x="0" y="162611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39676" tIns="35996" rIns="35996" bIns="35996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838200" y="257726"/>
            <a:ext cx="11059319" cy="11798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4600"/>
              </a:lnSpc>
              <a:defRPr sz="4600"/>
            </a:lvl1pPr>
          </a:lstStyle>
          <a:p>
            <a:r>
              <a:rPr lang="en-US" noProof="0" smtClean="0"/>
              <a:t>Click to edit </a:t>
            </a:r>
            <a:br>
              <a:rPr lang="en-US" noProof="0" smtClean="0"/>
            </a:br>
            <a:r>
              <a:rPr lang="en-US" noProof="0" smtClean="0"/>
              <a:t>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23433" y="6358070"/>
            <a:ext cx="1183250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212670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2">
          <p15:clr>
            <a:srgbClr val="FBAE40"/>
          </p15:clr>
        </p15:guide>
      </p15:sldGuideLst>
    </p:ext>
  </p:extLs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001" y="1278384"/>
            <a:ext cx="5058750" cy="4921200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278384"/>
            <a:ext cx="5058000" cy="49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584860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lit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845575" y="1279981"/>
            <a:ext cx="5058000" cy="324000"/>
          </a:xfrm>
        </p:spPr>
        <p:txBody>
          <a:bodyPr>
            <a:noAutofit/>
          </a:bodyPr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845575" y="1754561"/>
            <a:ext cx="5058000" cy="1854000"/>
          </a:xfrm>
        </p:spPr>
        <p:txBody>
          <a:bodyPr/>
          <a:lstStyle>
            <a:lvl3pPr>
              <a:lnSpc>
                <a:spcPts val="2199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45575" y="3877591"/>
            <a:ext cx="5058000" cy="324000"/>
          </a:xfrm>
        </p:spPr>
        <p:txBody>
          <a:bodyPr>
            <a:noAutofit/>
          </a:bodyPr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845575" y="4346776"/>
            <a:ext cx="5058000" cy="1854000"/>
          </a:xfrm>
        </p:spPr>
        <p:txBody>
          <a:bodyPr/>
          <a:lstStyle>
            <a:lvl3pPr>
              <a:lnSpc>
                <a:spcPts val="2199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845575" y="1682898"/>
            <a:ext cx="5058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845575" y="4278810"/>
            <a:ext cx="5058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6276751" y="1279981"/>
            <a:ext cx="5058000" cy="324000"/>
          </a:xfrm>
        </p:spPr>
        <p:txBody>
          <a:bodyPr>
            <a:noAutofit/>
          </a:bodyPr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276751" y="1754561"/>
            <a:ext cx="5058000" cy="1854000"/>
          </a:xfrm>
        </p:spPr>
        <p:txBody>
          <a:bodyPr/>
          <a:lstStyle>
            <a:lvl3pPr>
              <a:lnSpc>
                <a:spcPts val="2199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276751" y="3877591"/>
            <a:ext cx="5058000" cy="324000"/>
          </a:xfrm>
        </p:spPr>
        <p:txBody>
          <a:bodyPr>
            <a:noAutofit/>
          </a:bodyPr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276751" y="4346776"/>
            <a:ext cx="5058000" cy="1854000"/>
          </a:xfrm>
        </p:spPr>
        <p:txBody>
          <a:bodyPr/>
          <a:lstStyle>
            <a:lvl3pPr>
              <a:lnSpc>
                <a:spcPts val="2199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>
            <a:off x="6276751" y="1682898"/>
            <a:ext cx="5058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6276751" y="4278810"/>
            <a:ext cx="5058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358644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pos="3720" userDrawn="1">
          <p15:clr>
            <a:srgbClr val="FBAE40"/>
          </p15:clr>
        </p15:guide>
        <p15:guide id="3" pos="3953" userDrawn="1">
          <p15:clr>
            <a:srgbClr val="FBAE40"/>
          </p15:clr>
        </p15:guide>
        <p15:guide id="4" orient="horz" pos="2274" userDrawn="1">
          <p15:clr>
            <a:srgbClr val="FBAE40"/>
          </p15:clr>
        </p15:guide>
        <p15:guide id="5" orient="horz" pos="2442" userDrawn="1">
          <p15:clr>
            <a:srgbClr val="FBAE40"/>
          </p15:clr>
        </p15:guide>
      </p15:sldGuideLst>
    </p:ext>
  </p:extLs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001" y="1795636"/>
            <a:ext cx="5058750" cy="4403948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795636"/>
            <a:ext cx="5058000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845575" y="1277982"/>
            <a:ext cx="5059925" cy="436017"/>
          </a:xfrm>
        </p:spPr>
        <p:txBody>
          <a:bodyPr>
            <a:noAutofit/>
          </a:bodyPr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274826" y="1277982"/>
            <a:ext cx="5059925" cy="436017"/>
          </a:xfrm>
        </p:spPr>
        <p:txBody>
          <a:bodyPr>
            <a:noAutofit/>
          </a:bodyPr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71217052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001" y="1278000"/>
            <a:ext cx="5058750" cy="4929584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795636"/>
            <a:ext cx="5058000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845575" y="1277982"/>
            <a:ext cx="5059925" cy="436017"/>
          </a:xfrm>
        </p:spPr>
        <p:txBody>
          <a:bodyPr>
            <a:noAutofit/>
          </a:bodyPr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85268081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001" y="1795636"/>
            <a:ext cx="5058750" cy="4403948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278000"/>
            <a:ext cx="5058000" cy="49295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274826" y="1277982"/>
            <a:ext cx="5059925" cy="436017"/>
          </a:xfrm>
        </p:spPr>
        <p:txBody>
          <a:bodyPr>
            <a:noAutofit/>
          </a:bodyPr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54232049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3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751" y="1278001"/>
            <a:ext cx="5058000" cy="233017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4" name="Text Placeholder 2"/>
          <p:cNvSpPr>
            <a:spLocks noGrp="1"/>
          </p:cNvSpPr>
          <p:nvPr>
            <p:ph idx="28"/>
          </p:nvPr>
        </p:nvSpPr>
        <p:spPr bwMode="gray">
          <a:xfrm>
            <a:off x="845575" y="1278001"/>
            <a:ext cx="5058000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5" name="Content Placeholder 3"/>
          <p:cNvSpPr>
            <a:spLocks noGrp="1"/>
          </p:cNvSpPr>
          <p:nvPr>
            <p:ph sz="half" idx="29"/>
          </p:nvPr>
        </p:nvSpPr>
        <p:spPr bwMode="gray">
          <a:xfrm>
            <a:off x="6276751" y="3877592"/>
            <a:ext cx="5058000" cy="233017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idx="30"/>
          </p:nvPr>
        </p:nvSpPr>
        <p:spPr bwMode="gray">
          <a:xfrm>
            <a:off x="845575" y="3877592"/>
            <a:ext cx="5058000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382415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  <p15:guide id="3" orient="horz" pos="2274">
          <p15:clr>
            <a:srgbClr val="FBAE40"/>
          </p15:clr>
        </p15:guide>
        <p15:guide id="4" orient="horz" pos="2442">
          <p15:clr>
            <a:srgbClr val="FBAE40"/>
          </p15:clr>
        </p15:guide>
      </p15:sldGuideLst>
    </p:ext>
  </p:extLs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846907" y="1278384"/>
            <a:ext cx="3265200" cy="23292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4458228" y="1278384"/>
            <a:ext cx="3265200" cy="23292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8069550" y="1278384"/>
            <a:ext cx="3265200" cy="23292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846908" y="3884251"/>
            <a:ext cx="3265200" cy="23292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4458229" y="3884251"/>
            <a:ext cx="3265200" cy="23292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8069550" y="3884251"/>
            <a:ext cx="3265200" cy="23292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024412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91">
          <p15:clr>
            <a:srgbClr val="FBAE40"/>
          </p15:clr>
        </p15:guide>
        <p15:guide id="2" pos="2808">
          <p15:clr>
            <a:srgbClr val="FBAE40"/>
          </p15:clr>
        </p15:guide>
        <p15:guide id="3" pos="4866">
          <p15:clr>
            <a:srgbClr val="FBAE40"/>
          </p15:clr>
        </p15:guide>
        <p15:guide id="4" pos="5082">
          <p15:clr>
            <a:srgbClr val="FBAE40"/>
          </p15:clr>
        </p15:guide>
        <p15:guide id="5" orient="horz" pos="2274">
          <p15:clr>
            <a:srgbClr val="FBAE40"/>
          </p15:clr>
        </p15:guide>
        <p15:guide id="6" orient="horz" pos="2442">
          <p15:clr>
            <a:srgbClr val="FBAE40"/>
          </p15:clr>
        </p15:guide>
      </p15:sldGuideLst>
    </p:ext>
  </p:extLs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846907" y="1795637"/>
            <a:ext cx="3265200" cy="269698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4458228" y="1795637"/>
            <a:ext cx="3265200" cy="269698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8069550" y="1795637"/>
            <a:ext cx="3265200" cy="269698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846908" y="4760735"/>
            <a:ext cx="3265200" cy="144004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4458229" y="4760735"/>
            <a:ext cx="3265200" cy="144004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8069550" y="4760735"/>
            <a:ext cx="3265200" cy="144004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845574" y="1277982"/>
            <a:ext cx="3265200" cy="436017"/>
          </a:xfrm>
        </p:spPr>
        <p:txBody>
          <a:bodyPr>
            <a:noAutofit/>
          </a:bodyPr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58228" y="1277982"/>
            <a:ext cx="3265200" cy="436017"/>
          </a:xfrm>
        </p:spPr>
        <p:txBody>
          <a:bodyPr/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8069550" y="1277982"/>
            <a:ext cx="3265200" cy="436017"/>
          </a:xfrm>
        </p:spPr>
        <p:txBody>
          <a:bodyPr/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5003677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08">
          <p15:clr>
            <a:srgbClr val="FBAE40"/>
          </p15:clr>
        </p15:guide>
        <p15:guide id="2" pos="4866">
          <p15:clr>
            <a:srgbClr val="FBAE40"/>
          </p15:clr>
        </p15:guide>
        <p15:guide id="3" pos="5082">
          <p15:clr>
            <a:srgbClr val="FBAE40"/>
          </p15:clr>
        </p15:guide>
        <p15:guide id="4" orient="horz" pos="2830">
          <p15:clr>
            <a:srgbClr val="FBAE40"/>
          </p15:clr>
        </p15:guide>
        <p15:guide id="5" orient="horz" pos="2998">
          <p15:clr>
            <a:srgbClr val="FBAE40"/>
          </p15:clr>
        </p15:guide>
        <p15:guide id="6" pos="2592">
          <p15:clr>
            <a:srgbClr val="FBAE40"/>
          </p15:clr>
        </p15:guide>
      </p15:sldGuideLst>
    </p:ext>
  </p:extLs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lit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845575" y="1279981"/>
            <a:ext cx="5058000" cy="324000"/>
          </a:xfrm>
        </p:spPr>
        <p:txBody>
          <a:bodyPr>
            <a:noAutofit/>
          </a:bodyPr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845575" y="1754561"/>
            <a:ext cx="5058000" cy="1854000"/>
          </a:xfrm>
        </p:spPr>
        <p:txBody>
          <a:bodyPr/>
          <a:lstStyle>
            <a:lvl3pPr>
              <a:lnSpc>
                <a:spcPts val="2199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45575" y="3877591"/>
            <a:ext cx="5058000" cy="324000"/>
          </a:xfrm>
        </p:spPr>
        <p:txBody>
          <a:bodyPr>
            <a:noAutofit/>
          </a:bodyPr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845575" y="4346776"/>
            <a:ext cx="5058000" cy="1854000"/>
          </a:xfrm>
        </p:spPr>
        <p:txBody>
          <a:bodyPr/>
          <a:lstStyle>
            <a:lvl3pPr>
              <a:lnSpc>
                <a:spcPts val="2199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845575" y="1682898"/>
            <a:ext cx="5058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845575" y="4278810"/>
            <a:ext cx="5058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6276751" y="1279981"/>
            <a:ext cx="5058000" cy="324000"/>
          </a:xfrm>
        </p:spPr>
        <p:txBody>
          <a:bodyPr>
            <a:noAutofit/>
          </a:bodyPr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276751" y="1754561"/>
            <a:ext cx="5058000" cy="1854000"/>
          </a:xfrm>
        </p:spPr>
        <p:txBody>
          <a:bodyPr/>
          <a:lstStyle>
            <a:lvl3pPr>
              <a:lnSpc>
                <a:spcPts val="2199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276751" y="3877591"/>
            <a:ext cx="5058000" cy="324000"/>
          </a:xfrm>
        </p:spPr>
        <p:txBody>
          <a:bodyPr>
            <a:noAutofit/>
          </a:bodyPr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276751" y="4346776"/>
            <a:ext cx="5058000" cy="1854000"/>
          </a:xfrm>
        </p:spPr>
        <p:txBody>
          <a:bodyPr/>
          <a:lstStyle>
            <a:lvl3pPr>
              <a:lnSpc>
                <a:spcPts val="2199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>
            <a:off x="6276751" y="1682898"/>
            <a:ext cx="5058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6276751" y="4278810"/>
            <a:ext cx="5058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176161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53">
          <p15:clr>
            <a:srgbClr val="FBAE40"/>
          </p15:clr>
        </p15:guide>
        <p15:guide id="3" orient="horz" pos="2274">
          <p15:clr>
            <a:srgbClr val="FBAE40"/>
          </p15:clr>
        </p15:guide>
        <p15:guide id="4" orient="horz" pos="2442">
          <p15:clr>
            <a:srgbClr val="FBAE40"/>
          </p15:clr>
        </p15:guide>
      </p15:sldGuideLst>
    </p:ext>
  </p:extLs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845575" y="1278384"/>
            <a:ext cx="32652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845575" y="1757279"/>
            <a:ext cx="3265200" cy="1850305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45575" y="3878568"/>
            <a:ext cx="32652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845575" y="4346776"/>
            <a:ext cx="32652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845575" y="1685616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845575" y="4278810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8069550" y="1278384"/>
            <a:ext cx="32652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1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069550" y="1757279"/>
            <a:ext cx="3265200" cy="1850305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069550" y="3878568"/>
            <a:ext cx="32652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3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069550" y="4346776"/>
            <a:ext cx="32652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44" name="Straight Connector 43"/>
          <p:cNvCxnSpPr/>
          <p:nvPr userDrawn="1"/>
        </p:nvCxnSpPr>
        <p:spPr bwMode="gray">
          <a:xfrm>
            <a:off x="8069550" y="1685616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 bwMode="gray">
          <a:xfrm>
            <a:off x="8069550" y="4278810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4457562" y="1278384"/>
            <a:ext cx="32652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7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4457562" y="1757279"/>
            <a:ext cx="3265200" cy="1850305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4457562" y="3878568"/>
            <a:ext cx="32652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9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4457562" y="4346776"/>
            <a:ext cx="32652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0" name="Straight Connector 49"/>
          <p:cNvCxnSpPr/>
          <p:nvPr userDrawn="1"/>
        </p:nvCxnSpPr>
        <p:spPr bwMode="gray">
          <a:xfrm>
            <a:off x="4457562" y="1685616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4457562" y="4278810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75680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92">
          <p15:clr>
            <a:srgbClr val="FBAE40"/>
          </p15:clr>
        </p15:guide>
        <p15:guide id="2" pos="5082">
          <p15:clr>
            <a:srgbClr val="FBAE40"/>
          </p15:clr>
        </p15:guide>
        <p15:guide id="3" pos="2803">
          <p15:clr>
            <a:srgbClr val="FBAE40"/>
          </p15:clr>
        </p15:guide>
        <p15:guide id="4" pos="4866">
          <p15:clr>
            <a:srgbClr val="FBAE40"/>
          </p15:clr>
        </p15:guide>
        <p15:guide id="5" orient="horz" pos="2274">
          <p15:clr>
            <a:srgbClr val="FBAE40"/>
          </p15:clr>
        </p15:guide>
        <p15:guide id="6" orient="horz" pos="2442">
          <p15:clr>
            <a:srgbClr val="FBAE40"/>
          </p15:clr>
        </p15:guide>
      </p15:sldGuideLst>
    </p:ext>
  </p:extLs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845574" y="1278384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845574" y="1757279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45574" y="3878568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845574" y="4346776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845574" y="1685616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845574" y="4278810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89966" y="1278384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2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3489966" y="1757279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3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3489966" y="3878568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4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3489966" y="4346776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5" name="Straight Connector 54"/>
          <p:cNvCxnSpPr/>
          <p:nvPr userDrawn="1"/>
        </p:nvCxnSpPr>
        <p:spPr bwMode="gray">
          <a:xfrm>
            <a:off x="3489966" y="1685616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 bwMode="gray">
          <a:xfrm>
            <a:off x="3489966" y="4278810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6134358" y="1278384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8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6134358" y="1757279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6134358" y="3878568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0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6134358" y="4346776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1" name="Straight Connector 60"/>
          <p:cNvCxnSpPr/>
          <p:nvPr userDrawn="1"/>
        </p:nvCxnSpPr>
        <p:spPr bwMode="gray">
          <a:xfrm>
            <a:off x="6134358" y="1685616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 bwMode="gray">
          <a:xfrm>
            <a:off x="6134358" y="4278810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2"/>
          <p:cNvSpPr>
            <a:spLocks noGrp="1"/>
          </p:cNvSpPr>
          <p:nvPr>
            <p:ph idx="30" hasCustomPrompt="1"/>
          </p:nvPr>
        </p:nvSpPr>
        <p:spPr bwMode="gray">
          <a:xfrm>
            <a:off x="8778750" y="1278384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4" name="Content Placeholder 2"/>
          <p:cNvSpPr>
            <a:spLocks noGrp="1"/>
          </p:cNvSpPr>
          <p:nvPr>
            <p:ph idx="31" hasCustomPrompt="1"/>
          </p:nvPr>
        </p:nvSpPr>
        <p:spPr bwMode="gray">
          <a:xfrm>
            <a:off x="8778750" y="1757279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65" name="Content Placeholder 2"/>
          <p:cNvSpPr>
            <a:spLocks noGrp="1"/>
          </p:cNvSpPr>
          <p:nvPr>
            <p:ph idx="32" hasCustomPrompt="1"/>
          </p:nvPr>
        </p:nvSpPr>
        <p:spPr bwMode="gray">
          <a:xfrm>
            <a:off x="8778750" y="3878568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6" name="Content Placeholder 2"/>
          <p:cNvSpPr>
            <a:spLocks noGrp="1"/>
          </p:cNvSpPr>
          <p:nvPr>
            <p:ph idx="33" hasCustomPrompt="1"/>
          </p:nvPr>
        </p:nvSpPr>
        <p:spPr bwMode="gray">
          <a:xfrm>
            <a:off x="8778750" y="4346776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7" name="Straight Connector 66"/>
          <p:cNvCxnSpPr/>
          <p:nvPr userDrawn="1"/>
        </p:nvCxnSpPr>
        <p:spPr bwMode="gray">
          <a:xfrm>
            <a:off x="8778750" y="1685616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 userDrawn="1"/>
        </p:nvCxnSpPr>
        <p:spPr bwMode="gray">
          <a:xfrm>
            <a:off x="8778750" y="4278810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010773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149">
          <p15:clr>
            <a:srgbClr val="FBAE40"/>
          </p15:clr>
        </p15:guide>
        <p15:guide id="2" pos="5480">
          <p15:clr>
            <a:srgbClr val="FBAE40"/>
          </p15:clr>
        </p15:guide>
        <p15:guide id="3" pos="3864">
          <p15:clr>
            <a:srgbClr val="FBAE40"/>
          </p15:clr>
        </p15:guide>
        <p15:guide id="4" pos="2196">
          <p15:clr>
            <a:srgbClr val="FBAE40"/>
          </p15:clr>
        </p15:guide>
        <p15:guide id="5" pos="3809">
          <p15:clr>
            <a:srgbClr val="FBAE40"/>
          </p15:clr>
        </p15:guide>
        <p15:guide id="6" pos="5528">
          <p15:clr>
            <a:srgbClr val="FBAE40"/>
          </p15:clr>
        </p15:guide>
        <p15:guide id="7" orient="horz" pos="2274">
          <p15:clr>
            <a:srgbClr val="FBAE40"/>
          </p15:clr>
        </p15:guide>
        <p15:guide id="8" orient="horz" pos="2442">
          <p15:clr>
            <a:srgbClr val="FBAE40"/>
          </p15:clr>
        </p15:guide>
      </p15:sldGuideLst>
    </p:ext>
  </p:extLs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547528" y="1270001"/>
            <a:ext cx="6787224" cy="49784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 bwMode="gray">
          <a:xfrm>
            <a:off x="693739" y="280733"/>
            <a:ext cx="3443287" cy="5920066"/>
          </a:xfrm>
          <a:custGeom>
            <a:avLst/>
            <a:gdLst>
              <a:gd name="connsiteX0" fmla="*/ 95997 w 3443287"/>
              <a:gd name="connsiteY0" fmla="*/ 0 h 5920066"/>
              <a:gd name="connsiteX1" fmla="*/ 3443287 w 3443287"/>
              <a:gd name="connsiteY1" fmla="*/ 0 h 5920066"/>
              <a:gd name="connsiteX2" fmla="*/ 3443287 w 3443287"/>
              <a:gd name="connsiteY2" fmla="*/ 5920066 h 5920066"/>
              <a:gd name="connsiteX3" fmla="*/ 95989 w 3443287"/>
              <a:gd name="connsiteY3" fmla="*/ 5920066 h 5920066"/>
              <a:gd name="connsiteX4" fmla="*/ 64311 w 3443287"/>
              <a:gd name="connsiteY4" fmla="*/ 5915938 h 5920066"/>
              <a:gd name="connsiteX5" fmla="*/ 0 w 3443287"/>
              <a:gd name="connsiteY5" fmla="*/ 5823957 h 5920066"/>
              <a:gd name="connsiteX6" fmla="*/ 0 w 3443287"/>
              <a:gd name="connsiteY6" fmla="*/ 5820222 h 5920066"/>
              <a:gd name="connsiteX7" fmla="*/ 0 w 3443287"/>
              <a:gd name="connsiteY7" fmla="*/ 5811351 h 5920066"/>
              <a:gd name="connsiteX8" fmla="*/ 0 w 3443287"/>
              <a:gd name="connsiteY8" fmla="*/ 5794075 h 5920066"/>
              <a:gd name="connsiteX9" fmla="*/ 0 w 3443287"/>
              <a:gd name="connsiteY9" fmla="*/ 5765594 h 5920066"/>
              <a:gd name="connsiteX10" fmla="*/ 0 w 3443287"/>
              <a:gd name="connsiteY10" fmla="*/ 5723106 h 5920066"/>
              <a:gd name="connsiteX11" fmla="*/ 0 w 3443287"/>
              <a:gd name="connsiteY11" fmla="*/ 5663809 h 5920066"/>
              <a:gd name="connsiteX12" fmla="*/ 0 w 3443287"/>
              <a:gd name="connsiteY12" fmla="*/ 5584902 h 5920066"/>
              <a:gd name="connsiteX13" fmla="*/ 0 w 3443287"/>
              <a:gd name="connsiteY13" fmla="*/ 5549717 h 5920066"/>
              <a:gd name="connsiteX14" fmla="*/ 0 w 3443287"/>
              <a:gd name="connsiteY14" fmla="*/ 5548611 h 5920066"/>
              <a:gd name="connsiteX15" fmla="*/ 0 w 3443287"/>
              <a:gd name="connsiteY15" fmla="*/ 5540863 h 5920066"/>
              <a:gd name="connsiteX16" fmla="*/ 0 w 3443287"/>
              <a:gd name="connsiteY16" fmla="*/ 5520020 h 5920066"/>
              <a:gd name="connsiteX17" fmla="*/ 0 w 3443287"/>
              <a:gd name="connsiteY17" fmla="*/ 5519835 h 5920066"/>
              <a:gd name="connsiteX18" fmla="*/ 0 w 3443287"/>
              <a:gd name="connsiteY18" fmla="*/ 5478886 h 5920066"/>
              <a:gd name="connsiteX19" fmla="*/ 0 w 3443287"/>
              <a:gd name="connsiteY19" fmla="*/ 5448866 h 5920066"/>
              <a:gd name="connsiteX20" fmla="*/ 0 w 3443287"/>
              <a:gd name="connsiteY20" fmla="*/ 5444347 h 5920066"/>
              <a:gd name="connsiteX21" fmla="*/ 0 w 3443287"/>
              <a:gd name="connsiteY21" fmla="*/ 5411375 h 5920066"/>
              <a:gd name="connsiteX22" fmla="*/ 0 w 3443287"/>
              <a:gd name="connsiteY22" fmla="*/ 5365584 h 5920066"/>
              <a:gd name="connsiteX23" fmla="*/ 0 w 3443287"/>
              <a:gd name="connsiteY23" fmla="*/ 5357053 h 5920066"/>
              <a:gd name="connsiteX24" fmla="*/ 0 w 3443287"/>
              <a:gd name="connsiteY24" fmla="*/ 5310662 h 5920066"/>
              <a:gd name="connsiteX25" fmla="*/ 0 w 3443287"/>
              <a:gd name="connsiteY25" fmla="*/ 5257308 h 5920066"/>
              <a:gd name="connsiteX26" fmla="*/ 0 w 3443287"/>
              <a:gd name="connsiteY26" fmla="*/ 5245780 h 5920066"/>
              <a:gd name="connsiteX27" fmla="*/ 0 w 3443287"/>
              <a:gd name="connsiteY27" fmla="*/ 5170107 h 5920066"/>
              <a:gd name="connsiteX28" fmla="*/ 0 w 3443287"/>
              <a:gd name="connsiteY28" fmla="*/ 5144283 h 5920066"/>
              <a:gd name="connsiteX29" fmla="*/ 0 w 3443287"/>
              <a:gd name="connsiteY29" fmla="*/ 5082813 h 5920066"/>
              <a:gd name="connsiteX30" fmla="*/ 0 w 3443287"/>
              <a:gd name="connsiteY30" fmla="*/ 5017146 h 5920066"/>
              <a:gd name="connsiteX31" fmla="*/ 0 w 3443287"/>
              <a:gd name="connsiteY31" fmla="*/ 4983068 h 5920066"/>
              <a:gd name="connsiteX32" fmla="*/ 0 w 3443287"/>
              <a:gd name="connsiteY32" fmla="*/ 4903543 h 5920066"/>
              <a:gd name="connsiteX33" fmla="*/ 0 w 3443287"/>
              <a:gd name="connsiteY33" fmla="*/ 4899808 h 5920066"/>
              <a:gd name="connsiteX34" fmla="*/ 0 w 3443287"/>
              <a:gd name="connsiteY34" fmla="*/ 4890937 h 5920066"/>
              <a:gd name="connsiteX35" fmla="*/ 0 w 3443287"/>
              <a:gd name="connsiteY35" fmla="*/ 4875069 h 5920066"/>
              <a:gd name="connsiteX36" fmla="*/ 0 w 3443287"/>
              <a:gd name="connsiteY36" fmla="*/ 4873661 h 5920066"/>
              <a:gd name="connsiteX37" fmla="*/ 0 w 3443287"/>
              <a:gd name="connsiteY37" fmla="*/ 4870043 h 5920066"/>
              <a:gd name="connsiteX38" fmla="*/ 0 w 3443287"/>
              <a:gd name="connsiteY38" fmla="*/ 4845180 h 5920066"/>
              <a:gd name="connsiteX39" fmla="*/ 0 w 3443287"/>
              <a:gd name="connsiteY39" fmla="*/ 4802692 h 5920066"/>
              <a:gd name="connsiteX40" fmla="*/ 0 w 3443287"/>
              <a:gd name="connsiteY40" fmla="*/ 4743395 h 5920066"/>
              <a:gd name="connsiteX41" fmla="*/ 0 w 3443287"/>
              <a:gd name="connsiteY41" fmla="*/ 4742906 h 5920066"/>
              <a:gd name="connsiteX42" fmla="*/ 0 w 3443287"/>
              <a:gd name="connsiteY42" fmla="*/ 4717221 h 5920066"/>
              <a:gd name="connsiteX43" fmla="*/ 0 w 3443287"/>
              <a:gd name="connsiteY43" fmla="*/ 4664488 h 5920066"/>
              <a:gd name="connsiteX44" fmla="*/ 0 w 3443287"/>
              <a:gd name="connsiteY44" fmla="*/ 4629303 h 5920066"/>
              <a:gd name="connsiteX45" fmla="*/ 0 w 3443287"/>
              <a:gd name="connsiteY45" fmla="*/ 4628197 h 5920066"/>
              <a:gd name="connsiteX46" fmla="*/ 0 w 3443287"/>
              <a:gd name="connsiteY46" fmla="*/ 4620449 h 5920066"/>
              <a:gd name="connsiteX47" fmla="*/ 0 w 3443287"/>
              <a:gd name="connsiteY47" fmla="*/ 4600829 h 5920066"/>
              <a:gd name="connsiteX48" fmla="*/ 0 w 3443287"/>
              <a:gd name="connsiteY48" fmla="*/ 4599606 h 5920066"/>
              <a:gd name="connsiteX49" fmla="*/ 0 w 3443287"/>
              <a:gd name="connsiteY49" fmla="*/ 4599421 h 5920066"/>
              <a:gd name="connsiteX50" fmla="*/ 0 w 3443287"/>
              <a:gd name="connsiteY50" fmla="*/ 4558472 h 5920066"/>
              <a:gd name="connsiteX51" fmla="*/ 0 w 3443287"/>
              <a:gd name="connsiteY51" fmla="*/ 4542771 h 5920066"/>
              <a:gd name="connsiteX52" fmla="*/ 0 w 3443287"/>
              <a:gd name="connsiteY52" fmla="*/ 4528452 h 5920066"/>
              <a:gd name="connsiteX53" fmla="*/ 0 w 3443287"/>
              <a:gd name="connsiteY53" fmla="*/ 4523933 h 5920066"/>
              <a:gd name="connsiteX54" fmla="*/ 0 w 3443287"/>
              <a:gd name="connsiteY54" fmla="*/ 4490961 h 5920066"/>
              <a:gd name="connsiteX55" fmla="*/ 0 w 3443287"/>
              <a:gd name="connsiteY55" fmla="*/ 4445170 h 5920066"/>
              <a:gd name="connsiteX56" fmla="*/ 0 w 3443287"/>
              <a:gd name="connsiteY56" fmla="*/ 4442981 h 5920066"/>
              <a:gd name="connsiteX57" fmla="*/ 0 w 3443287"/>
              <a:gd name="connsiteY57" fmla="*/ 4436639 h 5920066"/>
              <a:gd name="connsiteX58" fmla="*/ 0 w 3443287"/>
              <a:gd name="connsiteY58" fmla="*/ 4390248 h 5920066"/>
              <a:gd name="connsiteX59" fmla="*/ 0 w 3443287"/>
              <a:gd name="connsiteY59" fmla="*/ 4350891 h 5920066"/>
              <a:gd name="connsiteX60" fmla="*/ 0 w 3443287"/>
              <a:gd name="connsiteY60" fmla="*/ 4336894 h 5920066"/>
              <a:gd name="connsiteX61" fmla="*/ 0 w 3443287"/>
              <a:gd name="connsiteY61" fmla="*/ 4325366 h 5920066"/>
              <a:gd name="connsiteX62" fmla="*/ 0 w 3443287"/>
              <a:gd name="connsiteY62" fmla="*/ 4268531 h 5920066"/>
              <a:gd name="connsiteX63" fmla="*/ 0 w 3443287"/>
              <a:gd name="connsiteY63" fmla="*/ 4249693 h 5920066"/>
              <a:gd name="connsiteX64" fmla="*/ 0 w 3443287"/>
              <a:gd name="connsiteY64" fmla="*/ 4223869 h 5920066"/>
              <a:gd name="connsiteX65" fmla="*/ 0 w 3443287"/>
              <a:gd name="connsiteY65" fmla="*/ 4162399 h 5920066"/>
              <a:gd name="connsiteX66" fmla="*/ 0 w 3443287"/>
              <a:gd name="connsiteY66" fmla="*/ 4140749 h 5920066"/>
              <a:gd name="connsiteX67" fmla="*/ 0 w 3443287"/>
              <a:gd name="connsiteY67" fmla="*/ 4096732 h 5920066"/>
              <a:gd name="connsiteX68" fmla="*/ 0 w 3443287"/>
              <a:gd name="connsiteY68" fmla="*/ 4076651 h 5920066"/>
              <a:gd name="connsiteX69" fmla="*/ 0 w 3443287"/>
              <a:gd name="connsiteY69" fmla="*/ 4062654 h 5920066"/>
              <a:gd name="connsiteX70" fmla="*/ 0 w 3443287"/>
              <a:gd name="connsiteY70" fmla="*/ 3954655 h 5920066"/>
              <a:gd name="connsiteX71" fmla="*/ 0 w 3443287"/>
              <a:gd name="connsiteY71" fmla="*/ 3949629 h 5920066"/>
              <a:gd name="connsiteX72" fmla="*/ 0 w 3443287"/>
              <a:gd name="connsiteY72" fmla="*/ 3911516 h 5920066"/>
              <a:gd name="connsiteX73" fmla="*/ 0 w 3443287"/>
              <a:gd name="connsiteY73" fmla="*/ 3866509 h 5920066"/>
              <a:gd name="connsiteX74" fmla="*/ 0 w 3443287"/>
              <a:gd name="connsiteY74" fmla="*/ 3822492 h 5920066"/>
              <a:gd name="connsiteX75" fmla="*/ 0 w 3443287"/>
              <a:gd name="connsiteY75" fmla="*/ 3796807 h 5920066"/>
              <a:gd name="connsiteX76" fmla="*/ 0 w 3443287"/>
              <a:gd name="connsiteY76" fmla="*/ 3680415 h 5920066"/>
              <a:gd name="connsiteX77" fmla="*/ 0 w 3443287"/>
              <a:gd name="connsiteY77" fmla="*/ 3662362 h 5920066"/>
              <a:gd name="connsiteX78" fmla="*/ 0 w 3443287"/>
              <a:gd name="connsiteY78" fmla="*/ 3637276 h 5920066"/>
              <a:gd name="connsiteX79" fmla="*/ 0 w 3443287"/>
              <a:gd name="connsiteY79" fmla="*/ 3622357 h 5920066"/>
              <a:gd name="connsiteX80" fmla="*/ 0 w 3443287"/>
              <a:gd name="connsiteY80" fmla="*/ 3522567 h 5920066"/>
              <a:gd name="connsiteX81" fmla="*/ 0 w 3443287"/>
              <a:gd name="connsiteY81" fmla="*/ 3430477 h 5920066"/>
              <a:gd name="connsiteX82" fmla="*/ 0 w 3443287"/>
              <a:gd name="connsiteY82" fmla="*/ 3392457 h 5920066"/>
              <a:gd name="connsiteX83" fmla="*/ 0 w 3443287"/>
              <a:gd name="connsiteY83" fmla="*/ 3388122 h 5920066"/>
              <a:gd name="connsiteX84" fmla="*/ 0 w 3443287"/>
              <a:gd name="connsiteY84" fmla="*/ 3348117 h 5920066"/>
              <a:gd name="connsiteX85" fmla="*/ 0 w 3443287"/>
              <a:gd name="connsiteY85" fmla="*/ 3220335 h 5920066"/>
              <a:gd name="connsiteX86" fmla="*/ 0 w 3443287"/>
              <a:gd name="connsiteY86" fmla="*/ 3156237 h 5920066"/>
              <a:gd name="connsiteX87" fmla="*/ 0 w 3443287"/>
              <a:gd name="connsiteY87" fmla="*/ 3118217 h 5920066"/>
              <a:gd name="connsiteX88" fmla="*/ 0 w 3443287"/>
              <a:gd name="connsiteY88" fmla="*/ 3100970 h 5920066"/>
              <a:gd name="connsiteX89" fmla="*/ 0 w 3443287"/>
              <a:gd name="connsiteY89" fmla="*/ 2991102 h 5920066"/>
              <a:gd name="connsiteX90" fmla="*/ 0 w 3443287"/>
              <a:gd name="connsiteY90" fmla="*/ 2946095 h 5920066"/>
              <a:gd name="connsiteX91" fmla="*/ 0 w 3443287"/>
              <a:gd name="connsiteY91" fmla="*/ 2826730 h 5920066"/>
              <a:gd name="connsiteX92" fmla="*/ 0 w 3443287"/>
              <a:gd name="connsiteY92" fmla="*/ 2787072 h 5920066"/>
              <a:gd name="connsiteX93" fmla="*/ 0 w 3443287"/>
              <a:gd name="connsiteY93" fmla="*/ 2741948 h 5920066"/>
              <a:gd name="connsiteX94" fmla="*/ 0 w 3443287"/>
              <a:gd name="connsiteY94" fmla="*/ 2716862 h 5920066"/>
              <a:gd name="connsiteX95" fmla="*/ 0 w 3443287"/>
              <a:gd name="connsiteY95" fmla="*/ 2512832 h 5920066"/>
              <a:gd name="connsiteX96" fmla="*/ 0 w 3443287"/>
              <a:gd name="connsiteY96" fmla="*/ 2472043 h 5920066"/>
              <a:gd name="connsiteX97" fmla="*/ 0 w 3443287"/>
              <a:gd name="connsiteY97" fmla="*/ 2467708 h 5920066"/>
              <a:gd name="connsiteX98" fmla="*/ 0 w 3443287"/>
              <a:gd name="connsiteY98" fmla="*/ 2449933 h 5920066"/>
              <a:gd name="connsiteX99" fmla="*/ 0 w 3443287"/>
              <a:gd name="connsiteY99" fmla="*/ 2197803 h 5920066"/>
              <a:gd name="connsiteX100" fmla="*/ 0 w 3443287"/>
              <a:gd name="connsiteY100" fmla="*/ 2180556 h 5920066"/>
              <a:gd name="connsiteX101" fmla="*/ 0 w 3443287"/>
              <a:gd name="connsiteY101" fmla="*/ 2175692 h 5920066"/>
              <a:gd name="connsiteX102" fmla="*/ 0 w 3443287"/>
              <a:gd name="connsiteY102" fmla="*/ 2088721 h 5920066"/>
              <a:gd name="connsiteX103" fmla="*/ 0 w 3443287"/>
              <a:gd name="connsiteY103" fmla="*/ 1906316 h 5920066"/>
              <a:gd name="connsiteX104" fmla="*/ 0 w 3443287"/>
              <a:gd name="connsiteY104" fmla="*/ 1866658 h 5920066"/>
              <a:gd name="connsiteX105" fmla="*/ 0 w 3443287"/>
              <a:gd name="connsiteY105" fmla="*/ 1814481 h 5920066"/>
              <a:gd name="connsiteX106" fmla="*/ 0 w 3443287"/>
              <a:gd name="connsiteY106" fmla="*/ 1702609 h 5920066"/>
              <a:gd name="connsiteX107" fmla="*/ 0 w 3443287"/>
              <a:gd name="connsiteY107" fmla="*/ 1592418 h 5920066"/>
              <a:gd name="connsiteX108" fmla="*/ 0 w 3443287"/>
              <a:gd name="connsiteY108" fmla="*/ 1529519 h 5920066"/>
              <a:gd name="connsiteX109" fmla="*/ 0 w 3443287"/>
              <a:gd name="connsiteY109" fmla="*/ 1428369 h 5920066"/>
              <a:gd name="connsiteX110" fmla="*/ 0 w 3443287"/>
              <a:gd name="connsiteY110" fmla="*/ 1290764 h 5920066"/>
              <a:gd name="connsiteX111" fmla="*/ 0 w 3443287"/>
              <a:gd name="connsiteY111" fmla="*/ 1255278 h 5920066"/>
              <a:gd name="connsiteX112" fmla="*/ 0 w 3443287"/>
              <a:gd name="connsiteY112" fmla="*/ 1168307 h 5920066"/>
              <a:gd name="connsiteX113" fmla="*/ 0 w 3443287"/>
              <a:gd name="connsiteY113" fmla="*/ 1016524 h 5920066"/>
              <a:gd name="connsiteX114" fmla="*/ 0 w 3443287"/>
              <a:gd name="connsiteY114" fmla="*/ 894067 h 5920066"/>
              <a:gd name="connsiteX115" fmla="*/ 0 w 3443287"/>
              <a:gd name="connsiteY115" fmla="*/ 782195 h 5920066"/>
              <a:gd name="connsiteX116" fmla="*/ 0 w 3443287"/>
              <a:gd name="connsiteY116" fmla="*/ 507955 h 5920066"/>
              <a:gd name="connsiteX117" fmla="*/ 0 w 3443287"/>
              <a:gd name="connsiteY117" fmla="*/ 370350 h 5920066"/>
              <a:gd name="connsiteX118" fmla="*/ 0 w 3443287"/>
              <a:gd name="connsiteY118" fmla="*/ 96110 h 5920066"/>
              <a:gd name="connsiteX119" fmla="*/ 95997 w 3443287"/>
              <a:gd name="connsiteY119" fmla="*/ 0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3443287" h="5920066">
                <a:moveTo>
                  <a:pt x="95997" y="0"/>
                </a:moveTo>
                <a:lnTo>
                  <a:pt x="3443287" y="0"/>
                </a:lnTo>
                <a:lnTo>
                  <a:pt x="3443287" y="5920066"/>
                </a:lnTo>
                <a:lnTo>
                  <a:pt x="95989" y="5920066"/>
                </a:lnTo>
                <a:lnTo>
                  <a:pt x="64311" y="5915938"/>
                </a:lnTo>
                <a:cubicBezTo>
                  <a:pt x="0" y="5897541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59964" tIns="359964">
            <a:noAutofit/>
          </a:bodyPr>
          <a:lstStyle>
            <a:lvl1pPr algn="ctr">
              <a:defRPr sz="1400" b="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7528" y="280734"/>
            <a:ext cx="6787223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028242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54">
          <p15:clr>
            <a:srgbClr val="FBAE40"/>
          </p15:clr>
        </p15:guide>
        <p15:guide id="2" pos="261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845575" y="1278384"/>
            <a:ext cx="32652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845575" y="1757279"/>
            <a:ext cx="3265200" cy="1850305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45575" y="3878568"/>
            <a:ext cx="32652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845575" y="4346776"/>
            <a:ext cx="32652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845575" y="1685616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845575" y="4278810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8069550" y="1278384"/>
            <a:ext cx="32652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1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069550" y="1757279"/>
            <a:ext cx="3265200" cy="1850305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069550" y="3878568"/>
            <a:ext cx="32652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3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069550" y="4346776"/>
            <a:ext cx="32652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44" name="Straight Connector 43"/>
          <p:cNvCxnSpPr/>
          <p:nvPr userDrawn="1"/>
        </p:nvCxnSpPr>
        <p:spPr bwMode="gray">
          <a:xfrm>
            <a:off x="8069550" y="1685616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 bwMode="gray">
          <a:xfrm>
            <a:off x="8069550" y="4278810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4457562" y="1278384"/>
            <a:ext cx="32652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7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4457562" y="1757279"/>
            <a:ext cx="3265200" cy="1850305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4457562" y="3878568"/>
            <a:ext cx="32652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9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4457562" y="4346776"/>
            <a:ext cx="32652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0" name="Straight Connector 49"/>
          <p:cNvCxnSpPr/>
          <p:nvPr userDrawn="1"/>
        </p:nvCxnSpPr>
        <p:spPr bwMode="gray">
          <a:xfrm>
            <a:off x="4457562" y="1685616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4457562" y="4278810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9092855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pos="2592" userDrawn="1">
          <p15:clr>
            <a:srgbClr val="FBAE40"/>
          </p15:clr>
        </p15:guide>
        <p15:guide id="3" pos="5082" userDrawn="1">
          <p15:clr>
            <a:srgbClr val="FBAE40"/>
          </p15:clr>
        </p15:guide>
        <p15:guide id="4" pos="2803" userDrawn="1">
          <p15:clr>
            <a:srgbClr val="FBAE40"/>
          </p15:clr>
        </p15:guide>
        <p15:guide id="5" pos="4866" userDrawn="1">
          <p15:clr>
            <a:srgbClr val="FBAE40"/>
          </p15:clr>
        </p15:guide>
        <p15:guide id="6" orient="horz" pos="2274" userDrawn="1">
          <p15:clr>
            <a:srgbClr val="FBAE40"/>
          </p15:clr>
        </p15:guide>
        <p15:guide id="7" orient="horz" pos="2442" userDrawn="1">
          <p15:clr>
            <a:srgbClr val="FBAE40"/>
          </p15:clr>
        </p15:guide>
      </p15:sldGuideLst>
    </p:ext>
  </p:extLs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838200" y="1270001"/>
            <a:ext cx="6786000" cy="49784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8454232" y="280733"/>
            <a:ext cx="3442280" cy="5920066"/>
          </a:xfrm>
          <a:custGeom>
            <a:avLst/>
            <a:gdLst>
              <a:gd name="connsiteX0" fmla="*/ 0 w 3442280"/>
              <a:gd name="connsiteY0" fmla="*/ 0 h 5920066"/>
              <a:gd name="connsiteX1" fmla="*/ 3346283 w 3442280"/>
              <a:gd name="connsiteY1" fmla="*/ 0 h 5920066"/>
              <a:gd name="connsiteX2" fmla="*/ 3442280 w 3442280"/>
              <a:gd name="connsiteY2" fmla="*/ 96110 h 5920066"/>
              <a:gd name="connsiteX3" fmla="*/ 3442280 w 3442280"/>
              <a:gd name="connsiteY3" fmla="*/ 335165 h 5920066"/>
              <a:gd name="connsiteX4" fmla="*/ 3442280 w 3442280"/>
              <a:gd name="connsiteY4" fmla="*/ 370350 h 5920066"/>
              <a:gd name="connsiteX5" fmla="*/ 3442280 w 3442280"/>
              <a:gd name="connsiteY5" fmla="*/ 379204 h 5920066"/>
              <a:gd name="connsiteX6" fmla="*/ 3442280 w 3442280"/>
              <a:gd name="connsiteY6" fmla="*/ 400048 h 5920066"/>
              <a:gd name="connsiteX7" fmla="*/ 3442280 w 3442280"/>
              <a:gd name="connsiteY7" fmla="*/ 400232 h 5920066"/>
              <a:gd name="connsiteX8" fmla="*/ 3442280 w 3442280"/>
              <a:gd name="connsiteY8" fmla="*/ 471202 h 5920066"/>
              <a:gd name="connsiteX9" fmla="*/ 3442280 w 3442280"/>
              <a:gd name="connsiteY9" fmla="*/ 475721 h 5920066"/>
              <a:gd name="connsiteX10" fmla="*/ 3442280 w 3442280"/>
              <a:gd name="connsiteY10" fmla="*/ 508692 h 5920066"/>
              <a:gd name="connsiteX11" fmla="*/ 3442280 w 3442280"/>
              <a:gd name="connsiteY11" fmla="*/ 554484 h 5920066"/>
              <a:gd name="connsiteX12" fmla="*/ 3442280 w 3442280"/>
              <a:gd name="connsiteY12" fmla="*/ 563015 h 5920066"/>
              <a:gd name="connsiteX13" fmla="*/ 3442280 w 3442280"/>
              <a:gd name="connsiteY13" fmla="*/ 609405 h 5920066"/>
              <a:gd name="connsiteX14" fmla="*/ 3442280 w 3442280"/>
              <a:gd name="connsiteY14" fmla="*/ 662759 h 5920066"/>
              <a:gd name="connsiteX15" fmla="*/ 3442280 w 3442280"/>
              <a:gd name="connsiteY15" fmla="*/ 674288 h 5920066"/>
              <a:gd name="connsiteX16" fmla="*/ 3442280 w 3442280"/>
              <a:gd name="connsiteY16" fmla="*/ 749961 h 5920066"/>
              <a:gd name="connsiteX17" fmla="*/ 3442280 w 3442280"/>
              <a:gd name="connsiteY17" fmla="*/ 775785 h 5920066"/>
              <a:gd name="connsiteX18" fmla="*/ 3442280 w 3442280"/>
              <a:gd name="connsiteY18" fmla="*/ 837255 h 5920066"/>
              <a:gd name="connsiteX19" fmla="*/ 3442280 w 3442280"/>
              <a:gd name="connsiteY19" fmla="*/ 902921 h 5920066"/>
              <a:gd name="connsiteX20" fmla="*/ 3442280 w 3442280"/>
              <a:gd name="connsiteY20" fmla="*/ 936999 h 5920066"/>
              <a:gd name="connsiteX21" fmla="*/ 3442280 w 3442280"/>
              <a:gd name="connsiteY21" fmla="*/ 1016524 h 5920066"/>
              <a:gd name="connsiteX22" fmla="*/ 3442280 w 3442280"/>
              <a:gd name="connsiteY22" fmla="*/ 1029131 h 5920066"/>
              <a:gd name="connsiteX23" fmla="*/ 3442280 w 3442280"/>
              <a:gd name="connsiteY23" fmla="*/ 1044999 h 5920066"/>
              <a:gd name="connsiteX24" fmla="*/ 3442280 w 3442280"/>
              <a:gd name="connsiteY24" fmla="*/ 1046406 h 5920066"/>
              <a:gd name="connsiteX25" fmla="*/ 3442280 w 3442280"/>
              <a:gd name="connsiteY25" fmla="*/ 1050025 h 5920066"/>
              <a:gd name="connsiteX26" fmla="*/ 3442280 w 3442280"/>
              <a:gd name="connsiteY26" fmla="*/ 1074887 h 5920066"/>
              <a:gd name="connsiteX27" fmla="*/ 3442280 w 3442280"/>
              <a:gd name="connsiteY27" fmla="*/ 1176672 h 5920066"/>
              <a:gd name="connsiteX28" fmla="*/ 3442280 w 3442280"/>
              <a:gd name="connsiteY28" fmla="*/ 1177161 h 5920066"/>
              <a:gd name="connsiteX29" fmla="*/ 3442280 w 3442280"/>
              <a:gd name="connsiteY29" fmla="*/ 1202847 h 5920066"/>
              <a:gd name="connsiteX30" fmla="*/ 3442280 w 3442280"/>
              <a:gd name="connsiteY30" fmla="*/ 1255579 h 5920066"/>
              <a:gd name="connsiteX31" fmla="*/ 3442280 w 3442280"/>
              <a:gd name="connsiteY31" fmla="*/ 1290764 h 5920066"/>
              <a:gd name="connsiteX32" fmla="*/ 3442280 w 3442280"/>
              <a:gd name="connsiteY32" fmla="*/ 1299618 h 5920066"/>
              <a:gd name="connsiteX33" fmla="*/ 3442280 w 3442280"/>
              <a:gd name="connsiteY33" fmla="*/ 1319239 h 5920066"/>
              <a:gd name="connsiteX34" fmla="*/ 3442280 w 3442280"/>
              <a:gd name="connsiteY34" fmla="*/ 1320462 h 5920066"/>
              <a:gd name="connsiteX35" fmla="*/ 3442280 w 3442280"/>
              <a:gd name="connsiteY35" fmla="*/ 1320646 h 5920066"/>
              <a:gd name="connsiteX36" fmla="*/ 3442280 w 3442280"/>
              <a:gd name="connsiteY36" fmla="*/ 1349128 h 5920066"/>
              <a:gd name="connsiteX37" fmla="*/ 3442280 w 3442280"/>
              <a:gd name="connsiteY37" fmla="*/ 1377296 h 5920066"/>
              <a:gd name="connsiteX38" fmla="*/ 3442280 w 3442280"/>
              <a:gd name="connsiteY38" fmla="*/ 1391616 h 5920066"/>
              <a:gd name="connsiteX39" fmla="*/ 3442280 w 3442280"/>
              <a:gd name="connsiteY39" fmla="*/ 1396135 h 5920066"/>
              <a:gd name="connsiteX40" fmla="*/ 3442280 w 3442280"/>
              <a:gd name="connsiteY40" fmla="*/ 1429106 h 5920066"/>
              <a:gd name="connsiteX41" fmla="*/ 3442280 w 3442280"/>
              <a:gd name="connsiteY41" fmla="*/ 1474898 h 5920066"/>
              <a:gd name="connsiteX42" fmla="*/ 3442280 w 3442280"/>
              <a:gd name="connsiteY42" fmla="*/ 1477087 h 5920066"/>
              <a:gd name="connsiteX43" fmla="*/ 3442280 w 3442280"/>
              <a:gd name="connsiteY43" fmla="*/ 1483429 h 5920066"/>
              <a:gd name="connsiteX44" fmla="*/ 3442280 w 3442280"/>
              <a:gd name="connsiteY44" fmla="*/ 1529819 h 5920066"/>
              <a:gd name="connsiteX45" fmla="*/ 3442280 w 3442280"/>
              <a:gd name="connsiteY45" fmla="*/ 1569177 h 5920066"/>
              <a:gd name="connsiteX46" fmla="*/ 3442280 w 3442280"/>
              <a:gd name="connsiteY46" fmla="*/ 1583173 h 5920066"/>
              <a:gd name="connsiteX47" fmla="*/ 3442280 w 3442280"/>
              <a:gd name="connsiteY47" fmla="*/ 1594702 h 5920066"/>
              <a:gd name="connsiteX48" fmla="*/ 3442280 w 3442280"/>
              <a:gd name="connsiteY48" fmla="*/ 1651536 h 5920066"/>
              <a:gd name="connsiteX49" fmla="*/ 3442280 w 3442280"/>
              <a:gd name="connsiteY49" fmla="*/ 1670375 h 5920066"/>
              <a:gd name="connsiteX50" fmla="*/ 3442280 w 3442280"/>
              <a:gd name="connsiteY50" fmla="*/ 1696199 h 5920066"/>
              <a:gd name="connsiteX51" fmla="*/ 3442280 w 3442280"/>
              <a:gd name="connsiteY51" fmla="*/ 1757669 h 5920066"/>
              <a:gd name="connsiteX52" fmla="*/ 3442280 w 3442280"/>
              <a:gd name="connsiteY52" fmla="*/ 1779318 h 5920066"/>
              <a:gd name="connsiteX53" fmla="*/ 3442280 w 3442280"/>
              <a:gd name="connsiteY53" fmla="*/ 1823335 h 5920066"/>
              <a:gd name="connsiteX54" fmla="*/ 3442280 w 3442280"/>
              <a:gd name="connsiteY54" fmla="*/ 1843417 h 5920066"/>
              <a:gd name="connsiteX55" fmla="*/ 3442280 w 3442280"/>
              <a:gd name="connsiteY55" fmla="*/ 1857413 h 5920066"/>
              <a:gd name="connsiteX56" fmla="*/ 3442280 w 3442280"/>
              <a:gd name="connsiteY56" fmla="*/ 1965413 h 5920066"/>
              <a:gd name="connsiteX57" fmla="*/ 3442280 w 3442280"/>
              <a:gd name="connsiteY57" fmla="*/ 1970439 h 5920066"/>
              <a:gd name="connsiteX58" fmla="*/ 3442280 w 3442280"/>
              <a:gd name="connsiteY58" fmla="*/ 2008551 h 5920066"/>
              <a:gd name="connsiteX59" fmla="*/ 3442280 w 3442280"/>
              <a:gd name="connsiteY59" fmla="*/ 2053558 h 5920066"/>
              <a:gd name="connsiteX60" fmla="*/ 3442280 w 3442280"/>
              <a:gd name="connsiteY60" fmla="*/ 2097575 h 5920066"/>
              <a:gd name="connsiteX61" fmla="*/ 3442280 w 3442280"/>
              <a:gd name="connsiteY61" fmla="*/ 2123261 h 5920066"/>
              <a:gd name="connsiteX62" fmla="*/ 3442280 w 3442280"/>
              <a:gd name="connsiteY62" fmla="*/ 2239653 h 5920066"/>
              <a:gd name="connsiteX63" fmla="*/ 3442280 w 3442280"/>
              <a:gd name="connsiteY63" fmla="*/ 2257705 h 5920066"/>
              <a:gd name="connsiteX64" fmla="*/ 3442280 w 3442280"/>
              <a:gd name="connsiteY64" fmla="*/ 2282791 h 5920066"/>
              <a:gd name="connsiteX65" fmla="*/ 3442280 w 3442280"/>
              <a:gd name="connsiteY65" fmla="*/ 2297710 h 5920066"/>
              <a:gd name="connsiteX66" fmla="*/ 3442280 w 3442280"/>
              <a:gd name="connsiteY66" fmla="*/ 2397501 h 5920066"/>
              <a:gd name="connsiteX67" fmla="*/ 3442280 w 3442280"/>
              <a:gd name="connsiteY67" fmla="*/ 2489591 h 5920066"/>
              <a:gd name="connsiteX68" fmla="*/ 3442280 w 3442280"/>
              <a:gd name="connsiteY68" fmla="*/ 2527610 h 5920066"/>
              <a:gd name="connsiteX69" fmla="*/ 3442280 w 3442280"/>
              <a:gd name="connsiteY69" fmla="*/ 2531945 h 5920066"/>
              <a:gd name="connsiteX70" fmla="*/ 3442280 w 3442280"/>
              <a:gd name="connsiteY70" fmla="*/ 2571950 h 5920066"/>
              <a:gd name="connsiteX71" fmla="*/ 3442280 w 3442280"/>
              <a:gd name="connsiteY71" fmla="*/ 2699732 h 5920066"/>
              <a:gd name="connsiteX72" fmla="*/ 3442280 w 3442280"/>
              <a:gd name="connsiteY72" fmla="*/ 2763831 h 5920066"/>
              <a:gd name="connsiteX73" fmla="*/ 3442280 w 3442280"/>
              <a:gd name="connsiteY73" fmla="*/ 2801851 h 5920066"/>
              <a:gd name="connsiteX74" fmla="*/ 3442280 w 3442280"/>
              <a:gd name="connsiteY74" fmla="*/ 2819097 h 5920066"/>
              <a:gd name="connsiteX75" fmla="*/ 3442280 w 3442280"/>
              <a:gd name="connsiteY75" fmla="*/ 2928965 h 5920066"/>
              <a:gd name="connsiteX76" fmla="*/ 3442280 w 3442280"/>
              <a:gd name="connsiteY76" fmla="*/ 2973972 h 5920066"/>
              <a:gd name="connsiteX77" fmla="*/ 3442280 w 3442280"/>
              <a:gd name="connsiteY77" fmla="*/ 3093337 h 5920066"/>
              <a:gd name="connsiteX78" fmla="*/ 3442280 w 3442280"/>
              <a:gd name="connsiteY78" fmla="*/ 3132995 h 5920066"/>
              <a:gd name="connsiteX79" fmla="*/ 3442280 w 3442280"/>
              <a:gd name="connsiteY79" fmla="*/ 3178119 h 5920066"/>
              <a:gd name="connsiteX80" fmla="*/ 3442280 w 3442280"/>
              <a:gd name="connsiteY80" fmla="*/ 3203205 h 5920066"/>
              <a:gd name="connsiteX81" fmla="*/ 3442280 w 3442280"/>
              <a:gd name="connsiteY81" fmla="*/ 3407236 h 5920066"/>
              <a:gd name="connsiteX82" fmla="*/ 3442280 w 3442280"/>
              <a:gd name="connsiteY82" fmla="*/ 3448024 h 5920066"/>
              <a:gd name="connsiteX83" fmla="*/ 3442280 w 3442280"/>
              <a:gd name="connsiteY83" fmla="*/ 3452359 h 5920066"/>
              <a:gd name="connsiteX84" fmla="*/ 3442280 w 3442280"/>
              <a:gd name="connsiteY84" fmla="*/ 3470135 h 5920066"/>
              <a:gd name="connsiteX85" fmla="*/ 3442280 w 3442280"/>
              <a:gd name="connsiteY85" fmla="*/ 3722265 h 5920066"/>
              <a:gd name="connsiteX86" fmla="*/ 3442280 w 3442280"/>
              <a:gd name="connsiteY86" fmla="*/ 3739511 h 5920066"/>
              <a:gd name="connsiteX87" fmla="*/ 3442280 w 3442280"/>
              <a:gd name="connsiteY87" fmla="*/ 3744375 h 5920066"/>
              <a:gd name="connsiteX88" fmla="*/ 3442280 w 3442280"/>
              <a:gd name="connsiteY88" fmla="*/ 3831346 h 5920066"/>
              <a:gd name="connsiteX89" fmla="*/ 3442280 w 3442280"/>
              <a:gd name="connsiteY89" fmla="*/ 4013751 h 5920066"/>
              <a:gd name="connsiteX90" fmla="*/ 3442280 w 3442280"/>
              <a:gd name="connsiteY90" fmla="*/ 4053409 h 5920066"/>
              <a:gd name="connsiteX91" fmla="*/ 3442280 w 3442280"/>
              <a:gd name="connsiteY91" fmla="*/ 4105586 h 5920066"/>
              <a:gd name="connsiteX92" fmla="*/ 3442280 w 3442280"/>
              <a:gd name="connsiteY92" fmla="*/ 4217459 h 5920066"/>
              <a:gd name="connsiteX93" fmla="*/ 3442280 w 3442280"/>
              <a:gd name="connsiteY93" fmla="*/ 4327650 h 5920066"/>
              <a:gd name="connsiteX94" fmla="*/ 3442280 w 3442280"/>
              <a:gd name="connsiteY94" fmla="*/ 4390549 h 5920066"/>
              <a:gd name="connsiteX95" fmla="*/ 3442280 w 3442280"/>
              <a:gd name="connsiteY95" fmla="*/ 4491699 h 5920066"/>
              <a:gd name="connsiteX96" fmla="*/ 3442280 w 3442280"/>
              <a:gd name="connsiteY96" fmla="*/ 4629303 h 5920066"/>
              <a:gd name="connsiteX97" fmla="*/ 3442280 w 3442280"/>
              <a:gd name="connsiteY97" fmla="*/ 4664789 h 5920066"/>
              <a:gd name="connsiteX98" fmla="*/ 3442280 w 3442280"/>
              <a:gd name="connsiteY98" fmla="*/ 4751760 h 5920066"/>
              <a:gd name="connsiteX99" fmla="*/ 3442280 w 3442280"/>
              <a:gd name="connsiteY99" fmla="*/ 4903543 h 5920066"/>
              <a:gd name="connsiteX100" fmla="*/ 3442280 w 3442280"/>
              <a:gd name="connsiteY100" fmla="*/ 5026000 h 5920066"/>
              <a:gd name="connsiteX101" fmla="*/ 3442280 w 3442280"/>
              <a:gd name="connsiteY101" fmla="*/ 5137873 h 5920066"/>
              <a:gd name="connsiteX102" fmla="*/ 3442280 w 3442280"/>
              <a:gd name="connsiteY102" fmla="*/ 5412113 h 5920066"/>
              <a:gd name="connsiteX103" fmla="*/ 3442280 w 3442280"/>
              <a:gd name="connsiteY103" fmla="*/ 5549717 h 5920066"/>
              <a:gd name="connsiteX104" fmla="*/ 3442280 w 3442280"/>
              <a:gd name="connsiteY104" fmla="*/ 5823957 h 5920066"/>
              <a:gd name="connsiteX105" fmla="*/ 3361283 w 3442280"/>
              <a:gd name="connsiteY105" fmla="*/ 5918566 h 5920066"/>
              <a:gd name="connsiteX106" fmla="*/ 3346294 w 3442280"/>
              <a:gd name="connsiteY106" fmla="*/ 5920066 h 5920066"/>
              <a:gd name="connsiteX107" fmla="*/ 0 w 3442280"/>
              <a:gd name="connsiteY107" fmla="*/ 5920066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442280" h="5920066">
                <a:moveTo>
                  <a:pt x="0" y="0"/>
                </a:moveTo>
                <a:lnTo>
                  <a:pt x="3346283" y="0"/>
                </a:lnTo>
                <a:cubicBezTo>
                  <a:pt x="3442280" y="0"/>
                  <a:pt x="3442280" y="96110"/>
                  <a:pt x="3442280" y="96110"/>
                </a:cubicBezTo>
                <a:cubicBezTo>
                  <a:pt x="3442280" y="96110"/>
                  <a:pt x="3442280" y="96110"/>
                  <a:pt x="3442280" y="335165"/>
                </a:cubicBezTo>
                <a:lnTo>
                  <a:pt x="3442280" y="370350"/>
                </a:lnTo>
                <a:cubicBezTo>
                  <a:pt x="3442280" y="370350"/>
                  <a:pt x="3442280" y="370350"/>
                  <a:pt x="3442280" y="379204"/>
                </a:cubicBezTo>
                <a:lnTo>
                  <a:pt x="3442280" y="400048"/>
                </a:lnTo>
                <a:lnTo>
                  <a:pt x="3442280" y="400232"/>
                </a:lnTo>
                <a:cubicBezTo>
                  <a:pt x="3442280" y="415173"/>
                  <a:pt x="3442280" y="437585"/>
                  <a:pt x="3442280" y="471202"/>
                </a:cubicBezTo>
                <a:lnTo>
                  <a:pt x="3442280" y="475721"/>
                </a:lnTo>
                <a:lnTo>
                  <a:pt x="3442280" y="508692"/>
                </a:lnTo>
                <a:cubicBezTo>
                  <a:pt x="3442280" y="522527"/>
                  <a:pt x="3442280" y="537744"/>
                  <a:pt x="3442280" y="554484"/>
                </a:cubicBezTo>
                <a:lnTo>
                  <a:pt x="3442280" y="563015"/>
                </a:lnTo>
                <a:lnTo>
                  <a:pt x="3442280" y="609405"/>
                </a:lnTo>
                <a:lnTo>
                  <a:pt x="3442280" y="662759"/>
                </a:lnTo>
                <a:lnTo>
                  <a:pt x="3442280" y="674288"/>
                </a:lnTo>
                <a:cubicBezTo>
                  <a:pt x="3442280" y="697668"/>
                  <a:pt x="3442280" y="722846"/>
                  <a:pt x="3442280" y="749961"/>
                </a:cubicBezTo>
                <a:lnTo>
                  <a:pt x="3442280" y="775785"/>
                </a:lnTo>
                <a:lnTo>
                  <a:pt x="3442280" y="837255"/>
                </a:lnTo>
                <a:lnTo>
                  <a:pt x="3442280" y="902921"/>
                </a:lnTo>
                <a:lnTo>
                  <a:pt x="3442280" y="936999"/>
                </a:lnTo>
                <a:lnTo>
                  <a:pt x="3442280" y="1016524"/>
                </a:lnTo>
                <a:cubicBezTo>
                  <a:pt x="3442280" y="1016524"/>
                  <a:pt x="3442280" y="1016524"/>
                  <a:pt x="3442280" y="1029131"/>
                </a:cubicBezTo>
                <a:lnTo>
                  <a:pt x="3442280" y="1044999"/>
                </a:lnTo>
                <a:lnTo>
                  <a:pt x="3442280" y="1046406"/>
                </a:lnTo>
                <a:lnTo>
                  <a:pt x="3442280" y="1050025"/>
                </a:lnTo>
                <a:lnTo>
                  <a:pt x="3442280" y="1074887"/>
                </a:lnTo>
                <a:cubicBezTo>
                  <a:pt x="3442280" y="1098232"/>
                  <a:pt x="3442280" y="1130916"/>
                  <a:pt x="3442280" y="1176672"/>
                </a:cubicBezTo>
                <a:lnTo>
                  <a:pt x="3442280" y="1177161"/>
                </a:lnTo>
                <a:lnTo>
                  <a:pt x="3442280" y="1202847"/>
                </a:lnTo>
                <a:lnTo>
                  <a:pt x="3442280" y="1255579"/>
                </a:lnTo>
                <a:lnTo>
                  <a:pt x="3442280" y="1290764"/>
                </a:lnTo>
                <a:cubicBezTo>
                  <a:pt x="3442280" y="1290764"/>
                  <a:pt x="3442280" y="1290764"/>
                  <a:pt x="3442280" y="1299618"/>
                </a:cubicBezTo>
                <a:lnTo>
                  <a:pt x="3442280" y="1319239"/>
                </a:lnTo>
                <a:lnTo>
                  <a:pt x="3442280" y="1320462"/>
                </a:lnTo>
                <a:lnTo>
                  <a:pt x="3442280" y="1320646"/>
                </a:lnTo>
                <a:cubicBezTo>
                  <a:pt x="3442280" y="1328117"/>
                  <a:pt x="3442280" y="1337455"/>
                  <a:pt x="3442280" y="1349128"/>
                </a:cubicBezTo>
                <a:lnTo>
                  <a:pt x="3442280" y="1377296"/>
                </a:lnTo>
                <a:lnTo>
                  <a:pt x="3442280" y="1391616"/>
                </a:lnTo>
                <a:lnTo>
                  <a:pt x="3442280" y="1396135"/>
                </a:lnTo>
                <a:lnTo>
                  <a:pt x="3442280" y="1429106"/>
                </a:lnTo>
                <a:cubicBezTo>
                  <a:pt x="3442280" y="1442941"/>
                  <a:pt x="3442280" y="1458158"/>
                  <a:pt x="3442280" y="1474898"/>
                </a:cubicBezTo>
                <a:lnTo>
                  <a:pt x="3442280" y="1477087"/>
                </a:lnTo>
                <a:lnTo>
                  <a:pt x="3442280" y="1483429"/>
                </a:lnTo>
                <a:lnTo>
                  <a:pt x="3442280" y="1529819"/>
                </a:lnTo>
                <a:lnTo>
                  <a:pt x="3442280" y="1569177"/>
                </a:lnTo>
                <a:lnTo>
                  <a:pt x="3442280" y="1583173"/>
                </a:lnTo>
                <a:lnTo>
                  <a:pt x="3442280" y="1594702"/>
                </a:lnTo>
                <a:lnTo>
                  <a:pt x="3442280" y="1651536"/>
                </a:lnTo>
                <a:lnTo>
                  <a:pt x="3442280" y="1670375"/>
                </a:lnTo>
                <a:lnTo>
                  <a:pt x="3442280" y="1696199"/>
                </a:lnTo>
                <a:lnTo>
                  <a:pt x="3442280" y="1757669"/>
                </a:lnTo>
                <a:lnTo>
                  <a:pt x="3442280" y="1779318"/>
                </a:lnTo>
                <a:lnTo>
                  <a:pt x="3442280" y="1823335"/>
                </a:lnTo>
                <a:lnTo>
                  <a:pt x="3442280" y="1843417"/>
                </a:lnTo>
                <a:lnTo>
                  <a:pt x="3442280" y="1857413"/>
                </a:lnTo>
                <a:lnTo>
                  <a:pt x="3442280" y="1965413"/>
                </a:lnTo>
                <a:lnTo>
                  <a:pt x="3442280" y="1970439"/>
                </a:lnTo>
                <a:lnTo>
                  <a:pt x="3442280" y="2008551"/>
                </a:lnTo>
                <a:lnTo>
                  <a:pt x="3442280" y="2053558"/>
                </a:lnTo>
                <a:lnTo>
                  <a:pt x="3442280" y="2097575"/>
                </a:lnTo>
                <a:lnTo>
                  <a:pt x="3442280" y="2123261"/>
                </a:lnTo>
                <a:lnTo>
                  <a:pt x="3442280" y="2239653"/>
                </a:lnTo>
                <a:lnTo>
                  <a:pt x="3442280" y="2257705"/>
                </a:lnTo>
                <a:lnTo>
                  <a:pt x="3442280" y="2282791"/>
                </a:lnTo>
                <a:lnTo>
                  <a:pt x="3442280" y="2297710"/>
                </a:lnTo>
                <a:lnTo>
                  <a:pt x="3442280" y="2397501"/>
                </a:lnTo>
                <a:lnTo>
                  <a:pt x="3442280" y="2489591"/>
                </a:lnTo>
                <a:lnTo>
                  <a:pt x="3442280" y="2527610"/>
                </a:lnTo>
                <a:lnTo>
                  <a:pt x="3442280" y="2531945"/>
                </a:lnTo>
                <a:lnTo>
                  <a:pt x="3442280" y="2571950"/>
                </a:lnTo>
                <a:lnTo>
                  <a:pt x="3442280" y="2699732"/>
                </a:lnTo>
                <a:lnTo>
                  <a:pt x="3442280" y="2763831"/>
                </a:lnTo>
                <a:lnTo>
                  <a:pt x="3442280" y="2801851"/>
                </a:lnTo>
                <a:lnTo>
                  <a:pt x="3442280" y="2819097"/>
                </a:lnTo>
                <a:lnTo>
                  <a:pt x="3442280" y="2928965"/>
                </a:lnTo>
                <a:lnTo>
                  <a:pt x="3442280" y="2973972"/>
                </a:lnTo>
                <a:lnTo>
                  <a:pt x="3442280" y="3093337"/>
                </a:lnTo>
                <a:lnTo>
                  <a:pt x="3442280" y="3132995"/>
                </a:lnTo>
                <a:lnTo>
                  <a:pt x="3442280" y="3178119"/>
                </a:lnTo>
                <a:lnTo>
                  <a:pt x="3442280" y="3203205"/>
                </a:lnTo>
                <a:lnTo>
                  <a:pt x="3442280" y="3407236"/>
                </a:lnTo>
                <a:lnTo>
                  <a:pt x="3442280" y="3448024"/>
                </a:lnTo>
                <a:lnTo>
                  <a:pt x="3442280" y="3452359"/>
                </a:lnTo>
                <a:lnTo>
                  <a:pt x="3442280" y="3470135"/>
                </a:lnTo>
                <a:lnTo>
                  <a:pt x="3442280" y="3722265"/>
                </a:lnTo>
                <a:lnTo>
                  <a:pt x="3442280" y="3739511"/>
                </a:lnTo>
                <a:lnTo>
                  <a:pt x="3442280" y="3744375"/>
                </a:lnTo>
                <a:lnTo>
                  <a:pt x="3442280" y="3831346"/>
                </a:lnTo>
                <a:lnTo>
                  <a:pt x="3442280" y="4013751"/>
                </a:lnTo>
                <a:lnTo>
                  <a:pt x="3442280" y="4053409"/>
                </a:lnTo>
                <a:lnTo>
                  <a:pt x="3442280" y="4105586"/>
                </a:lnTo>
                <a:lnTo>
                  <a:pt x="3442280" y="4217459"/>
                </a:lnTo>
                <a:lnTo>
                  <a:pt x="3442280" y="4327650"/>
                </a:lnTo>
                <a:lnTo>
                  <a:pt x="3442280" y="4390549"/>
                </a:lnTo>
                <a:lnTo>
                  <a:pt x="3442280" y="4491699"/>
                </a:lnTo>
                <a:lnTo>
                  <a:pt x="3442280" y="4629303"/>
                </a:lnTo>
                <a:lnTo>
                  <a:pt x="3442280" y="4664789"/>
                </a:lnTo>
                <a:lnTo>
                  <a:pt x="3442280" y="4751760"/>
                </a:lnTo>
                <a:lnTo>
                  <a:pt x="3442280" y="4903543"/>
                </a:lnTo>
                <a:lnTo>
                  <a:pt x="3442280" y="5026000"/>
                </a:lnTo>
                <a:lnTo>
                  <a:pt x="3442280" y="5137873"/>
                </a:lnTo>
                <a:lnTo>
                  <a:pt x="3442280" y="5412113"/>
                </a:lnTo>
                <a:lnTo>
                  <a:pt x="3442280" y="5549717"/>
                </a:lnTo>
                <a:lnTo>
                  <a:pt x="3442280" y="5823957"/>
                </a:lnTo>
                <a:cubicBezTo>
                  <a:pt x="3442280" y="5896040"/>
                  <a:pt x="3388282" y="5914060"/>
                  <a:pt x="3361283" y="5918566"/>
                </a:cubicBezTo>
                <a:lnTo>
                  <a:pt x="3346294" y="5920066"/>
                </a:lnTo>
                <a:lnTo>
                  <a:pt x="0" y="5920066"/>
                </a:ln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59964" tIns="359964">
            <a:noAutofit/>
          </a:bodyPr>
          <a:lstStyle>
            <a:lvl1pPr algn="ctr">
              <a:defRPr sz="1400" b="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45576" y="280734"/>
            <a:ext cx="677862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473656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806">
          <p15:clr>
            <a:srgbClr val="FBAE40"/>
          </p15:clr>
        </p15:guide>
        <p15:guide id="2" pos="5322">
          <p15:clr>
            <a:srgbClr val="FBAE40"/>
          </p15:clr>
        </p15:guide>
      </p15:sldGuideLst>
    </p:ext>
  </p:extLs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696912" y="1201147"/>
            <a:ext cx="11199600" cy="4999652"/>
          </a:xfrm>
          <a:custGeom>
            <a:avLst/>
            <a:gdLst>
              <a:gd name="connsiteX0" fmla="*/ 95997 w 11199600"/>
              <a:gd name="connsiteY0" fmla="*/ 0 h 4999652"/>
              <a:gd name="connsiteX1" fmla="*/ 11103603 w 11199600"/>
              <a:gd name="connsiteY1" fmla="*/ 0 h 4999652"/>
              <a:gd name="connsiteX2" fmla="*/ 11199600 w 11199600"/>
              <a:gd name="connsiteY2" fmla="*/ 96110 h 4999652"/>
              <a:gd name="connsiteX3" fmla="*/ 11199600 w 11199600"/>
              <a:gd name="connsiteY3" fmla="*/ 335165 h 4999652"/>
              <a:gd name="connsiteX4" fmla="*/ 11199600 w 11199600"/>
              <a:gd name="connsiteY4" fmla="*/ 370350 h 4999652"/>
              <a:gd name="connsiteX5" fmla="*/ 11199600 w 11199600"/>
              <a:gd name="connsiteY5" fmla="*/ 379204 h 4999652"/>
              <a:gd name="connsiteX6" fmla="*/ 11199600 w 11199600"/>
              <a:gd name="connsiteY6" fmla="*/ 400048 h 4999652"/>
              <a:gd name="connsiteX7" fmla="*/ 11199600 w 11199600"/>
              <a:gd name="connsiteY7" fmla="*/ 400232 h 4999652"/>
              <a:gd name="connsiteX8" fmla="*/ 11199600 w 11199600"/>
              <a:gd name="connsiteY8" fmla="*/ 471202 h 4999652"/>
              <a:gd name="connsiteX9" fmla="*/ 11199600 w 11199600"/>
              <a:gd name="connsiteY9" fmla="*/ 475721 h 4999652"/>
              <a:gd name="connsiteX10" fmla="*/ 11199600 w 11199600"/>
              <a:gd name="connsiteY10" fmla="*/ 508692 h 4999652"/>
              <a:gd name="connsiteX11" fmla="*/ 11199600 w 11199600"/>
              <a:gd name="connsiteY11" fmla="*/ 554484 h 4999652"/>
              <a:gd name="connsiteX12" fmla="*/ 11199600 w 11199600"/>
              <a:gd name="connsiteY12" fmla="*/ 563015 h 4999652"/>
              <a:gd name="connsiteX13" fmla="*/ 11199600 w 11199600"/>
              <a:gd name="connsiteY13" fmla="*/ 609405 h 4999652"/>
              <a:gd name="connsiteX14" fmla="*/ 11199600 w 11199600"/>
              <a:gd name="connsiteY14" fmla="*/ 662759 h 4999652"/>
              <a:gd name="connsiteX15" fmla="*/ 11199600 w 11199600"/>
              <a:gd name="connsiteY15" fmla="*/ 674288 h 4999652"/>
              <a:gd name="connsiteX16" fmla="*/ 11199600 w 11199600"/>
              <a:gd name="connsiteY16" fmla="*/ 749961 h 4999652"/>
              <a:gd name="connsiteX17" fmla="*/ 11199600 w 11199600"/>
              <a:gd name="connsiteY17" fmla="*/ 775785 h 4999652"/>
              <a:gd name="connsiteX18" fmla="*/ 11199600 w 11199600"/>
              <a:gd name="connsiteY18" fmla="*/ 837255 h 4999652"/>
              <a:gd name="connsiteX19" fmla="*/ 11199600 w 11199600"/>
              <a:gd name="connsiteY19" fmla="*/ 902921 h 4999652"/>
              <a:gd name="connsiteX20" fmla="*/ 11199600 w 11199600"/>
              <a:gd name="connsiteY20" fmla="*/ 936999 h 4999652"/>
              <a:gd name="connsiteX21" fmla="*/ 11199600 w 11199600"/>
              <a:gd name="connsiteY21" fmla="*/ 1016524 h 4999652"/>
              <a:gd name="connsiteX22" fmla="*/ 11199600 w 11199600"/>
              <a:gd name="connsiteY22" fmla="*/ 1029131 h 4999652"/>
              <a:gd name="connsiteX23" fmla="*/ 11199600 w 11199600"/>
              <a:gd name="connsiteY23" fmla="*/ 1044999 h 4999652"/>
              <a:gd name="connsiteX24" fmla="*/ 11199600 w 11199600"/>
              <a:gd name="connsiteY24" fmla="*/ 1046406 h 4999652"/>
              <a:gd name="connsiteX25" fmla="*/ 11199600 w 11199600"/>
              <a:gd name="connsiteY25" fmla="*/ 1050025 h 4999652"/>
              <a:gd name="connsiteX26" fmla="*/ 11199600 w 11199600"/>
              <a:gd name="connsiteY26" fmla="*/ 1074887 h 4999652"/>
              <a:gd name="connsiteX27" fmla="*/ 11199600 w 11199600"/>
              <a:gd name="connsiteY27" fmla="*/ 1176672 h 4999652"/>
              <a:gd name="connsiteX28" fmla="*/ 11199600 w 11199600"/>
              <a:gd name="connsiteY28" fmla="*/ 1177161 h 4999652"/>
              <a:gd name="connsiteX29" fmla="*/ 11199600 w 11199600"/>
              <a:gd name="connsiteY29" fmla="*/ 1202847 h 4999652"/>
              <a:gd name="connsiteX30" fmla="*/ 11199600 w 11199600"/>
              <a:gd name="connsiteY30" fmla="*/ 1208224 h 4999652"/>
              <a:gd name="connsiteX31" fmla="*/ 11199600 w 11199600"/>
              <a:gd name="connsiteY31" fmla="*/ 1255579 h 4999652"/>
              <a:gd name="connsiteX32" fmla="*/ 11199600 w 11199600"/>
              <a:gd name="connsiteY32" fmla="*/ 1290764 h 4999652"/>
              <a:gd name="connsiteX33" fmla="*/ 11199600 w 11199600"/>
              <a:gd name="connsiteY33" fmla="*/ 1299618 h 4999652"/>
              <a:gd name="connsiteX34" fmla="*/ 11199600 w 11199600"/>
              <a:gd name="connsiteY34" fmla="*/ 1319238 h 4999652"/>
              <a:gd name="connsiteX35" fmla="*/ 11199600 w 11199600"/>
              <a:gd name="connsiteY35" fmla="*/ 1319239 h 4999652"/>
              <a:gd name="connsiteX36" fmla="*/ 11199600 w 11199600"/>
              <a:gd name="connsiteY36" fmla="*/ 1320462 h 4999652"/>
              <a:gd name="connsiteX37" fmla="*/ 11199600 w 11199600"/>
              <a:gd name="connsiteY37" fmla="*/ 1320646 h 4999652"/>
              <a:gd name="connsiteX38" fmla="*/ 11199600 w 11199600"/>
              <a:gd name="connsiteY38" fmla="*/ 1337290 h 4999652"/>
              <a:gd name="connsiteX39" fmla="*/ 11199600 w 11199600"/>
              <a:gd name="connsiteY39" fmla="*/ 1349128 h 4999652"/>
              <a:gd name="connsiteX40" fmla="*/ 11199600 w 11199600"/>
              <a:gd name="connsiteY40" fmla="*/ 1362376 h 4999652"/>
              <a:gd name="connsiteX41" fmla="*/ 11199600 w 11199600"/>
              <a:gd name="connsiteY41" fmla="*/ 1377295 h 4999652"/>
              <a:gd name="connsiteX42" fmla="*/ 11199600 w 11199600"/>
              <a:gd name="connsiteY42" fmla="*/ 1377296 h 4999652"/>
              <a:gd name="connsiteX43" fmla="*/ 11199600 w 11199600"/>
              <a:gd name="connsiteY43" fmla="*/ 1391616 h 4999652"/>
              <a:gd name="connsiteX44" fmla="*/ 11199600 w 11199600"/>
              <a:gd name="connsiteY44" fmla="*/ 1396135 h 4999652"/>
              <a:gd name="connsiteX45" fmla="*/ 11199600 w 11199600"/>
              <a:gd name="connsiteY45" fmla="*/ 1429106 h 4999652"/>
              <a:gd name="connsiteX46" fmla="*/ 11199600 w 11199600"/>
              <a:gd name="connsiteY46" fmla="*/ 1474898 h 4999652"/>
              <a:gd name="connsiteX47" fmla="*/ 11199600 w 11199600"/>
              <a:gd name="connsiteY47" fmla="*/ 1477086 h 4999652"/>
              <a:gd name="connsiteX48" fmla="*/ 11199600 w 11199600"/>
              <a:gd name="connsiteY48" fmla="*/ 1477087 h 4999652"/>
              <a:gd name="connsiteX49" fmla="*/ 11199600 w 11199600"/>
              <a:gd name="connsiteY49" fmla="*/ 1483429 h 4999652"/>
              <a:gd name="connsiteX50" fmla="*/ 11199600 w 11199600"/>
              <a:gd name="connsiteY50" fmla="*/ 1529819 h 4999652"/>
              <a:gd name="connsiteX51" fmla="*/ 11199600 w 11199600"/>
              <a:gd name="connsiteY51" fmla="*/ 1569176 h 4999652"/>
              <a:gd name="connsiteX52" fmla="*/ 11199600 w 11199600"/>
              <a:gd name="connsiteY52" fmla="*/ 1569177 h 4999652"/>
              <a:gd name="connsiteX53" fmla="*/ 11199600 w 11199600"/>
              <a:gd name="connsiteY53" fmla="*/ 1583173 h 4999652"/>
              <a:gd name="connsiteX54" fmla="*/ 11199600 w 11199600"/>
              <a:gd name="connsiteY54" fmla="*/ 1594702 h 4999652"/>
              <a:gd name="connsiteX55" fmla="*/ 11199600 w 11199600"/>
              <a:gd name="connsiteY55" fmla="*/ 1607195 h 4999652"/>
              <a:gd name="connsiteX56" fmla="*/ 11199600 w 11199600"/>
              <a:gd name="connsiteY56" fmla="*/ 1611530 h 4999652"/>
              <a:gd name="connsiteX57" fmla="*/ 11199600 w 11199600"/>
              <a:gd name="connsiteY57" fmla="*/ 1651535 h 4999652"/>
              <a:gd name="connsiteX58" fmla="*/ 11199600 w 11199600"/>
              <a:gd name="connsiteY58" fmla="*/ 1651536 h 4999652"/>
              <a:gd name="connsiteX59" fmla="*/ 11199600 w 11199600"/>
              <a:gd name="connsiteY59" fmla="*/ 1670375 h 4999652"/>
              <a:gd name="connsiteX60" fmla="*/ 11199600 w 11199600"/>
              <a:gd name="connsiteY60" fmla="*/ 1696199 h 4999652"/>
              <a:gd name="connsiteX61" fmla="*/ 11199600 w 11199600"/>
              <a:gd name="connsiteY61" fmla="*/ 1757669 h 4999652"/>
              <a:gd name="connsiteX62" fmla="*/ 11199600 w 11199600"/>
              <a:gd name="connsiteY62" fmla="*/ 1779317 h 4999652"/>
              <a:gd name="connsiteX63" fmla="*/ 11199600 w 11199600"/>
              <a:gd name="connsiteY63" fmla="*/ 1779318 h 4999652"/>
              <a:gd name="connsiteX64" fmla="*/ 11199600 w 11199600"/>
              <a:gd name="connsiteY64" fmla="*/ 1823335 h 4999652"/>
              <a:gd name="connsiteX65" fmla="*/ 11199600 w 11199600"/>
              <a:gd name="connsiteY65" fmla="*/ 1843416 h 4999652"/>
              <a:gd name="connsiteX66" fmla="*/ 11199600 w 11199600"/>
              <a:gd name="connsiteY66" fmla="*/ 1843417 h 4999652"/>
              <a:gd name="connsiteX67" fmla="*/ 11199600 w 11199600"/>
              <a:gd name="connsiteY67" fmla="*/ 1857413 h 4999652"/>
              <a:gd name="connsiteX68" fmla="*/ 11199600 w 11199600"/>
              <a:gd name="connsiteY68" fmla="*/ 1881436 h 4999652"/>
              <a:gd name="connsiteX69" fmla="*/ 11199600 w 11199600"/>
              <a:gd name="connsiteY69" fmla="*/ 1898682 h 4999652"/>
              <a:gd name="connsiteX70" fmla="*/ 11199600 w 11199600"/>
              <a:gd name="connsiteY70" fmla="*/ 1965413 h 4999652"/>
              <a:gd name="connsiteX71" fmla="*/ 11199600 w 11199600"/>
              <a:gd name="connsiteY71" fmla="*/ 1970439 h 4999652"/>
              <a:gd name="connsiteX72" fmla="*/ 11199600 w 11199600"/>
              <a:gd name="connsiteY72" fmla="*/ 2008550 h 4999652"/>
              <a:gd name="connsiteX73" fmla="*/ 11199600 w 11199600"/>
              <a:gd name="connsiteY73" fmla="*/ 2008551 h 4999652"/>
              <a:gd name="connsiteX74" fmla="*/ 11199600 w 11199600"/>
              <a:gd name="connsiteY74" fmla="*/ 2053557 h 4999652"/>
              <a:gd name="connsiteX75" fmla="*/ 11199600 w 11199600"/>
              <a:gd name="connsiteY75" fmla="*/ 2053558 h 4999652"/>
              <a:gd name="connsiteX76" fmla="*/ 11199600 w 11199600"/>
              <a:gd name="connsiteY76" fmla="*/ 2097575 h 4999652"/>
              <a:gd name="connsiteX77" fmla="*/ 11199600 w 11199600"/>
              <a:gd name="connsiteY77" fmla="*/ 2123261 h 4999652"/>
              <a:gd name="connsiteX78" fmla="*/ 11199600 w 11199600"/>
              <a:gd name="connsiteY78" fmla="*/ 2172922 h 4999652"/>
              <a:gd name="connsiteX79" fmla="*/ 11199600 w 11199600"/>
              <a:gd name="connsiteY79" fmla="*/ 2212580 h 4999652"/>
              <a:gd name="connsiteX80" fmla="*/ 11199600 w 11199600"/>
              <a:gd name="connsiteY80" fmla="*/ 2239653 h 4999652"/>
              <a:gd name="connsiteX81" fmla="*/ 11199600 w 11199600"/>
              <a:gd name="connsiteY81" fmla="*/ 2257704 h 4999652"/>
              <a:gd name="connsiteX82" fmla="*/ 11199600 w 11199600"/>
              <a:gd name="connsiteY82" fmla="*/ 2257705 h 4999652"/>
              <a:gd name="connsiteX83" fmla="*/ 11199600 w 11199600"/>
              <a:gd name="connsiteY83" fmla="*/ 2282790 h 4999652"/>
              <a:gd name="connsiteX84" fmla="*/ 11199600 w 11199600"/>
              <a:gd name="connsiteY84" fmla="*/ 2282791 h 4999652"/>
              <a:gd name="connsiteX85" fmla="*/ 11199600 w 11199600"/>
              <a:gd name="connsiteY85" fmla="*/ 2297710 h 4999652"/>
              <a:gd name="connsiteX86" fmla="*/ 11199600 w 11199600"/>
              <a:gd name="connsiteY86" fmla="*/ 2397501 h 4999652"/>
              <a:gd name="connsiteX87" fmla="*/ 11199600 w 11199600"/>
              <a:gd name="connsiteY87" fmla="*/ 2486821 h 4999652"/>
              <a:gd name="connsiteX88" fmla="*/ 11199600 w 11199600"/>
              <a:gd name="connsiteY88" fmla="*/ 2489591 h 4999652"/>
              <a:gd name="connsiteX89" fmla="*/ 11199600 w 11199600"/>
              <a:gd name="connsiteY89" fmla="*/ 2527609 h 4999652"/>
              <a:gd name="connsiteX90" fmla="*/ 11199600 w 11199600"/>
              <a:gd name="connsiteY90" fmla="*/ 2527610 h 4999652"/>
              <a:gd name="connsiteX91" fmla="*/ 11199600 w 11199600"/>
              <a:gd name="connsiteY91" fmla="*/ 2531944 h 4999652"/>
              <a:gd name="connsiteX92" fmla="*/ 11199600 w 11199600"/>
              <a:gd name="connsiteY92" fmla="*/ 2531945 h 4999652"/>
              <a:gd name="connsiteX93" fmla="*/ 11199600 w 11199600"/>
              <a:gd name="connsiteY93" fmla="*/ 2549720 h 4999652"/>
              <a:gd name="connsiteX94" fmla="*/ 11199600 w 11199600"/>
              <a:gd name="connsiteY94" fmla="*/ 2571950 h 4999652"/>
              <a:gd name="connsiteX95" fmla="*/ 11199600 w 11199600"/>
              <a:gd name="connsiteY95" fmla="*/ 2699732 h 4999652"/>
              <a:gd name="connsiteX96" fmla="*/ 11199600 w 11199600"/>
              <a:gd name="connsiteY96" fmla="*/ 2763831 h 4999652"/>
              <a:gd name="connsiteX97" fmla="*/ 11199600 w 11199600"/>
              <a:gd name="connsiteY97" fmla="*/ 2790282 h 4999652"/>
              <a:gd name="connsiteX98" fmla="*/ 11199600 w 11199600"/>
              <a:gd name="connsiteY98" fmla="*/ 2801850 h 4999652"/>
              <a:gd name="connsiteX99" fmla="*/ 11199600 w 11199600"/>
              <a:gd name="connsiteY99" fmla="*/ 2819096 h 4999652"/>
              <a:gd name="connsiteX100" fmla="*/ 11199600 w 11199600"/>
              <a:gd name="connsiteY100" fmla="*/ 2823960 h 4999652"/>
              <a:gd name="connsiteX101" fmla="*/ 11199600 w 11199600"/>
              <a:gd name="connsiteY101" fmla="*/ 2910931 h 4999652"/>
              <a:gd name="connsiteX102" fmla="*/ 11199600 w 11199600"/>
              <a:gd name="connsiteY102" fmla="*/ 3093336 h 4999652"/>
              <a:gd name="connsiteX103" fmla="*/ 11199600 w 11199600"/>
              <a:gd name="connsiteY103" fmla="*/ 3132994 h 4999652"/>
              <a:gd name="connsiteX104" fmla="*/ 11199600 w 11199600"/>
              <a:gd name="connsiteY104" fmla="*/ 3185171 h 4999652"/>
              <a:gd name="connsiteX105" fmla="*/ 11199600 w 11199600"/>
              <a:gd name="connsiteY105" fmla="*/ 3297044 h 4999652"/>
              <a:gd name="connsiteX106" fmla="*/ 11199600 w 11199600"/>
              <a:gd name="connsiteY106" fmla="*/ 3407235 h 4999652"/>
              <a:gd name="connsiteX107" fmla="*/ 11199600 w 11199600"/>
              <a:gd name="connsiteY107" fmla="*/ 3470134 h 4999652"/>
              <a:gd name="connsiteX108" fmla="*/ 11199600 w 11199600"/>
              <a:gd name="connsiteY108" fmla="*/ 3571284 h 4999652"/>
              <a:gd name="connsiteX109" fmla="*/ 11199600 w 11199600"/>
              <a:gd name="connsiteY109" fmla="*/ 3708888 h 4999652"/>
              <a:gd name="connsiteX110" fmla="*/ 11199600 w 11199600"/>
              <a:gd name="connsiteY110" fmla="*/ 3744374 h 4999652"/>
              <a:gd name="connsiteX111" fmla="*/ 11199600 w 11199600"/>
              <a:gd name="connsiteY111" fmla="*/ 3831345 h 4999652"/>
              <a:gd name="connsiteX112" fmla="*/ 11199600 w 11199600"/>
              <a:gd name="connsiteY112" fmla="*/ 3983128 h 4999652"/>
              <a:gd name="connsiteX113" fmla="*/ 11199600 w 11199600"/>
              <a:gd name="connsiteY113" fmla="*/ 4105585 h 4999652"/>
              <a:gd name="connsiteX114" fmla="*/ 11199600 w 11199600"/>
              <a:gd name="connsiteY114" fmla="*/ 4217458 h 4999652"/>
              <a:gd name="connsiteX115" fmla="*/ 11199600 w 11199600"/>
              <a:gd name="connsiteY115" fmla="*/ 4491698 h 4999652"/>
              <a:gd name="connsiteX116" fmla="*/ 11199600 w 11199600"/>
              <a:gd name="connsiteY116" fmla="*/ 4629302 h 4999652"/>
              <a:gd name="connsiteX117" fmla="*/ 11199600 w 11199600"/>
              <a:gd name="connsiteY117" fmla="*/ 4903542 h 4999652"/>
              <a:gd name="connsiteX118" fmla="*/ 11103603 w 11199600"/>
              <a:gd name="connsiteY118" fmla="*/ 4999652 h 4999652"/>
              <a:gd name="connsiteX119" fmla="*/ 95997 w 11199600"/>
              <a:gd name="connsiteY119" fmla="*/ 4999652 h 4999652"/>
              <a:gd name="connsiteX120" fmla="*/ 0 w 11199600"/>
              <a:gd name="connsiteY120" fmla="*/ 4903542 h 4999652"/>
              <a:gd name="connsiteX121" fmla="*/ 0 w 11199600"/>
              <a:gd name="connsiteY121" fmla="*/ 4899807 h 4999652"/>
              <a:gd name="connsiteX122" fmla="*/ 0 w 11199600"/>
              <a:gd name="connsiteY122" fmla="*/ 4890936 h 4999652"/>
              <a:gd name="connsiteX123" fmla="*/ 0 w 11199600"/>
              <a:gd name="connsiteY123" fmla="*/ 4873660 h 4999652"/>
              <a:gd name="connsiteX124" fmla="*/ 0 w 11199600"/>
              <a:gd name="connsiteY124" fmla="*/ 4845179 h 4999652"/>
              <a:gd name="connsiteX125" fmla="*/ 0 w 11199600"/>
              <a:gd name="connsiteY125" fmla="*/ 4802691 h 4999652"/>
              <a:gd name="connsiteX126" fmla="*/ 0 w 11199600"/>
              <a:gd name="connsiteY126" fmla="*/ 4743394 h 4999652"/>
              <a:gd name="connsiteX127" fmla="*/ 0 w 11199600"/>
              <a:gd name="connsiteY127" fmla="*/ 4664487 h 4999652"/>
              <a:gd name="connsiteX128" fmla="*/ 0 w 11199600"/>
              <a:gd name="connsiteY128" fmla="*/ 4629302 h 4999652"/>
              <a:gd name="connsiteX129" fmla="*/ 0 w 11199600"/>
              <a:gd name="connsiteY129" fmla="*/ 4628196 h 4999652"/>
              <a:gd name="connsiteX130" fmla="*/ 0 w 11199600"/>
              <a:gd name="connsiteY130" fmla="*/ 4620448 h 4999652"/>
              <a:gd name="connsiteX131" fmla="*/ 0 w 11199600"/>
              <a:gd name="connsiteY131" fmla="*/ 4599605 h 4999652"/>
              <a:gd name="connsiteX132" fmla="*/ 0 w 11199600"/>
              <a:gd name="connsiteY132" fmla="*/ 4599420 h 4999652"/>
              <a:gd name="connsiteX133" fmla="*/ 0 w 11199600"/>
              <a:gd name="connsiteY133" fmla="*/ 4558471 h 4999652"/>
              <a:gd name="connsiteX134" fmla="*/ 0 w 11199600"/>
              <a:gd name="connsiteY134" fmla="*/ 4528451 h 4999652"/>
              <a:gd name="connsiteX135" fmla="*/ 0 w 11199600"/>
              <a:gd name="connsiteY135" fmla="*/ 4523932 h 4999652"/>
              <a:gd name="connsiteX136" fmla="*/ 0 w 11199600"/>
              <a:gd name="connsiteY136" fmla="*/ 4490960 h 4999652"/>
              <a:gd name="connsiteX137" fmla="*/ 0 w 11199600"/>
              <a:gd name="connsiteY137" fmla="*/ 4445169 h 4999652"/>
              <a:gd name="connsiteX138" fmla="*/ 0 w 11199600"/>
              <a:gd name="connsiteY138" fmla="*/ 4436638 h 4999652"/>
              <a:gd name="connsiteX139" fmla="*/ 0 w 11199600"/>
              <a:gd name="connsiteY139" fmla="*/ 4390247 h 4999652"/>
              <a:gd name="connsiteX140" fmla="*/ 0 w 11199600"/>
              <a:gd name="connsiteY140" fmla="*/ 4336893 h 4999652"/>
              <a:gd name="connsiteX141" fmla="*/ 0 w 11199600"/>
              <a:gd name="connsiteY141" fmla="*/ 4325365 h 4999652"/>
              <a:gd name="connsiteX142" fmla="*/ 0 w 11199600"/>
              <a:gd name="connsiteY142" fmla="*/ 4249692 h 4999652"/>
              <a:gd name="connsiteX143" fmla="*/ 0 w 11199600"/>
              <a:gd name="connsiteY143" fmla="*/ 4223868 h 4999652"/>
              <a:gd name="connsiteX144" fmla="*/ 0 w 11199600"/>
              <a:gd name="connsiteY144" fmla="*/ 4162398 h 4999652"/>
              <a:gd name="connsiteX145" fmla="*/ 0 w 11199600"/>
              <a:gd name="connsiteY145" fmla="*/ 4096731 h 4999652"/>
              <a:gd name="connsiteX146" fmla="*/ 0 w 11199600"/>
              <a:gd name="connsiteY146" fmla="*/ 4062653 h 4999652"/>
              <a:gd name="connsiteX147" fmla="*/ 0 w 11199600"/>
              <a:gd name="connsiteY147" fmla="*/ 3983128 h 4999652"/>
              <a:gd name="connsiteX148" fmla="*/ 0 w 11199600"/>
              <a:gd name="connsiteY148" fmla="*/ 3979393 h 4999652"/>
              <a:gd name="connsiteX149" fmla="*/ 0 w 11199600"/>
              <a:gd name="connsiteY149" fmla="*/ 3970522 h 4999652"/>
              <a:gd name="connsiteX150" fmla="*/ 0 w 11199600"/>
              <a:gd name="connsiteY150" fmla="*/ 3954654 h 4999652"/>
              <a:gd name="connsiteX151" fmla="*/ 0 w 11199600"/>
              <a:gd name="connsiteY151" fmla="*/ 3953246 h 4999652"/>
              <a:gd name="connsiteX152" fmla="*/ 0 w 11199600"/>
              <a:gd name="connsiteY152" fmla="*/ 3949628 h 4999652"/>
              <a:gd name="connsiteX153" fmla="*/ 0 w 11199600"/>
              <a:gd name="connsiteY153" fmla="*/ 3924765 h 4999652"/>
              <a:gd name="connsiteX154" fmla="*/ 0 w 11199600"/>
              <a:gd name="connsiteY154" fmla="*/ 3882277 h 4999652"/>
              <a:gd name="connsiteX155" fmla="*/ 0 w 11199600"/>
              <a:gd name="connsiteY155" fmla="*/ 3822980 h 4999652"/>
              <a:gd name="connsiteX156" fmla="*/ 0 w 11199600"/>
              <a:gd name="connsiteY156" fmla="*/ 3822491 h 4999652"/>
              <a:gd name="connsiteX157" fmla="*/ 0 w 11199600"/>
              <a:gd name="connsiteY157" fmla="*/ 3796806 h 4999652"/>
              <a:gd name="connsiteX158" fmla="*/ 0 w 11199600"/>
              <a:gd name="connsiteY158" fmla="*/ 3744073 h 4999652"/>
              <a:gd name="connsiteX159" fmla="*/ 0 w 11199600"/>
              <a:gd name="connsiteY159" fmla="*/ 3708888 h 4999652"/>
              <a:gd name="connsiteX160" fmla="*/ 0 w 11199600"/>
              <a:gd name="connsiteY160" fmla="*/ 3707782 h 4999652"/>
              <a:gd name="connsiteX161" fmla="*/ 0 w 11199600"/>
              <a:gd name="connsiteY161" fmla="*/ 3700034 h 4999652"/>
              <a:gd name="connsiteX162" fmla="*/ 0 w 11199600"/>
              <a:gd name="connsiteY162" fmla="*/ 3680414 h 4999652"/>
              <a:gd name="connsiteX163" fmla="*/ 0 w 11199600"/>
              <a:gd name="connsiteY163" fmla="*/ 3679191 h 4999652"/>
              <a:gd name="connsiteX164" fmla="*/ 0 w 11199600"/>
              <a:gd name="connsiteY164" fmla="*/ 3679006 h 4999652"/>
              <a:gd name="connsiteX165" fmla="*/ 0 w 11199600"/>
              <a:gd name="connsiteY165" fmla="*/ 3638057 h 4999652"/>
              <a:gd name="connsiteX166" fmla="*/ 0 w 11199600"/>
              <a:gd name="connsiteY166" fmla="*/ 3622356 h 4999652"/>
              <a:gd name="connsiteX167" fmla="*/ 0 w 11199600"/>
              <a:gd name="connsiteY167" fmla="*/ 3608037 h 4999652"/>
              <a:gd name="connsiteX168" fmla="*/ 0 w 11199600"/>
              <a:gd name="connsiteY168" fmla="*/ 3603518 h 4999652"/>
              <a:gd name="connsiteX169" fmla="*/ 0 w 11199600"/>
              <a:gd name="connsiteY169" fmla="*/ 3570546 h 4999652"/>
              <a:gd name="connsiteX170" fmla="*/ 0 w 11199600"/>
              <a:gd name="connsiteY170" fmla="*/ 3524755 h 4999652"/>
              <a:gd name="connsiteX171" fmla="*/ 0 w 11199600"/>
              <a:gd name="connsiteY171" fmla="*/ 3522566 h 4999652"/>
              <a:gd name="connsiteX172" fmla="*/ 0 w 11199600"/>
              <a:gd name="connsiteY172" fmla="*/ 3516224 h 4999652"/>
              <a:gd name="connsiteX173" fmla="*/ 0 w 11199600"/>
              <a:gd name="connsiteY173" fmla="*/ 3469833 h 4999652"/>
              <a:gd name="connsiteX174" fmla="*/ 0 w 11199600"/>
              <a:gd name="connsiteY174" fmla="*/ 3430476 h 4999652"/>
              <a:gd name="connsiteX175" fmla="*/ 0 w 11199600"/>
              <a:gd name="connsiteY175" fmla="*/ 3416479 h 4999652"/>
              <a:gd name="connsiteX176" fmla="*/ 0 w 11199600"/>
              <a:gd name="connsiteY176" fmla="*/ 3404951 h 4999652"/>
              <a:gd name="connsiteX177" fmla="*/ 0 w 11199600"/>
              <a:gd name="connsiteY177" fmla="*/ 3348116 h 4999652"/>
              <a:gd name="connsiteX178" fmla="*/ 0 w 11199600"/>
              <a:gd name="connsiteY178" fmla="*/ 3329278 h 4999652"/>
              <a:gd name="connsiteX179" fmla="*/ 0 w 11199600"/>
              <a:gd name="connsiteY179" fmla="*/ 3303454 h 4999652"/>
              <a:gd name="connsiteX180" fmla="*/ 0 w 11199600"/>
              <a:gd name="connsiteY180" fmla="*/ 3241984 h 4999652"/>
              <a:gd name="connsiteX181" fmla="*/ 0 w 11199600"/>
              <a:gd name="connsiteY181" fmla="*/ 3220334 h 4999652"/>
              <a:gd name="connsiteX182" fmla="*/ 0 w 11199600"/>
              <a:gd name="connsiteY182" fmla="*/ 3176317 h 4999652"/>
              <a:gd name="connsiteX183" fmla="*/ 0 w 11199600"/>
              <a:gd name="connsiteY183" fmla="*/ 3156236 h 4999652"/>
              <a:gd name="connsiteX184" fmla="*/ 0 w 11199600"/>
              <a:gd name="connsiteY184" fmla="*/ 3142239 h 4999652"/>
              <a:gd name="connsiteX185" fmla="*/ 0 w 11199600"/>
              <a:gd name="connsiteY185" fmla="*/ 3034240 h 4999652"/>
              <a:gd name="connsiteX186" fmla="*/ 0 w 11199600"/>
              <a:gd name="connsiteY186" fmla="*/ 3029214 h 4999652"/>
              <a:gd name="connsiteX187" fmla="*/ 0 w 11199600"/>
              <a:gd name="connsiteY187" fmla="*/ 2991101 h 4999652"/>
              <a:gd name="connsiteX188" fmla="*/ 0 w 11199600"/>
              <a:gd name="connsiteY188" fmla="*/ 2946094 h 4999652"/>
              <a:gd name="connsiteX189" fmla="*/ 0 w 11199600"/>
              <a:gd name="connsiteY189" fmla="*/ 2902077 h 4999652"/>
              <a:gd name="connsiteX190" fmla="*/ 0 w 11199600"/>
              <a:gd name="connsiteY190" fmla="*/ 2876392 h 4999652"/>
              <a:gd name="connsiteX191" fmla="*/ 0 w 11199600"/>
              <a:gd name="connsiteY191" fmla="*/ 2790282 h 4999652"/>
              <a:gd name="connsiteX192" fmla="*/ 0 w 11199600"/>
              <a:gd name="connsiteY192" fmla="*/ 2787072 h 4999652"/>
              <a:gd name="connsiteX193" fmla="*/ 0 w 11199600"/>
              <a:gd name="connsiteY193" fmla="*/ 2760000 h 4999652"/>
              <a:gd name="connsiteX194" fmla="*/ 0 w 11199600"/>
              <a:gd name="connsiteY194" fmla="*/ 2741948 h 4999652"/>
              <a:gd name="connsiteX195" fmla="*/ 0 w 11199600"/>
              <a:gd name="connsiteY195" fmla="*/ 2741947 h 4999652"/>
              <a:gd name="connsiteX196" fmla="*/ 0 w 11199600"/>
              <a:gd name="connsiteY196" fmla="*/ 2716862 h 4999652"/>
              <a:gd name="connsiteX197" fmla="*/ 0 w 11199600"/>
              <a:gd name="connsiteY197" fmla="*/ 2716861 h 4999652"/>
              <a:gd name="connsiteX198" fmla="*/ 0 w 11199600"/>
              <a:gd name="connsiteY198" fmla="*/ 2701942 h 4999652"/>
              <a:gd name="connsiteX199" fmla="*/ 0 w 11199600"/>
              <a:gd name="connsiteY199" fmla="*/ 2602152 h 4999652"/>
              <a:gd name="connsiteX200" fmla="*/ 0 w 11199600"/>
              <a:gd name="connsiteY200" fmla="*/ 2512832 h 4999652"/>
              <a:gd name="connsiteX201" fmla="*/ 0 w 11199600"/>
              <a:gd name="connsiteY201" fmla="*/ 2510062 h 4999652"/>
              <a:gd name="connsiteX202" fmla="*/ 0 w 11199600"/>
              <a:gd name="connsiteY202" fmla="*/ 2472043 h 4999652"/>
              <a:gd name="connsiteX203" fmla="*/ 0 w 11199600"/>
              <a:gd name="connsiteY203" fmla="*/ 2472042 h 4999652"/>
              <a:gd name="connsiteX204" fmla="*/ 0 w 11199600"/>
              <a:gd name="connsiteY204" fmla="*/ 2467708 h 4999652"/>
              <a:gd name="connsiteX205" fmla="*/ 0 w 11199600"/>
              <a:gd name="connsiteY205" fmla="*/ 2467707 h 4999652"/>
              <a:gd name="connsiteX206" fmla="*/ 0 w 11199600"/>
              <a:gd name="connsiteY206" fmla="*/ 2449933 h 4999652"/>
              <a:gd name="connsiteX207" fmla="*/ 0 w 11199600"/>
              <a:gd name="connsiteY207" fmla="*/ 2427702 h 4999652"/>
              <a:gd name="connsiteX208" fmla="*/ 0 w 11199600"/>
              <a:gd name="connsiteY208" fmla="*/ 2299920 h 4999652"/>
              <a:gd name="connsiteX209" fmla="*/ 0 w 11199600"/>
              <a:gd name="connsiteY209" fmla="*/ 2235822 h 4999652"/>
              <a:gd name="connsiteX210" fmla="*/ 0 w 11199600"/>
              <a:gd name="connsiteY210" fmla="*/ 2197803 h 4999652"/>
              <a:gd name="connsiteX211" fmla="*/ 0 w 11199600"/>
              <a:gd name="connsiteY211" fmla="*/ 2197802 h 4999652"/>
              <a:gd name="connsiteX212" fmla="*/ 0 w 11199600"/>
              <a:gd name="connsiteY212" fmla="*/ 2180556 h 4999652"/>
              <a:gd name="connsiteX213" fmla="*/ 0 w 11199600"/>
              <a:gd name="connsiteY213" fmla="*/ 2180555 h 4999652"/>
              <a:gd name="connsiteX214" fmla="*/ 0 w 11199600"/>
              <a:gd name="connsiteY214" fmla="*/ 2175692 h 4999652"/>
              <a:gd name="connsiteX215" fmla="*/ 0 w 11199600"/>
              <a:gd name="connsiteY215" fmla="*/ 2088721 h 4999652"/>
              <a:gd name="connsiteX216" fmla="*/ 0 w 11199600"/>
              <a:gd name="connsiteY216" fmla="*/ 2070687 h 4999652"/>
              <a:gd name="connsiteX217" fmla="*/ 0 w 11199600"/>
              <a:gd name="connsiteY217" fmla="*/ 2025680 h 4999652"/>
              <a:gd name="connsiteX218" fmla="*/ 0 w 11199600"/>
              <a:gd name="connsiteY218" fmla="*/ 1906316 h 4999652"/>
              <a:gd name="connsiteX219" fmla="*/ 0 w 11199600"/>
              <a:gd name="connsiteY219" fmla="*/ 1906315 h 4999652"/>
              <a:gd name="connsiteX220" fmla="*/ 0 w 11199600"/>
              <a:gd name="connsiteY220" fmla="*/ 1866658 h 4999652"/>
              <a:gd name="connsiteX221" fmla="*/ 0 w 11199600"/>
              <a:gd name="connsiteY221" fmla="*/ 1866657 h 4999652"/>
              <a:gd name="connsiteX222" fmla="*/ 0 w 11199600"/>
              <a:gd name="connsiteY222" fmla="*/ 1821533 h 4999652"/>
              <a:gd name="connsiteX223" fmla="*/ 0 w 11199600"/>
              <a:gd name="connsiteY223" fmla="*/ 1814481 h 4999652"/>
              <a:gd name="connsiteX224" fmla="*/ 0 w 11199600"/>
              <a:gd name="connsiteY224" fmla="*/ 1796447 h 4999652"/>
              <a:gd name="connsiteX225" fmla="*/ 0 w 11199600"/>
              <a:gd name="connsiteY225" fmla="*/ 1702609 h 4999652"/>
              <a:gd name="connsiteX226" fmla="*/ 0 w 11199600"/>
              <a:gd name="connsiteY226" fmla="*/ 1592418 h 4999652"/>
              <a:gd name="connsiteX227" fmla="*/ 0 w 11199600"/>
              <a:gd name="connsiteY227" fmla="*/ 1592417 h 4999652"/>
              <a:gd name="connsiteX228" fmla="*/ 0 w 11199600"/>
              <a:gd name="connsiteY228" fmla="*/ 1551628 h 4999652"/>
              <a:gd name="connsiteX229" fmla="*/ 0 w 11199600"/>
              <a:gd name="connsiteY229" fmla="*/ 1547293 h 4999652"/>
              <a:gd name="connsiteX230" fmla="*/ 0 w 11199600"/>
              <a:gd name="connsiteY230" fmla="*/ 1529519 h 4999652"/>
              <a:gd name="connsiteX231" fmla="*/ 0 w 11199600"/>
              <a:gd name="connsiteY231" fmla="*/ 1529518 h 4999652"/>
              <a:gd name="connsiteX232" fmla="*/ 0 w 11199600"/>
              <a:gd name="connsiteY232" fmla="*/ 1428369 h 4999652"/>
              <a:gd name="connsiteX233" fmla="*/ 0 w 11199600"/>
              <a:gd name="connsiteY233" fmla="*/ 1290764 h 4999652"/>
              <a:gd name="connsiteX234" fmla="*/ 0 w 11199600"/>
              <a:gd name="connsiteY234" fmla="*/ 1277388 h 4999652"/>
              <a:gd name="connsiteX235" fmla="*/ 0 w 11199600"/>
              <a:gd name="connsiteY235" fmla="*/ 1260141 h 4999652"/>
              <a:gd name="connsiteX236" fmla="*/ 0 w 11199600"/>
              <a:gd name="connsiteY236" fmla="*/ 1255278 h 4999652"/>
              <a:gd name="connsiteX237" fmla="*/ 0 w 11199600"/>
              <a:gd name="connsiteY237" fmla="*/ 1255277 h 4999652"/>
              <a:gd name="connsiteX238" fmla="*/ 0 w 11199600"/>
              <a:gd name="connsiteY238" fmla="*/ 1208224 h 4999652"/>
              <a:gd name="connsiteX239" fmla="*/ 0 w 11199600"/>
              <a:gd name="connsiteY239" fmla="*/ 1168307 h 4999652"/>
              <a:gd name="connsiteX240" fmla="*/ 0 w 11199600"/>
              <a:gd name="connsiteY240" fmla="*/ 1016524 h 4999652"/>
              <a:gd name="connsiteX241" fmla="*/ 0 w 11199600"/>
              <a:gd name="connsiteY241" fmla="*/ 894067 h 4999652"/>
              <a:gd name="connsiteX242" fmla="*/ 0 w 11199600"/>
              <a:gd name="connsiteY242" fmla="*/ 782195 h 4999652"/>
              <a:gd name="connsiteX243" fmla="*/ 0 w 11199600"/>
              <a:gd name="connsiteY243" fmla="*/ 507955 h 4999652"/>
              <a:gd name="connsiteX244" fmla="*/ 0 w 11199600"/>
              <a:gd name="connsiteY244" fmla="*/ 370350 h 4999652"/>
              <a:gd name="connsiteX245" fmla="*/ 0 w 11199600"/>
              <a:gd name="connsiteY245" fmla="*/ 96110 h 4999652"/>
              <a:gd name="connsiteX246" fmla="*/ 95997 w 11199600"/>
              <a:gd name="connsiteY246" fmla="*/ 0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</a:cxnLst>
            <a:rect l="l" t="t" r="r" b="b"/>
            <a:pathLst>
              <a:path w="11199600" h="4999652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08224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8"/>
                </a:ln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lnTo>
                  <a:pt x="11199600" y="1337290"/>
                </a:lnTo>
                <a:lnTo>
                  <a:pt x="11199600" y="1349128"/>
                </a:lnTo>
                <a:lnTo>
                  <a:pt x="11199600" y="1362376"/>
                </a:lnTo>
                <a:lnTo>
                  <a:pt x="11199600" y="1377295"/>
                </a:ln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6"/>
                </a:ln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6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07195"/>
                </a:lnTo>
                <a:lnTo>
                  <a:pt x="11199600" y="1611530"/>
                </a:lnTo>
                <a:lnTo>
                  <a:pt x="11199600" y="1651535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7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6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881436"/>
                </a:lnTo>
                <a:lnTo>
                  <a:pt x="11199600" y="1898682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0"/>
                </a:lnTo>
                <a:lnTo>
                  <a:pt x="11199600" y="2008551"/>
                </a:lnTo>
                <a:lnTo>
                  <a:pt x="11199600" y="2053557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172922"/>
                </a:lnTo>
                <a:lnTo>
                  <a:pt x="11199600" y="2212580"/>
                </a:lnTo>
                <a:lnTo>
                  <a:pt x="11199600" y="2239653"/>
                </a:lnTo>
                <a:lnTo>
                  <a:pt x="11199600" y="2257704"/>
                </a:lnTo>
                <a:lnTo>
                  <a:pt x="11199600" y="2257705"/>
                </a:lnTo>
                <a:lnTo>
                  <a:pt x="11199600" y="2282790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6821"/>
                </a:lnTo>
                <a:lnTo>
                  <a:pt x="11199600" y="2489591"/>
                </a:lnTo>
                <a:lnTo>
                  <a:pt x="11199600" y="2527609"/>
                </a:lnTo>
                <a:lnTo>
                  <a:pt x="11199600" y="2527610"/>
                </a:lnTo>
                <a:lnTo>
                  <a:pt x="11199600" y="2531944"/>
                </a:lnTo>
                <a:lnTo>
                  <a:pt x="11199600" y="2531945"/>
                </a:lnTo>
                <a:lnTo>
                  <a:pt x="11199600" y="2549720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790282"/>
                </a:lnTo>
                <a:lnTo>
                  <a:pt x="11199600" y="2801850"/>
                </a:lnTo>
                <a:lnTo>
                  <a:pt x="11199600" y="2819096"/>
                </a:lnTo>
                <a:lnTo>
                  <a:pt x="11199600" y="2823960"/>
                </a:lnTo>
                <a:lnTo>
                  <a:pt x="11199600" y="2910931"/>
                </a:lnTo>
                <a:lnTo>
                  <a:pt x="11199600" y="3093336"/>
                </a:lnTo>
                <a:lnTo>
                  <a:pt x="11199600" y="3132994"/>
                </a:lnTo>
                <a:lnTo>
                  <a:pt x="11199600" y="3185171"/>
                </a:lnTo>
                <a:lnTo>
                  <a:pt x="11199600" y="3297044"/>
                </a:lnTo>
                <a:lnTo>
                  <a:pt x="11199600" y="3407235"/>
                </a:lnTo>
                <a:lnTo>
                  <a:pt x="11199600" y="3470134"/>
                </a:lnTo>
                <a:lnTo>
                  <a:pt x="11199600" y="3571284"/>
                </a:lnTo>
                <a:lnTo>
                  <a:pt x="11199600" y="3708888"/>
                </a:lnTo>
                <a:lnTo>
                  <a:pt x="11199600" y="3744374"/>
                </a:lnTo>
                <a:lnTo>
                  <a:pt x="11199600" y="3831345"/>
                </a:lnTo>
                <a:lnTo>
                  <a:pt x="11199600" y="3983128"/>
                </a:lnTo>
                <a:lnTo>
                  <a:pt x="11199600" y="4105585"/>
                </a:lnTo>
                <a:lnTo>
                  <a:pt x="11199600" y="4217458"/>
                </a:lnTo>
                <a:lnTo>
                  <a:pt x="11199600" y="4491698"/>
                </a:lnTo>
                <a:lnTo>
                  <a:pt x="11199600" y="4629302"/>
                </a:lnTo>
                <a:lnTo>
                  <a:pt x="11199600" y="4903542"/>
                </a:lnTo>
                <a:cubicBezTo>
                  <a:pt x="11199600" y="4999652"/>
                  <a:pt x="11103603" y="4999652"/>
                  <a:pt x="11103603" y="4999652"/>
                </a:cubicBezTo>
                <a:cubicBezTo>
                  <a:pt x="11103603" y="4999652"/>
                  <a:pt x="11103603" y="4999652"/>
                  <a:pt x="95997" y="4999652"/>
                </a:cubicBezTo>
                <a:cubicBezTo>
                  <a:pt x="0" y="4999652"/>
                  <a:pt x="0" y="4903542"/>
                  <a:pt x="0" y="4903542"/>
                </a:cubicBezTo>
                <a:lnTo>
                  <a:pt x="0" y="4899807"/>
                </a:lnTo>
                <a:lnTo>
                  <a:pt x="0" y="4890936"/>
                </a:lnTo>
                <a:lnTo>
                  <a:pt x="0" y="4873660"/>
                </a:lnTo>
                <a:lnTo>
                  <a:pt x="0" y="4845179"/>
                </a:lnTo>
                <a:lnTo>
                  <a:pt x="0" y="4802691"/>
                </a:lnTo>
                <a:lnTo>
                  <a:pt x="0" y="4743394"/>
                </a:lnTo>
                <a:lnTo>
                  <a:pt x="0" y="4664487"/>
                </a:lnTo>
                <a:lnTo>
                  <a:pt x="0" y="4629302"/>
                </a:lnTo>
                <a:lnTo>
                  <a:pt x="0" y="4628196"/>
                </a:lnTo>
                <a:lnTo>
                  <a:pt x="0" y="4620448"/>
                </a:lnTo>
                <a:lnTo>
                  <a:pt x="0" y="4599605"/>
                </a:lnTo>
                <a:lnTo>
                  <a:pt x="0" y="4599420"/>
                </a:lnTo>
                <a:lnTo>
                  <a:pt x="0" y="4558471"/>
                </a:lnTo>
                <a:lnTo>
                  <a:pt x="0" y="4528451"/>
                </a:lnTo>
                <a:lnTo>
                  <a:pt x="0" y="4523932"/>
                </a:lnTo>
                <a:lnTo>
                  <a:pt x="0" y="4490960"/>
                </a:lnTo>
                <a:lnTo>
                  <a:pt x="0" y="4445169"/>
                </a:lnTo>
                <a:lnTo>
                  <a:pt x="0" y="4436638"/>
                </a:lnTo>
                <a:lnTo>
                  <a:pt x="0" y="4390247"/>
                </a:lnTo>
                <a:lnTo>
                  <a:pt x="0" y="4336893"/>
                </a:lnTo>
                <a:lnTo>
                  <a:pt x="0" y="4325365"/>
                </a:lnTo>
                <a:lnTo>
                  <a:pt x="0" y="4249692"/>
                </a:lnTo>
                <a:lnTo>
                  <a:pt x="0" y="4223868"/>
                </a:lnTo>
                <a:lnTo>
                  <a:pt x="0" y="4162398"/>
                </a:lnTo>
                <a:lnTo>
                  <a:pt x="0" y="4096731"/>
                </a:lnTo>
                <a:lnTo>
                  <a:pt x="0" y="4062653"/>
                </a:lnTo>
                <a:lnTo>
                  <a:pt x="0" y="3983128"/>
                </a:lnTo>
                <a:lnTo>
                  <a:pt x="0" y="3979393"/>
                </a:lnTo>
                <a:lnTo>
                  <a:pt x="0" y="3970522"/>
                </a:lnTo>
                <a:lnTo>
                  <a:pt x="0" y="3954654"/>
                </a:lnTo>
                <a:lnTo>
                  <a:pt x="0" y="3953246"/>
                </a:lnTo>
                <a:lnTo>
                  <a:pt x="0" y="3949628"/>
                </a:lnTo>
                <a:lnTo>
                  <a:pt x="0" y="3924765"/>
                </a:lnTo>
                <a:lnTo>
                  <a:pt x="0" y="3882277"/>
                </a:lnTo>
                <a:lnTo>
                  <a:pt x="0" y="3822980"/>
                </a:lnTo>
                <a:lnTo>
                  <a:pt x="0" y="3822491"/>
                </a:lnTo>
                <a:lnTo>
                  <a:pt x="0" y="3796806"/>
                </a:lnTo>
                <a:lnTo>
                  <a:pt x="0" y="3744073"/>
                </a:lnTo>
                <a:lnTo>
                  <a:pt x="0" y="3708888"/>
                </a:lnTo>
                <a:lnTo>
                  <a:pt x="0" y="3707782"/>
                </a:lnTo>
                <a:lnTo>
                  <a:pt x="0" y="3700034"/>
                </a:lnTo>
                <a:lnTo>
                  <a:pt x="0" y="3680414"/>
                </a:lnTo>
                <a:lnTo>
                  <a:pt x="0" y="3679191"/>
                </a:lnTo>
                <a:lnTo>
                  <a:pt x="0" y="3679006"/>
                </a:lnTo>
                <a:lnTo>
                  <a:pt x="0" y="3638057"/>
                </a:lnTo>
                <a:lnTo>
                  <a:pt x="0" y="3622356"/>
                </a:lnTo>
                <a:lnTo>
                  <a:pt x="0" y="3608037"/>
                </a:lnTo>
                <a:lnTo>
                  <a:pt x="0" y="3603518"/>
                </a:lnTo>
                <a:lnTo>
                  <a:pt x="0" y="3570546"/>
                </a:lnTo>
                <a:lnTo>
                  <a:pt x="0" y="3524755"/>
                </a:lnTo>
                <a:lnTo>
                  <a:pt x="0" y="3522566"/>
                </a:lnTo>
                <a:lnTo>
                  <a:pt x="0" y="3516224"/>
                </a:lnTo>
                <a:lnTo>
                  <a:pt x="0" y="3469833"/>
                </a:lnTo>
                <a:lnTo>
                  <a:pt x="0" y="3430476"/>
                </a:lnTo>
                <a:lnTo>
                  <a:pt x="0" y="3416479"/>
                </a:lnTo>
                <a:lnTo>
                  <a:pt x="0" y="3404951"/>
                </a:lnTo>
                <a:lnTo>
                  <a:pt x="0" y="3348116"/>
                </a:lnTo>
                <a:lnTo>
                  <a:pt x="0" y="3329278"/>
                </a:lnTo>
                <a:lnTo>
                  <a:pt x="0" y="3303454"/>
                </a:lnTo>
                <a:lnTo>
                  <a:pt x="0" y="3241984"/>
                </a:lnTo>
                <a:lnTo>
                  <a:pt x="0" y="3220334"/>
                </a:lnTo>
                <a:lnTo>
                  <a:pt x="0" y="3176317"/>
                </a:lnTo>
                <a:lnTo>
                  <a:pt x="0" y="3156236"/>
                </a:lnTo>
                <a:lnTo>
                  <a:pt x="0" y="3142239"/>
                </a:lnTo>
                <a:lnTo>
                  <a:pt x="0" y="3034240"/>
                </a:lnTo>
                <a:lnTo>
                  <a:pt x="0" y="3029214"/>
                </a:lnTo>
                <a:lnTo>
                  <a:pt x="0" y="2991101"/>
                </a:lnTo>
                <a:lnTo>
                  <a:pt x="0" y="2946094"/>
                </a:lnTo>
                <a:lnTo>
                  <a:pt x="0" y="2902077"/>
                </a:lnTo>
                <a:lnTo>
                  <a:pt x="0" y="2876392"/>
                </a:lnTo>
                <a:lnTo>
                  <a:pt x="0" y="2790282"/>
                </a:lnTo>
                <a:lnTo>
                  <a:pt x="0" y="2787072"/>
                </a:lnTo>
                <a:lnTo>
                  <a:pt x="0" y="2760000"/>
                </a:lnTo>
                <a:lnTo>
                  <a:pt x="0" y="2741948"/>
                </a:lnTo>
                <a:lnTo>
                  <a:pt x="0" y="2741947"/>
                </a:lnTo>
                <a:lnTo>
                  <a:pt x="0" y="2716862"/>
                </a:lnTo>
                <a:lnTo>
                  <a:pt x="0" y="2716861"/>
                </a:lnTo>
                <a:lnTo>
                  <a:pt x="0" y="2701942"/>
                </a:lnTo>
                <a:lnTo>
                  <a:pt x="0" y="2602152"/>
                </a:lnTo>
                <a:lnTo>
                  <a:pt x="0" y="2512832"/>
                </a:lnTo>
                <a:lnTo>
                  <a:pt x="0" y="2510062"/>
                </a:lnTo>
                <a:lnTo>
                  <a:pt x="0" y="2472043"/>
                </a:lnTo>
                <a:lnTo>
                  <a:pt x="0" y="2472042"/>
                </a:lnTo>
                <a:lnTo>
                  <a:pt x="0" y="2467708"/>
                </a:lnTo>
                <a:lnTo>
                  <a:pt x="0" y="2467707"/>
                </a:lnTo>
                <a:lnTo>
                  <a:pt x="0" y="2449933"/>
                </a:lnTo>
                <a:lnTo>
                  <a:pt x="0" y="2427702"/>
                </a:lnTo>
                <a:lnTo>
                  <a:pt x="0" y="2299920"/>
                </a:lnTo>
                <a:lnTo>
                  <a:pt x="0" y="2235822"/>
                </a:lnTo>
                <a:lnTo>
                  <a:pt x="0" y="2197803"/>
                </a:lnTo>
                <a:lnTo>
                  <a:pt x="0" y="2197802"/>
                </a:lnTo>
                <a:lnTo>
                  <a:pt x="0" y="2180556"/>
                </a:lnTo>
                <a:lnTo>
                  <a:pt x="0" y="2180555"/>
                </a:lnTo>
                <a:lnTo>
                  <a:pt x="0" y="2175692"/>
                </a:lnTo>
                <a:lnTo>
                  <a:pt x="0" y="2088721"/>
                </a:lnTo>
                <a:lnTo>
                  <a:pt x="0" y="2070687"/>
                </a:lnTo>
                <a:lnTo>
                  <a:pt x="0" y="2025680"/>
                </a:lnTo>
                <a:lnTo>
                  <a:pt x="0" y="1906316"/>
                </a:lnTo>
                <a:lnTo>
                  <a:pt x="0" y="1906315"/>
                </a:lnTo>
                <a:lnTo>
                  <a:pt x="0" y="1866658"/>
                </a:lnTo>
                <a:lnTo>
                  <a:pt x="0" y="1866657"/>
                </a:lnTo>
                <a:lnTo>
                  <a:pt x="0" y="1821533"/>
                </a:lnTo>
                <a:lnTo>
                  <a:pt x="0" y="1814481"/>
                </a:lnTo>
                <a:lnTo>
                  <a:pt x="0" y="1796447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92417"/>
                </a:lnTo>
                <a:lnTo>
                  <a:pt x="0" y="1551628"/>
                </a:lnTo>
                <a:lnTo>
                  <a:pt x="0" y="1547293"/>
                </a:lnTo>
                <a:lnTo>
                  <a:pt x="0" y="1529519"/>
                </a:lnTo>
                <a:lnTo>
                  <a:pt x="0" y="1529518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77388"/>
                </a:lnTo>
                <a:lnTo>
                  <a:pt x="0" y="1260141"/>
                </a:lnTo>
                <a:lnTo>
                  <a:pt x="0" y="1255278"/>
                </a:lnTo>
                <a:lnTo>
                  <a:pt x="0" y="1255277"/>
                </a:lnTo>
                <a:lnTo>
                  <a:pt x="0" y="1208224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39676" tIns="35996" rIns="35996" bIns="35996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432344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2">
          <p15:clr>
            <a:srgbClr val="FBAE40"/>
          </p15:clr>
        </p15:guide>
      </p15:sldGuideLst>
    </p:ext>
  </p:extLs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696912" y="280733"/>
            <a:ext cx="11199600" cy="5920067"/>
          </a:xfrm>
          <a:custGeom>
            <a:avLst/>
            <a:gdLst>
              <a:gd name="connsiteX0" fmla="*/ 95997 w 11199600"/>
              <a:gd name="connsiteY0" fmla="*/ 0 h 5920067"/>
              <a:gd name="connsiteX1" fmla="*/ 11103603 w 11199600"/>
              <a:gd name="connsiteY1" fmla="*/ 0 h 5920067"/>
              <a:gd name="connsiteX2" fmla="*/ 11199600 w 11199600"/>
              <a:gd name="connsiteY2" fmla="*/ 96110 h 5920067"/>
              <a:gd name="connsiteX3" fmla="*/ 11199600 w 11199600"/>
              <a:gd name="connsiteY3" fmla="*/ 335165 h 5920067"/>
              <a:gd name="connsiteX4" fmla="*/ 11199600 w 11199600"/>
              <a:gd name="connsiteY4" fmla="*/ 370350 h 5920067"/>
              <a:gd name="connsiteX5" fmla="*/ 11199600 w 11199600"/>
              <a:gd name="connsiteY5" fmla="*/ 379204 h 5920067"/>
              <a:gd name="connsiteX6" fmla="*/ 11199600 w 11199600"/>
              <a:gd name="connsiteY6" fmla="*/ 400048 h 5920067"/>
              <a:gd name="connsiteX7" fmla="*/ 11199600 w 11199600"/>
              <a:gd name="connsiteY7" fmla="*/ 400232 h 5920067"/>
              <a:gd name="connsiteX8" fmla="*/ 11199600 w 11199600"/>
              <a:gd name="connsiteY8" fmla="*/ 471202 h 5920067"/>
              <a:gd name="connsiteX9" fmla="*/ 11199600 w 11199600"/>
              <a:gd name="connsiteY9" fmla="*/ 475721 h 5920067"/>
              <a:gd name="connsiteX10" fmla="*/ 11199600 w 11199600"/>
              <a:gd name="connsiteY10" fmla="*/ 508692 h 5920067"/>
              <a:gd name="connsiteX11" fmla="*/ 11199600 w 11199600"/>
              <a:gd name="connsiteY11" fmla="*/ 554484 h 5920067"/>
              <a:gd name="connsiteX12" fmla="*/ 11199600 w 11199600"/>
              <a:gd name="connsiteY12" fmla="*/ 563015 h 5920067"/>
              <a:gd name="connsiteX13" fmla="*/ 11199600 w 11199600"/>
              <a:gd name="connsiteY13" fmla="*/ 609405 h 5920067"/>
              <a:gd name="connsiteX14" fmla="*/ 11199600 w 11199600"/>
              <a:gd name="connsiteY14" fmla="*/ 662759 h 5920067"/>
              <a:gd name="connsiteX15" fmla="*/ 11199600 w 11199600"/>
              <a:gd name="connsiteY15" fmla="*/ 674288 h 5920067"/>
              <a:gd name="connsiteX16" fmla="*/ 11199600 w 11199600"/>
              <a:gd name="connsiteY16" fmla="*/ 749961 h 5920067"/>
              <a:gd name="connsiteX17" fmla="*/ 11199600 w 11199600"/>
              <a:gd name="connsiteY17" fmla="*/ 775785 h 5920067"/>
              <a:gd name="connsiteX18" fmla="*/ 11199600 w 11199600"/>
              <a:gd name="connsiteY18" fmla="*/ 837255 h 5920067"/>
              <a:gd name="connsiteX19" fmla="*/ 11199600 w 11199600"/>
              <a:gd name="connsiteY19" fmla="*/ 902921 h 5920067"/>
              <a:gd name="connsiteX20" fmla="*/ 11199600 w 11199600"/>
              <a:gd name="connsiteY20" fmla="*/ 936999 h 5920067"/>
              <a:gd name="connsiteX21" fmla="*/ 11199600 w 11199600"/>
              <a:gd name="connsiteY21" fmla="*/ 1016524 h 5920067"/>
              <a:gd name="connsiteX22" fmla="*/ 11199600 w 11199600"/>
              <a:gd name="connsiteY22" fmla="*/ 1029131 h 5920067"/>
              <a:gd name="connsiteX23" fmla="*/ 11199600 w 11199600"/>
              <a:gd name="connsiteY23" fmla="*/ 1044999 h 5920067"/>
              <a:gd name="connsiteX24" fmla="*/ 11199600 w 11199600"/>
              <a:gd name="connsiteY24" fmla="*/ 1046406 h 5920067"/>
              <a:gd name="connsiteX25" fmla="*/ 11199600 w 11199600"/>
              <a:gd name="connsiteY25" fmla="*/ 1050025 h 5920067"/>
              <a:gd name="connsiteX26" fmla="*/ 11199600 w 11199600"/>
              <a:gd name="connsiteY26" fmla="*/ 1074887 h 5920067"/>
              <a:gd name="connsiteX27" fmla="*/ 11199600 w 11199600"/>
              <a:gd name="connsiteY27" fmla="*/ 1176672 h 5920067"/>
              <a:gd name="connsiteX28" fmla="*/ 11199600 w 11199600"/>
              <a:gd name="connsiteY28" fmla="*/ 1177161 h 5920067"/>
              <a:gd name="connsiteX29" fmla="*/ 11199600 w 11199600"/>
              <a:gd name="connsiteY29" fmla="*/ 1202847 h 5920067"/>
              <a:gd name="connsiteX30" fmla="*/ 11199600 w 11199600"/>
              <a:gd name="connsiteY30" fmla="*/ 1255579 h 5920067"/>
              <a:gd name="connsiteX31" fmla="*/ 11199600 w 11199600"/>
              <a:gd name="connsiteY31" fmla="*/ 1290764 h 5920067"/>
              <a:gd name="connsiteX32" fmla="*/ 11199600 w 11199600"/>
              <a:gd name="connsiteY32" fmla="*/ 1299618 h 5920067"/>
              <a:gd name="connsiteX33" fmla="*/ 11199600 w 11199600"/>
              <a:gd name="connsiteY33" fmla="*/ 1319239 h 5920067"/>
              <a:gd name="connsiteX34" fmla="*/ 11199600 w 11199600"/>
              <a:gd name="connsiteY34" fmla="*/ 1320462 h 5920067"/>
              <a:gd name="connsiteX35" fmla="*/ 11199600 w 11199600"/>
              <a:gd name="connsiteY35" fmla="*/ 1320646 h 5920067"/>
              <a:gd name="connsiteX36" fmla="*/ 11199600 w 11199600"/>
              <a:gd name="connsiteY36" fmla="*/ 1349128 h 5920067"/>
              <a:gd name="connsiteX37" fmla="*/ 11199600 w 11199600"/>
              <a:gd name="connsiteY37" fmla="*/ 1377296 h 5920067"/>
              <a:gd name="connsiteX38" fmla="*/ 11199600 w 11199600"/>
              <a:gd name="connsiteY38" fmla="*/ 1391616 h 5920067"/>
              <a:gd name="connsiteX39" fmla="*/ 11199600 w 11199600"/>
              <a:gd name="connsiteY39" fmla="*/ 1396135 h 5920067"/>
              <a:gd name="connsiteX40" fmla="*/ 11199600 w 11199600"/>
              <a:gd name="connsiteY40" fmla="*/ 1429106 h 5920067"/>
              <a:gd name="connsiteX41" fmla="*/ 11199600 w 11199600"/>
              <a:gd name="connsiteY41" fmla="*/ 1474898 h 5920067"/>
              <a:gd name="connsiteX42" fmla="*/ 11199600 w 11199600"/>
              <a:gd name="connsiteY42" fmla="*/ 1477087 h 5920067"/>
              <a:gd name="connsiteX43" fmla="*/ 11199600 w 11199600"/>
              <a:gd name="connsiteY43" fmla="*/ 1483429 h 5920067"/>
              <a:gd name="connsiteX44" fmla="*/ 11199600 w 11199600"/>
              <a:gd name="connsiteY44" fmla="*/ 1529819 h 5920067"/>
              <a:gd name="connsiteX45" fmla="*/ 11199600 w 11199600"/>
              <a:gd name="connsiteY45" fmla="*/ 1569177 h 5920067"/>
              <a:gd name="connsiteX46" fmla="*/ 11199600 w 11199600"/>
              <a:gd name="connsiteY46" fmla="*/ 1583173 h 5920067"/>
              <a:gd name="connsiteX47" fmla="*/ 11199600 w 11199600"/>
              <a:gd name="connsiteY47" fmla="*/ 1594702 h 5920067"/>
              <a:gd name="connsiteX48" fmla="*/ 11199600 w 11199600"/>
              <a:gd name="connsiteY48" fmla="*/ 1651536 h 5920067"/>
              <a:gd name="connsiteX49" fmla="*/ 11199600 w 11199600"/>
              <a:gd name="connsiteY49" fmla="*/ 1670375 h 5920067"/>
              <a:gd name="connsiteX50" fmla="*/ 11199600 w 11199600"/>
              <a:gd name="connsiteY50" fmla="*/ 1696199 h 5920067"/>
              <a:gd name="connsiteX51" fmla="*/ 11199600 w 11199600"/>
              <a:gd name="connsiteY51" fmla="*/ 1757669 h 5920067"/>
              <a:gd name="connsiteX52" fmla="*/ 11199600 w 11199600"/>
              <a:gd name="connsiteY52" fmla="*/ 1779318 h 5920067"/>
              <a:gd name="connsiteX53" fmla="*/ 11199600 w 11199600"/>
              <a:gd name="connsiteY53" fmla="*/ 1823335 h 5920067"/>
              <a:gd name="connsiteX54" fmla="*/ 11199600 w 11199600"/>
              <a:gd name="connsiteY54" fmla="*/ 1843417 h 5920067"/>
              <a:gd name="connsiteX55" fmla="*/ 11199600 w 11199600"/>
              <a:gd name="connsiteY55" fmla="*/ 1857413 h 5920067"/>
              <a:gd name="connsiteX56" fmla="*/ 11199600 w 11199600"/>
              <a:gd name="connsiteY56" fmla="*/ 1965413 h 5920067"/>
              <a:gd name="connsiteX57" fmla="*/ 11199600 w 11199600"/>
              <a:gd name="connsiteY57" fmla="*/ 1970439 h 5920067"/>
              <a:gd name="connsiteX58" fmla="*/ 11199600 w 11199600"/>
              <a:gd name="connsiteY58" fmla="*/ 2008551 h 5920067"/>
              <a:gd name="connsiteX59" fmla="*/ 11199600 w 11199600"/>
              <a:gd name="connsiteY59" fmla="*/ 2053558 h 5920067"/>
              <a:gd name="connsiteX60" fmla="*/ 11199600 w 11199600"/>
              <a:gd name="connsiteY60" fmla="*/ 2097575 h 5920067"/>
              <a:gd name="connsiteX61" fmla="*/ 11199600 w 11199600"/>
              <a:gd name="connsiteY61" fmla="*/ 2123261 h 5920067"/>
              <a:gd name="connsiteX62" fmla="*/ 11199600 w 11199600"/>
              <a:gd name="connsiteY62" fmla="*/ 2239653 h 5920067"/>
              <a:gd name="connsiteX63" fmla="*/ 11199600 w 11199600"/>
              <a:gd name="connsiteY63" fmla="*/ 2257705 h 5920067"/>
              <a:gd name="connsiteX64" fmla="*/ 11199600 w 11199600"/>
              <a:gd name="connsiteY64" fmla="*/ 2282791 h 5920067"/>
              <a:gd name="connsiteX65" fmla="*/ 11199600 w 11199600"/>
              <a:gd name="connsiteY65" fmla="*/ 2297710 h 5920067"/>
              <a:gd name="connsiteX66" fmla="*/ 11199600 w 11199600"/>
              <a:gd name="connsiteY66" fmla="*/ 2397501 h 5920067"/>
              <a:gd name="connsiteX67" fmla="*/ 11199600 w 11199600"/>
              <a:gd name="connsiteY67" fmla="*/ 2489591 h 5920067"/>
              <a:gd name="connsiteX68" fmla="*/ 11199600 w 11199600"/>
              <a:gd name="connsiteY68" fmla="*/ 2527610 h 5920067"/>
              <a:gd name="connsiteX69" fmla="*/ 11199600 w 11199600"/>
              <a:gd name="connsiteY69" fmla="*/ 2531945 h 5920067"/>
              <a:gd name="connsiteX70" fmla="*/ 11199600 w 11199600"/>
              <a:gd name="connsiteY70" fmla="*/ 2571950 h 5920067"/>
              <a:gd name="connsiteX71" fmla="*/ 11199600 w 11199600"/>
              <a:gd name="connsiteY71" fmla="*/ 2699732 h 5920067"/>
              <a:gd name="connsiteX72" fmla="*/ 11199600 w 11199600"/>
              <a:gd name="connsiteY72" fmla="*/ 2763831 h 5920067"/>
              <a:gd name="connsiteX73" fmla="*/ 11199600 w 11199600"/>
              <a:gd name="connsiteY73" fmla="*/ 2801851 h 5920067"/>
              <a:gd name="connsiteX74" fmla="*/ 11199600 w 11199600"/>
              <a:gd name="connsiteY74" fmla="*/ 2819097 h 5920067"/>
              <a:gd name="connsiteX75" fmla="*/ 11199600 w 11199600"/>
              <a:gd name="connsiteY75" fmla="*/ 2928965 h 5920067"/>
              <a:gd name="connsiteX76" fmla="*/ 11199600 w 11199600"/>
              <a:gd name="connsiteY76" fmla="*/ 2973972 h 5920067"/>
              <a:gd name="connsiteX77" fmla="*/ 11199600 w 11199600"/>
              <a:gd name="connsiteY77" fmla="*/ 3093337 h 5920067"/>
              <a:gd name="connsiteX78" fmla="*/ 11199600 w 11199600"/>
              <a:gd name="connsiteY78" fmla="*/ 3132995 h 5920067"/>
              <a:gd name="connsiteX79" fmla="*/ 11199600 w 11199600"/>
              <a:gd name="connsiteY79" fmla="*/ 3178119 h 5920067"/>
              <a:gd name="connsiteX80" fmla="*/ 11199600 w 11199600"/>
              <a:gd name="connsiteY80" fmla="*/ 3203205 h 5920067"/>
              <a:gd name="connsiteX81" fmla="*/ 11199600 w 11199600"/>
              <a:gd name="connsiteY81" fmla="*/ 3407236 h 5920067"/>
              <a:gd name="connsiteX82" fmla="*/ 11199600 w 11199600"/>
              <a:gd name="connsiteY82" fmla="*/ 3448024 h 5920067"/>
              <a:gd name="connsiteX83" fmla="*/ 11199600 w 11199600"/>
              <a:gd name="connsiteY83" fmla="*/ 3452359 h 5920067"/>
              <a:gd name="connsiteX84" fmla="*/ 11199600 w 11199600"/>
              <a:gd name="connsiteY84" fmla="*/ 3470135 h 5920067"/>
              <a:gd name="connsiteX85" fmla="*/ 11199600 w 11199600"/>
              <a:gd name="connsiteY85" fmla="*/ 3722265 h 5920067"/>
              <a:gd name="connsiteX86" fmla="*/ 11199600 w 11199600"/>
              <a:gd name="connsiteY86" fmla="*/ 3739511 h 5920067"/>
              <a:gd name="connsiteX87" fmla="*/ 11199600 w 11199600"/>
              <a:gd name="connsiteY87" fmla="*/ 3744375 h 5920067"/>
              <a:gd name="connsiteX88" fmla="*/ 11199600 w 11199600"/>
              <a:gd name="connsiteY88" fmla="*/ 3831346 h 5920067"/>
              <a:gd name="connsiteX89" fmla="*/ 11199600 w 11199600"/>
              <a:gd name="connsiteY89" fmla="*/ 4013751 h 5920067"/>
              <a:gd name="connsiteX90" fmla="*/ 11199600 w 11199600"/>
              <a:gd name="connsiteY90" fmla="*/ 4053409 h 5920067"/>
              <a:gd name="connsiteX91" fmla="*/ 11199600 w 11199600"/>
              <a:gd name="connsiteY91" fmla="*/ 4105586 h 5920067"/>
              <a:gd name="connsiteX92" fmla="*/ 11199600 w 11199600"/>
              <a:gd name="connsiteY92" fmla="*/ 4217459 h 5920067"/>
              <a:gd name="connsiteX93" fmla="*/ 11199600 w 11199600"/>
              <a:gd name="connsiteY93" fmla="*/ 4327650 h 5920067"/>
              <a:gd name="connsiteX94" fmla="*/ 11199600 w 11199600"/>
              <a:gd name="connsiteY94" fmla="*/ 4390549 h 5920067"/>
              <a:gd name="connsiteX95" fmla="*/ 11199600 w 11199600"/>
              <a:gd name="connsiteY95" fmla="*/ 4491699 h 5920067"/>
              <a:gd name="connsiteX96" fmla="*/ 11199600 w 11199600"/>
              <a:gd name="connsiteY96" fmla="*/ 4629303 h 5920067"/>
              <a:gd name="connsiteX97" fmla="*/ 11199600 w 11199600"/>
              <a:gd name="connsiteY97" fmla="*/ 4664789 h 5920067"/>
              <a:gd name="connsiteX98" fmla="*/ 11199600 w 11199600"/>
              <a:gd name="connsiteY98" fmla="*/ 4751760 h 5920067"/>
              <a:gd name="connsiteX99" fmla="*/ 11199600 w 11199600"/>
              <a:gd name="connsiteY99" fmla="*/ 4903543 h 5920067"/>
              <a:gd name="connsiteX100" fmla="*/ 11199600 w 11199600"/>
              <a:gd name="connsiteY100" fmla="*/ 5026000 h 5920067"/>
              <a:gd name="connsiteX101" fmla="*/ 11199600 w 11199600"/>
              <a:gd name="connsiteY101" fmla="*/ 5137873 h 5920067"/>
              <a:gd name="connsiteX102" fmla="*/ 11199600 w 11199600"/>
              <a:gd name="connsiteY102" fmla="*/ 5412113 h 5920067"/>
              <a:gd name="connsiteX103" fmla="*/ 11199600 w 11199600"/>
              <a:gd name="connsiteY103" fmla="*/ 5549717 h 5920067"/>
              <a:gd name="connsiteX104" fmla="*/ 11199600 w 11199600"/>
              <a:gd name="connsiteY104" fmla="*/ 5823957 h 5920067"/>
              <a:gd name="connsiteX105" fmla="*/ 11103603 w 11199600"/>
              <a:gd name="connsiteY105" fmla="*/ 5920067 h 5920067"/>
              <a:gd name="connsiteX106" fmla="*/ 95997 w 11199600"/>
              <a:gd name="connsiteY106" fmla="*/ 5920067 h 5920067"/>
              <a:gd name="connsiteX107" fmla="*/ 0 w 11199600"/>
              <a:gd name="connsiteY107" fmla="*/ 5823957 h 5920067"/>
              <a:gd name="connsiteX108" fmla="*/ 0 w 11199600"/>
              <a:gd name="connsiteY108" fmla="*/ 5820222 h 5920067"/>
              <a:gd name="connsiteX109" fmla="*/ 0 w 11199600"/>
              <a:gd name="connsiteY109" fmla="*/ 5811351 h 5920067"/>
              <a:gd name="connsiteX110" fmla="*/ 0 w 11199600"/>
              <a:gd name="connsiteY110" fmla="*/ 5794075 h 5920067"/>
              <a:gd name="connsiteX111" fmla="*/ 0 w 11199600"/>
              <a:gd name="connsiteY111" fmla="*/ 5765594 h 5920067"/>
              <a:gd name="connsiteX112" fmla="*/ 0 w 11199600"/>
              <a:gd name="connsiteY112" fmla="*/ 5723106 h 5920067"/>
              <a:gd name="connsiteX113" fmla="*/ 0 w 11199600"/>
              <a:gd name="connsiteY113" fmla="*/ 5663809 h 5920067"/>
              <a:gd name="connsiteX114" fmla="*/ 0 w 11199600"/>
              <a:gd name="connsiteY114" fmla="*/ 5584902 h 5920067"/>
              <a:gd name="connsiteX115" fmla="*/ 0 w 11199600"/>
              <a:gd name="connsiteY115" fmla="*/ 5549717 h 5920067"/>
              <a:gd name="connsiteX116" fmla="*/ 0 w 11199600"/>
              <a:gd name="connsiteY116" fmla="*/ 5548611 h 5920067"/>
              <a:gd name="connsiteX117" fmla="*/ 0 w 11199600"/>
              <a:gd name="connsiteY117" fmla="*/ 5540863 h 5920067"/>
              <a:gd name="connsiteX118" fmla="*/ 0 w 11199600"/>
              <a:gd name="connsiteY118" fmla="*/ 5520020 h 5920067"/>
              <a:gd name="connsiteX119" fmla="*/ 0 w 11199600"/>
              <a:gd name="connsiteY119" fmla="*/ 5519835 h 5920067"/>
              <a:gd name="connsiteX120" fmla="*/ 0 w 11199600"/>
              <a:gd name="connsiteY120" fmla="*/ 5478886 h 5920067"/>
              <a:gd name="connsiteX121" fmla="*/ 0 w 11199600"/>
              <a:gd name="connsiteY121" fmla="*/ 5448866 h 5920067"/>
              <a:gd name="connsiteX122" fmla="*/ 0 w 11199600"/>
              <a:gd name="connsiteY122" fmla="*/ 5444347 h 5920067"/>
              <a:gd name="connsiteX123" fmla="*/ 0 w 11199600"/>
              <a:gd name="connsiteY123" fmla="*/ 5411375 h 5920067"/>
              <a:gd name="connsiteX124" fmla="*/ 0 w 11199600"/>
              <a:gd name="connsiteY124" fmla="*/ 5365584 h 5920067"/>
              <a:gd name="connsiteX125" fmla="*/ 0 w 11199600"/>
              <a:gd name="connsiteY125" fmla="*/ 5357053 h 5920067"/>
              <a:gd name="connsiteX126" fmla="*/ 0 w 11199600"/>
              <a:gd name="connsiteY126" fmla="*/ 5310662 h 5920067"/>
              <a:gd name="connsiteX127" fmla="*/ 0 w 11199600"/>
              <a:gd name="connsiteY127" fmla="*/ 5257308 h 5920067"/>
              <a:gd name="connsiteX128" fmla="*/ 0 w 11199600"/>
              <a:gd name="connsiteY128" fmla="*/ 5245780 h 5920067"/>
              <a:gd name="connsiteX129" fmla="*/ 0 w 11199600"/>
              <a:gd name="connsiteY129" fmla="*/ 5170107 h 5920067"/>
              <a:gd name="connsiteX130" fmla="*/ 0 w 11199600"/>
              <a:gd name="connsiteY130" fmla="*/ 5144283 h 5920067"/>
              <a:gd name="connsiteX131" fmla="*/ 0 w 11199600"/>
              <a:gd name="connsiteY131" fmla="*/ 5082813 h 5920067"/>
              <a:gd name="connsiteX132" fmla="*/ 0 w 11199600"/>
              <a:gd name="connsiteY132" fmla="*/ 5017146 h 5920067"/>
              <a:gd name="connsiteX133" fmla="*/ 0 w 11199600"/>
              <a:gd name="connsiteY133" fmla="*/ 4983068 h 5920067"/>
              <a:gd name="connsiteX134" fmla="*/ 0 w 11199600"/>
              <a:gd name="connsiteY134" fmla="*/ 4903543 h 5920067"/>
              <a:gd name="connsiteX135" fmla="*/ 0 w 11199600"/>
              <a:gd name="connsiteY135" fmla="*/ 4899808 h 5920067"/>
              <a:gd name="connsiteX136" fmla="*/ 0 w 11199600"/>
              <a:gd name="connsiteY136" fmla="*/ 4890937 h 5920067"/>
              <a:gd name="connsiteX137" fmla="*/ 0 w 11199600"/>
              <a:gd name="connsiteY137" fmla="*/ 4875069 h 5920067"/>
              <a:gd name="connsiteX138" fmla="*/ 0 w 11199600"/>
              <a:gd name="connsiteY138" fmla="*/ 4873661 h 5920067"/>
              <a:gd name="connsiteX139" fmla="*/ 0 w 11199600"/>
              <a:gd name="connsiteY139" fmla="*/ 4870043 h 5920067"/>
              <a:gd name="connsiteX140" fmla="*/ 0 w 11199600"/>
              <a:gd name="connsiteY140" fmla="*/ 4845180 h 5920067"/>
              <a:gd name="connsiteX141" fmla="*/ 0 w 11199600"/>
              <a:gd name="connsiteY141" fmla="*/ 4802692 h 5920067"/>
              <a:gd name="connsiteX142" fmla="*/ 0 w 11199600"/>
              <a:gd name="connsiteY142" fmla="*/ 4743395 h 5920067"/>
              <a:gd name="connsiteX143" fmla="*/ 0 w 11199600"/>
              <a:gd name="connsiteY143" fmla="*/ 4742906 h 5920067"/>
              <a:gd name="connsiteX144" fmla="*/ 0 w 11199600"/>
              <a:gd name="connsiteY144" fmla="*/ 4717221 h 5920067"/>
              <a:gd name="connsiteX145" fmla="*/ 0 w 11199600"/>
              <a:gd name="connsiteY145" fmla="*/ 4664488 h 5920067"/>
              <a:gd name="connsiteX146" fmla="*/ 0 w 11199600"/>
              <a:gd name="connsiteY146" fmla="*/ 4629303 h 5920067"/>
              <a:gd name="connsiteX147" fmla="*/ 0 w 11199600"/>
              <a:gd name="connsiteY147" fmla="*/ 4628197 h 5920067"/>
              <a:gd name="connsiteX148" fmla="*/ 0 w 11199600"/>
              <a:gd name="connsiteY148" fmla="*/ 4620449 h 5920067"/>
              <a:gd name="connsiteX149" fmla="*/ 0 w 11199600"/>
              <a:gd name="connsiteY149" fmla="*/ 4600829 h 5920067"/>
              <a:gd name="connsiteX150" fmla="*/ 0 w 11199600"/>
              <a:gd name="connsiteY150" fmla="*/ 4599606 h 5920067"/>
              <a:gd name="connsiteX151" fmla="*/ 0 w 11199600"/>
              <a:gd name="connsiteY151" fmla="*/ 4599421 h 5920067"/>
              <a:gd name="connsiteX152" fmla="*/ 0 w 11199600"/>
              <a:gd name="connsiteY152" fmla="*/ 4558472 h 5920067"/>
              <a:gd name="connsiteX153" fmla="*/ 0 w 11199600"/>
              <a:gd name="connsiteY153" fmla="*/ 4542771 h 5920067"/>
              <a:gd name="connsiteX154" fmla="*/ 0 w 11199600"/>
              <a:gd name="connsiteY154" fmla="*/ 4528452 h 5920067"/>
              <a:gd name="connsiteX155" fmla="*/ 0 w 11199600"/>
              <a:gd name="connsiteY155" fmla="*/ 4523933 h 5920067"/>
              <a:gd name="connsiteX156" fmla="*/ 0 w 11199600"/>
              <a:gd name="connsiteY156" fmla="*/ 4490961 h 5920067"/>
              <a:gd name="connsiteX157" fmla="*/ 0 w 11199600"/>
              <a:gd name="connsiteY157" fmla="*/ 4445170 h 5920067"/>
              <a:gd name="connsiteX158" fmla="*/ 0 w 11199600"/>
              <a:gd name="connsiteY158" fmla="*/ 4442981 h 5920067"/>
              <a:gd name="connsiteX159" fmla="*/ 0 w 11199600"/>
              <a:gd name="connsiteY159" fmla="*/ 4436639 h 5920067"/>
              <a:gd name="connsiteX160" fmla="*/ 0 w 11199600"/>
              <a:gd name="connsiteY160" fmla="*/ 4390248 h 5920067"/>
              <a:gd name="connsiteX161" fmla="*/ 0 w 11199600"/>
              <a:gd name="connsiteY161" fmla="*/ 4350891 h 5920067"/>
              <a:gd name="connsiteX162" fmla="*/ 0 w 11199600"/>
              <a:gd name="connsiteY162" fmla="*/ 4336894 h 5920067"/>
              <a:gd name="connsiteX163" fmla="*/ 0 w 11199600"/>
              <a:gd name="connsiteY163" fmla="*/ 4325366 h 5920067"/>
              <a:gd name="connsiteX164" fmla="*/ 0 w 11199600"/>
              <a:gd name="connsiteY164" fmla="*/ 4268531 h 5920067"/>
              <a:gd name="connsiteX165" fmla="*/ 0 w 11199600"/>
              <a:gd name="connsiteY165" fmla="*/ 4249693 h 5920067"/>
              <a:gd name="connsiteX166" fmla="*/ 0 w 11199600"/>
              <a:gd name="connsiteY166" fmla="*/ 4223869 h 5920067"/>
              <a:gd name="connsiteX167" fmla="*/ 0 w 11199600"/>
              <a:gd name="connsiteY167" fmla="*/ 4162399 h 5920067"/>
              <a:gd name="connsiteX168" fmla="*/ 0 w 11199600"/>
              <a:gd name="connsiteY168" fmla="*/ 4140749 h 5920067"/>
              <a:gd name="connsiteX169" fmla="*/ 0 w 11199600"/>
              <a:gd name="connsiteY169" fmla="*/ 4096732 h 5920067"/>
              <a:gd name="connsiteX170" fmla="*/ 0 w 11199600"/>
              <a:gd name="connsiteY170" fmla="*/ 4076651 h 5920067"/>
              <a:gd name="connsiteX171" fmla="*/ 0 w 11199600"/>
              <a:gd name="connsiteY171" fmla="*/ 4062654 h 5920067"/>
              <a:gd name="connsiteX172" fmla="*/ 0 w 11199600"/>
              <a:gd name="connsiteY172" fmla="*/ 3954655 h 5920067"/>
              <a:gd name="connsiteX173" fmla="*/ 0 w 11199600"/>
              <a:gd name="connsiteY173" fmla="*/ 3949629 h 5920067"/>
              <a:gd name="connsiteX174" fmla="*/ 0 w 11199600"/>
              <a:gd name="connsiteY174" fmla="*/ 3911516 h 5920067"/>
              <a:gd name="connsiteX175" fmla="*/ 0 w 11199600"/>
              <a:gd name="connsiteY175" fmla="*/ 3866509 h 5920067"/>
              <a:gd name="connsiteX176" fmla="*/ 0 w 11199600"/>
              <a:gd name="connsiteY176" fmla="*/ 3822492 h 5920067"/>
              <a:gd name="connsiteX177" fmla="*/ 0 w 11199600"/>
              <a:gd name="connsiteY177" fmla="*/ 3796807 h 5920067"/>
              <a:gd name="connsiteX178" fmla="*/ 0 w 11199600"/>
              <a:gd name="connsiteY178" fmla="*/ 3680415 h 5920067"/>
              <a:gd name="connsiteX179" fmla="*/ 0 w 11199600"/>
              <a:gd name="connsiteY179" fmla="*/ 3662362 h 5920067"/>
              <a:gd name="connsiteX180" fmla="*/ 0 w 11199600"/>
              <a:gd name="connsiteY180" fmla="*/ 3637276 h 5920067"/>
              <a:gd name="connsiteX181" fmla="*/ 0 w 11199600"/>
              <a:gd name="connsiteY181" fmla="*/ 3622357 h 5920067"/>
              <a:gd name="connsiteX182" fmla="*/ 0 w 11199600"/>
              <a:gd name="connsiteY182" fmla="*/ 3522567 h 5920067"/>
              <a:gd name="connsiteX183" fmla="*/ 0 w 11199600"/>
              <a:gd name="connsiteY183" fmla="*/ 3430477 h 5920067"/>
              <a:gd name="connsiteX184" fmla="*/ 0 w 11199600"/>
              <a:gd name="connsiteY184" fmla="*/ 3392457 h 5920067"/>
              <a:gd name="connsiteX185" fmla="*/ 0 w 11199600"/>
              <a:gd name="connsiteY185" fmla="*/ 3388122 h 5920067"/>
              <a:gd name="connsiteX186" fmla="*/ 0 w 11199600"/>
              <a:gd name="connsiteY186" fmla="*/ 3348117 h 5920067"/>
              <a:gd name="connsiteX187" fmla="*/ 0 w 11199600"/>
              <a:gd name="connsiteY187" fmla="*/ 3220335 h 5920067"/>
              <a:gd name="connsiteX188" fmla="*/ 0 w 11199600"/>
              <a:gd name="connsiteY188" fmla="*/ 3156237 h 5920067"/>
              <a:gd name="connsiteX189" fmla="*/ 0 w 11199600"/>
              <a:gd name="connsiteY189" fmla="*/ 3118217 h 5920067"/>
              <a:gd name="connsiteX190" fmla="*/ 0 w 11199600"/>
              <a:gd name="connsiteY190" fmla="*/ 3100970 h 5920067"/>
              <a:gd name="connsiteX191" fmla="*/ 0 w 11199600"/>
              <a:gd name="connsiteY191" fmla="*/ 2991102 h 5920067"/>
              <a:gd name="connsiteX192" fmla="*/ 0 w 11199600"/>
              <a:gd name="connsiteY192" fmla="*/ 2946095 h 5920067"/>
              <a:gd name="connsiteX193" fmla="*/ 0 w 11199600"/>
              <a:gd name="connsiteY193" fmla="*/ 2826730 h 5920067"/>
              <a:gd name="connsiteX194" fmla="*/ 0 w 11199600"/>
              <a:gd name="connsiteY194" fmla="*/ 2787072 h 5920067"/>
              <a:gd name="connsiteX195" fmla="*/ 0 w 11199600"/>
              <a:gd name="connsiteY195" fmla="*/ 2741948 h 5920067"/>
              <a:gd name="connsiteX196" fmla="*/ 0 w 11199600"/>
              <a:gd name="connsiteY196" fmla="*/ 2716862 h 5920067"/>
              <a:gd name="connsiteX197" fmla="*/ 0 w 11199600"/>
              <a:gd name="connsiteY197" fmla="*/ 2512832 h 5920067"/>
              <a:gd name="connsiteX198" fmla="*/ 0 w 11199600"/>
              <a:gd name="connsiteY198" fmla="*/ 2472043 h 5920067"/>
              <a:gd name="connsiteX199" fmla="*/ 0 w 11199600"/>
              <a:gd name="connsiteY199" fmla="*/ 2467708 h 5920067"/>
              <a:gd name="connsiteX200" fmla="*/ 0 w 11199600"/>
              <a:gd name="connsiteY200" fmla="*/ 2449933 h 5920067"/>
              <a:gd name="connsiteX201" fmla="*/ 0 w 11199600"/>
              <a:gd name="connsiteY201" fmla="*/ 2197803 h 5920067"/>
              <a:gd name="connsiteX202" fmla="*/ 0 w 11199600"/>
              <a:gd name="connsiteY202" fmla="*/ 2180556 h 5920067"/>
              <a:gd name="connsiteX203" fmla="*/ 0 w 11199600"/>
              <a:gd name="connsiteY203" fmla="*/ 2175692 h 5920067"/>
              <a:gd name="connsiteX204" fmla="*/ 0 w 11199600"/>
              <a:gd name="connsiteY204" fmla="*/ 2088721 h 5920067"/>
              <a:gd name="connsiteX205" fmla="*/ 0 w 11199600"/>
              <a:gd name="connsiteY205" fmla="*/ 1906316 h 5920067"/>
              <a:gd name="connsiteX206" fmla="*/ 0 w 11199600"/>
              <a:gd name="connsiteY206" fmla="*/ 1866658 h 5920067"/>
              <a:gd name="connsiteX207" fmla="*/ 0 w 11199600"/>
              <a:gd name="connsiteY207" fmla="*/ 1814481 h 5920067"/>
              <a:gd name="connsiteX208" fmla="*/ 0 w 11199600"/>
              <a:gd name="connsiteY208" fmla="*/ 1702609 h 5920067"/>
              <a:gd name="connsiteX209" fmla="*/ 0 w 11199600"/>
              <a:gd name="connsiteY209" fmla="*/ 1592418 h 5920067"/>
              <a:gd name="connsiteX210" fmla="*/ 0 w 11199600"/>
              <a:gd name="connsiteY210" fmla="*/ 1529519 h 5920067"/>
              <a:gd name="connsiteX211" fmla="*/ 0 w 11199600"/>
              <a:gd name="connsiteY211" fmla="*/ 1428369 h 5920067"/>
              <a:gd name="connsiteX212" fmla="*/ 0 w 11199600"/>
              <a:gd name="connsiteY212" fmla="*/ 1290764 h 5920067"/>
              <a:gd name="connsiteX213" fmla="*/ 0 w 11199600"/>
              <a:gd name="connsiteY213" fmla="*/ 1255278 h 5920067"/>
              <a:gd name="connsiteX214" fmla="*/ 0 w 11199600"/>
              <a:gd name="connsiteY214" fmla="*/ 1168307 h 5920067"/>
              <a:gd name="connsiteX215" fmla="*/ 0 w 11199600"/>
              <a:gd name="connsiteY215" fmla="*/ 1016524 h 5920067"/>
              <a:gd name="connsiteX216" fmla="*/ 0 w 11199600"/>
              <a:gd name="connsiteY216" fmla="*/ 894067 h 5920067"/>
              <a:gd name="connsiteX217" fmla="*/ 0 w 11199600"/>
              <a:gd name="connsiteY217" fmla="*/ 782195 h 5920067"/>
              <a:gd name="connsiteX218" fmla="*/ 0 w 11199600"/>
              <a:gd name="connsiteY218" fmla="*/ 507955 h 5920067"/>
              <a:gd name="connsiteX219" fmla="*/ 0 w 11199600"/>
              <a:gd name="connsiteY219" fmla="*/ 370350 h 5920067"/>
              <a:gd name="connsiteX220" fmla="*/ 0 w 11199600"/>
              <a:gd name="connsiteY220" fmla="*/ 96110 h 5920067"/>
              <a:gd name="connsiteX221" fmla="*/ 95997 w 11199600"/>
              <a:gd name="connsiteY221" fmla="*/ 0 h 5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11199600" h="5920067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cubicBezTo>
                  <a:pt x="11199600" y="1328117"/>
                  <a:pt x="11199600" y="1337455"/>
                  <a:pt x="11199600" y="1349128"/>
                </a:cubicBez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239653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9591"/>
                </a:lnTo>
                <a:lnTo>
                  <a:pt x="11199600" y="2527610"/>
                </a:lnTo>
                <a:lnTo>
                  <a:pt x="11199600" y="2531945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801851"/>
                </a:lnTo>
                <a:lnTo>
                  <a:pt x="11199600" y="2819097"/>
                </a:lnTo>
                <a:lnTo>
                  <a:pt x="11199600" y="2928965"/>
                </a:lnTo>
                <a:lnTo>
                  <a:pt x="11199600" y="2973972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178119"/>
                </a:lnTo>
                <a:lnTo>
                  <a:pt x="11199600" y="3203205"/>
                </a:lnTo>
                <a:lnTo>
                  <a:pt x="11199600" y="3407236"/>
                </a:lnTo>
                <a:lnTo>
                  <a:pt x="11199600" y="3448024"/>
                </a:lnTo>
                <a:lnTo>
                  <a:pt x="11199600" y="3452359"/>
                </a:lnTo>
                <a:lnTo>
                  <a:pt x="11199600" y="3470135"/>
                </a:lnTo>
                <a:lnTo>
                  <a:pt x="11199600" y="3722265"/>
                </a:lnTo>
                <a:lnTo>
                  <a:pt x="11199600" y="3739511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013751"/>
                </a:lnTo>
                <a:lnTo>
                  <a:pt x="11199600" y="4053409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327650"/>
                </a:lnTo>
                <a:lnTo>
                  <a:pt x="11199600" y="439054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664789"/>
                </a:lnTo>
                <a:lnTo>
                  <a:pt x="11199600" y="4751760"/>
                </a:lnTo>
                <a:lnTo>
                  <a:pt x="11199600" y="4903543"/>
                </a:lnTo>
                <a:lnTo>
                  <a:pt x="11199600" y="5026000"/>
                </a:lnTo>
                <a:lnTo>
                  <a:pt x="11199600" y="5137873"/>
                </a:lnTo>
                <a:lnTo>
                  <a:pt x="11199600" y="5412113"/>
                </a:lnTo>
                <a:lnTo>
                  <a:pt x="11199600" y="5549717"/>
                </a:lnTo>
                <a:lnTo>
                  <a:pt x="11199600" y="5823957"/>
                </a:lnTo>
                <a:cubicBezTo>
                  <a:pt x="11199600" y="5920067"/>
                  <a:pt x="11103603" y="5920067"/>
                  <a:pt x="11103603" y="5920067"/>
                </a:cubicBezTo>
                <a:cubicBezTo>
                  <a:pt x="11103603" y="5920067"/>
                  <a:pt x="11103603" y="5920067"/>
                  <a:pt x="95997" y="5920067"/>
                </a:cubicBezTo>
                <a:cubicBezTo>
                  <a:pt x="0" y="5920067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  <a:alpha val="10000"/>
            </a:schemeClr>
          </a:solidFill>
        </p:spPr>
        <p:txBody>
          <a:bodyPr wrap="square" lIns="3239676" tIns="35996" rIns="35996" bIns="35996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77366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633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846827" y="1270001"/>
            <a:ext cx="5058000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 bwMode="gray">
          <a:xfrm>
            <a:off x="6276751" y="1270001"/>
            <a:ext cx="5058000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31958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2813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/>
          <p:cNvSpPr>
            <a:spLocks noChangeAspect="1"/>
          </p:cNvSpPr>
          <p:nvPr userDrawn="1"/>
        </p:nvSpPr>
        <p:spPr bwMode="gray">
          <a:xfrm>
            <a:off x="693739" y="1695449"/>
            <a:ext cx="10641600" cy="2630915"/>
          </a:xfrm>
          <a:custGeom>
            <a:avLst/>
            <a:gdLst>
              <a:gd name="T0" fmla="*/ 2480 w 2480"/>
              <a:gd name="T1" fmla="*/ 528 h 611"/>
              <a:gd name="T2" fmla="*/ 2480 w 2480"/>
              <a:gd name="T3" fmla="*/ 32 h 611"/>
              <a:gd name="T4" fmla="*/ 2448 w 2480"/>
              <a:gd name="T5" fmla="*/ 0 h 611"/>
              <a:gd name="T6" fmla="*/ 32 w 2480"/>
              <a:gd name="T7" fmla="*/ 0 h 611"/>
              <a:gd name="T8" fmla="*/ 0 w 2480"/>
              <a:gd name="T9" fmla="*/ 32 h 611"/>
              <a:gd name="T10" fmla="*/ 0 w 2480"/>
              <a:gd name="T11" fmla="*/ 528 h 611"/>
              <a:gd name="T12" fmla="*/ 32 w 2480"/>
              <a:gd name="T13" fmla="*/ 560 h 611"/>
              <a:gd name="T14" fmla="*/ 237 w 2480"/>
              <a:gd name="T15" fmla="*/ 560 h 611"/>
              <a:gd name="T16" fmla="*/ 271 w 2480"/>
              <a:gd name="T17" fmla="*/ 604 h 611"/>
              <a:gd name="T18" fmla="*/ 289 w 2480"/>
              <a:gd name="T19" fmla="*/ 604 h 611"/>
              <a:gd name="T20" fmla="*/ 323 w 2480"/>
              <a:gd name="T21" fmla="*/ 560 h 611"/>
              <a:gd name="T22" fmla="*/ 2448 w 2480"/>
              <a:gd name="T23" fmla="*/ 560 h 611"/>
              <a:gd name="T24" fmla="*/ 2480 w 2480"/>
              <a:gd name="T25" fmla="*/ 528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80" h="611">
                <a:moveTo>
                  <a:pt x="2480" y="528"/>
                </a:moveTo>
                <a:cubicBezTo>
                  <a:pt x="2480" y="32"/>
                  <a:pt x="2480" y="32"/>
                  <a:pt x="2480" y="32"/>
                </a:cubicBezTo>
                <a:cubicBezTo>
                  <a:pt x="2480" y="32"/>
                  <a:pt x="2480" y="0"/>
                  <a:pt x="2448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0" y="0"/>
                  <a:pt x="0" y="32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528"/>
                  <a:pt x="0" y="560"/>
                  <a:pt x="32" y="560"/>
                </a:cubicBezTo>
                <a:cubicBezTo>
                  <a:pt x="237" y="560"/>
                  <a:pt x="237" y="560"/>
                  <a:pt x="237" y="560"/>
                </a:cubicBezTo>
                <a:cubicBezTo>
                  <a:pt x="271" y="604"/>
                  <a:pt x="271" y="604"/>
                  <a:pt x="271" y="604"/>
                </a:cubicBezTo>
                <a:cubicBezTo>
                  <a:pt x="276" y="611"/>
                  <a:pt x="284" y="611"/>
                  <a:pt x="289" y="604"/>
                </a:cubicBezTo>
                <a:cubicBezTo>
                  <a:pt x="323" y="560"/>
                  <a:pt x="323" y="560"/>
                  <a:pt x="323" y="560"/>
                </a:cubicBezTo>
                <a:cubicBezTo>
                  <a:pt x="2448" y="560"/>
                  <a:pt x="2448" y="560"/>
                  <a:pt x="2448" y="560"/>
                </a:cubicBezTo>
                <a:cubicBezTo>
                  <a:pt x="2448" y="560"/>
                  <a:pt x="2480" y="560"/>
                  <a:pt x="2480" y="528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1172150" y="1695452"/>
            <a:ext cx="10162600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3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4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38498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 bwMode="gray">
          <a:xfrm>
            <a:off x="0" y="1643200"/>
            <a:ext cx="11339513" cy="3055937"/>
            <a:chOff x="409575" y="3144838"/>
            <a:chExt cx="11339513" cy="3055937"/>
          </a:xfrm>
        </p:grpSpPr>
        <p:sp>
          <p:nvSpPr>
            <p:cNvPr id="45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842434" y="2116801"/>
            <a:ext cx="10313209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240705"/>
            <a:ext cx="7082733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20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01" y="3556800"/>
            <a:ext cx="10305675" cy="385233"/>
          </a:xfrm>
        </p:spPr>
        <p:txBody>
          <a:bodyPr>
            <a:noAutofit/>
          </a:bodyPr>
          <a:lstStyle>
            <a:lvl1pPr>
              <a:lnSpc>
                <a:spcPts val="2199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5242061"/>
            <a:ext cx="2196000" cy="1318571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838200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3015150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426676" y="6559200"/>
            <a:ext cx="3600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-426676" y="6200775"/>
            <a:ext cx="3600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1206675" y="7019956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506675" y="6266693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-426676" y="5242062"/>
            <a:ext cx="3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 userDrawn="1"/>
        </p:nvSpPr>
        <p:spPr>
          <a:xfrm>
            <a:off x="-1506675" y="5297119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grpSp>
        <p:nvGrpSpPr>
          <p:cNvPr id="53" name="Group 52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54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5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167642" y="4291504"/>
            <a:ext cx="298800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404481701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  <p15:guide id="2" orient="horz" pos="3304">
          <p15:clr>
            <a:srgbClr val="FBAE40"/>
          </p15:clr>
        </p15:guide>
      </p15:sldGuideLst>
    </p:ext>
  </p:extLs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6" y="1278385"/>
            <a:ext cx="1048917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61" indent="-268261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21" indent="-266673">
              <a:buClr>
                <a:schemeClr val="accent2"/>
              </a:buClr>
              <a:defRPr/>
            </a:lvl3pPr>
            <a:lvl4pPr marL="807958" indent="-260324">
              <a:buClr>
                <a:schemeClr val="accent3"/>
              </a:buClr>
              <a:defRPr/>
            </a:lvl4pPr>
            <a:lvl5pPr marL="1071455" indent="-252387">
              <a:buClr>
                <a:schemeClr val="accent4"/>
              </a:buCl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4824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6" y="1795637"/>
            <a:ext cx="10489175" cy="44051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61" indent="-268261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21" indent="-266673">
              <a:buClr>
                <a:schemeClr val="accent2"/>
              </a:buClr>
              <a:defRPr/>
            </a:lvl3pPr>
            <a:lvl4pPr marL="807958" indent="-260324">
              <a:buClr>
                <a:schemeClr val="accent3"/>
              </a:buClr>
              <a:defRPr/>
            </a:lvl4pPr>
            <a:lvl5pPr marL="1071455" indent="-252387">
              <a:buClr>
                <a:schemeClr val="accent4"/>
              </a:buCl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845575" y="1277982"/>
            <a:ext cx="10489175" cy="436017"/>
          </a:xfrm>
        </p:spPr>
        <p:txBody>
          <a:bodyPr>
            <a:noAutofit/>
          </a:bodyPr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6401278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845574" y="1278384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845574" y="1757279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45574" y="3878568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845574" y="4346776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845574" y="1685616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845574" y="4278810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89966" y="1278384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2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3489966" y="1757279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3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3489966" y="3878568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4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3489966" y="4346776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5" name="Straight Connector 54"/>
          <p:cNvCxnSpPr/>
          <p:nvPr userDrawn="1"/>
        </p:nvCxnSpPr>
        <p:spPr bwMode="gray">
          <a:xfrm>
            <a:off x="3489966" y="1685616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 bwMode="gray">
          <a:xfrm>
            <a:off x="3489966" y="4278810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6134358" y="1278384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8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6134358" y="1757279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6134358" y="3878568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0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6134358" y="4346776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1" name="Straight Connector 60"/>
          <p:cNvCxnSpPr/>
          <p:nvPr userDrawn="1"/>
        </p:nvCxnSpPr>
        <p:spPr bwMode="gray">
          <a:xfrm>
            <a:off x="6134358" y="1685616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 bwMode="gray">
          <a:xfrm>
            <a:off x="6134358" y="4278810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2"/>
          <p:cNvSpPr>
            <a:spLocks noGrp="1"/>
          </p:cNvSpPr>
          <p:nvPr>
            <p:ph idx="30" hasCustomPrompt="1"/>
          </p:nvPr>
        </p:nvSpPr>
        <p:spPr bwMode="gray">
          <a:xfrm>
            <a:off x="8778750" y="1278384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4" name="Content Placeholder 2"/>
          <p:cNvSpPr>
            <a:spLocks noGrp="1"/>
          </p:cNvSpPr>
          <p:nvPr>
            <p:ph idx="31" hasCustomPrompt="1"/>
          </p:nvPr>
        </p:nvSpPr>
        <p:spPr bwMode="gray">
          <a:xfrm>
            <a:off x="8778750" y="1757279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65" name="Content Placeholder 2"/>
          <p:cNvSpPr>
            <a:spLocks noGrp="1"/>
          </p:cNvSpPr>
          <p:nvPr>
            <p:ph idx="32" hasCustomPrompt="1"/>
          </p:nvPr>
        </p:nvSpPr>
        <p:spPr bwMode="gray">
          <a:xfrm>
            <a:off x="8778750" y="3878568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6" name="Content Placeholder 2"/>
          <p:cNvSpPr>
            <a:spLocks noGrp="1"/>
          </p:cNvSpPr>
          <p:nvPr>
            <p:ph idx="33" hasCustomPrompt="1"/>
          </p:nvPr>
        </p:nvSpPr>
        <p:spPr bwMode="gray">
          <a:xfrm>
            <a:off x="8778750" y="4346776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7" name="Straight Connector 66"/>
          <p:cNvCxnSpPr/>
          <p:nvPr userDrawn="1"/>
        </p:nvCxnSpPr>
        <p:spPr bwMode="gray">
          <a:xfrm>
            <a:off x="8778750" y="1685616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 userDrawn="1"/>
        </p:nvCxnSpPr>
        <p:spPr bwMode="gray">
          <a:xfrm>
            <a:off x="8778750" y="4278810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4309895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pos="2149" userDrawn="1">
          <p15:clr>
            <a:srgbClr val="FBAE40"/>
          </p15:clr>
        </p15:guide>
        <p15:guide id="4" pos="5480" userDrawn="1">
          <p15:clr>
            <a:srgbClr val="FBAE40"/>
          </p15:clr>
        </p15:guide>
        <p15:guide id="5" pos="3864" userDrawn="1">
          <p15:clr>
            <a:srgbClr val="FBAE40"/>
          </p15:clr>
        </p15:guide>
        <p15:guide id="6" pos="2196" userDrawn="1">
          <p15:clr>
            <a:srgbClr val="FBAE40"/>
          </p15:clr>
        </p15:guide>
        <p15:guide id="7" pos="3809" userDrawn="1">
          <p15:clr>
            <a:srgbClr val="FBAE40"/>
          </p15:clr>
        </p15:guide>
        <p15:guide id="8" pos="5528" userDrawn="1">
          <p15:clr>
            <a:srgbClr val="FBAE40"/>
          </p15:clr>
        </p15:guide>
        <p15:guide id="9" orient="horz" pos="2274" userDrawn="1">
          <p15:clr>
            <a:srgbClr val="FBAE40"/>
          </p15:clr>
        </p15:guide>
        <p15:guide id="10" orient="horz" pos="2442" userDrawn="1">
          <p15:clr>
            <a:srgbClr val="FBAE40"/>
          </p15:clr>
        </p15:guide>
      </p15:sldGuideLst>
    </p:ext>
  </p:extLs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6" y="1278385"/>
            <a:ext cx="1048917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8261" indent="-268261">
              <a:buClr>
                <a:schemeClr val="accent1"/>
              </a:buClr>
              <a:buFont typeface="ING Me" pitchFamily="2" charset="0"/>
              <a:buChar char="•"/>
              <a:defRPr/>
            </a:lvl1pPr>
            <a:lvl2pPr marL="538110" indent="-268261">
              <a:buClr>
                <a:schemeClr val="accent2"/>
              </a:buClr>
              <a:buFont typeface="ING Me" pitchFamily="2" charset="0"/>
              <a:buChar char="•"/>
              <a:defRPr/>
            </a:lvl2pPr>
            <a:lvl3pPr marL="804782" indent="-266673">
              <a:buClr>
                <a:schemeClr val="accent3"/>
              </a:buClr>
              <a:defRPr/>
            </a:lvl3pPr>
            <a:lvl4pPr marL="1077806" indent="-260324">
              <a:buClr>
                <a:schemeClr val="accent4"/>
              </a:buClr>
              <a:defRPr/>
            </a:lvl4pPr>
            <a:lvl5pPr marL="1341303" indent="-252387">
              <a:buClr>
                <a:schemeClr val="accent5"/>
              </a:buCl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0081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1376203" y="1394143"/>
            <a:ext cx="2520000" cy="494294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44604" y="1394143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Authentication &amp; Security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44604" y="1985096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Front End Application Framework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44604" y="2576051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GPAM &amp; Authorization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44604" y="3167006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Customer Context &amp; Notification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44604" y="3757959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API Platform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44604" y="4348912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API Foundation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44604" y="4939867"/>
            <a:ext cx="1217172" cy="540000"/>
          </a:xfrm>
          <a:prstGeom prst="rect">
            <a:avLst/>
          </a:prstGeom>
          <a:solidFill>
            <a:srgbClr val="FFC000">
              <a:alpha val="40000"/>
            </a:srgbClr>
          </a:solidFill>
          <a:ln w="6350">
            <a:solidFill>
              <a:srgbClr val="FF62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Assembly Platform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44604" y="5530822"/>
            <a:ext cx="1217172" cy="540000"/>
          </a:xfrm>
          <a:prstGeom prst="rect">
            <a:avLst/>
          </a:prstGeom>
          <a:solidFill>
            <a:srgbClr val="FFC000">
              <a:alpha val="40000"/>
            </a:srgbClr>
          </a:solidFill>
          <a:ln w="6350">
            <a:solidFill>
              <a:srgbClr val="FF62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Experience Design</a:t>
            </a:r>
          </a:p>
        </p:txBody>
      </p:sp>
      <p:sp>
        <p:nvSpPr>
          <p:cNvPr id="29" name="TextBox 40"/>
          <p:cNvSpPr txBox="1"/>
          <p:nvPr userDrawn="1"/>
        </p:nvSpPr>
        <p:spPr>
          <a:xfrm>
            <a:off x="5054852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Q2</a:t>
            </a:r>
          </a:p>
        </p:txBody>
      </p:sp>
      <p:sp>
        <p:nvSpPr>
          <p:cNvPr id="37" name="Rectangle 36"/>
          <p:cNvSpPr/>
          <p:nvPr userDrawn="1"/>
        </p:nvSpPr>
        <p:spPr>
          <a:xfrm>
            <a:off x="3955716" y="1394143"/>
            <a:ext cx="2520000" cy="494294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9114750" y="1394143"/>
            <a:ext cx="2520000" cy="494294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6535224" y="1394143"/>
            <a:ext cx="2520000" cy="494294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40" name="TextBox 40"/>
          <p:cNvSpPr txBox="1"/>
          <p:nvPr userDrawn="1"/>
        </p:nvSpPr>
        <p:spPr>
          <a:xfrm>
            <a:off x="2475336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Q1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7634368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Q3</a:t>
            </a:r>
          </a:p>
        </p:txBody>
      </p:sp>
      <p:sp>
        <p:nvSpPr>
          <p:cNvPr id="42" name="TextBox 29"/>
          <p:cNvSpPr txBox="1"/>
          <p:nvPr userDrawn="1"/>
        </p:nvSpPr>
        <p:spPr>
          <a:xfrm>
            <a:off x="10213883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Q4</a:t>
            </a:r>
          </a:p>
        </p:txBody>
      </p:sp>
    </p:spTree>
    <p:extLst>
      <p:ext uri="{BB962C8B-B14F-4D97-AF65-F5344CB8AC3E}">
        <p14:creationId xmlns:p14="http://schemas.microsoft.com/office/powerpoint/2010/main" val="3654330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1324737" y="1394143"/>
            <a:ext cx="741993" cy="494294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3937748" y="1394143"/>
            <a:ext cx="741993" cy="494294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9163765" y="1394143"/>
            <a:ext cx="741993" cy="494294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6550756" y="1394143"/>
            <a:ext cx="741993" cy="494294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44604" y="1394143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Authentication &amp; Security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44604" y="1985096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Front End Application Framework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44604" y="2576051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GPAM &amp; Authorization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44604" y="3167006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Customer Context &amp; Notification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44604" y="3757959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API Platform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44604" y="4348912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API Foundation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44604" y="4939867"/>
            <a:ext cx="1217172" cy="540000"/>
          </a:xfrm>
          <a:prstGeom prst="rect">
            <a:avLst/>
          </a:prstGeom>
          <a:solidFill>
            <a:srgbClr val="FFC000">
              <a:alpha val="40000"/>
            </a:srgbClr>
          </a:solidFill>
          <a:ln w="6350">
            <a:solidFill>
              <a:srgbClr val="FF62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Assembly Platform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44604" y="5530822"/>
            <a:ext cx="1217172" cy="540000"/>
          </a:xfrm>
          <a:prstGeom prst="rect">
            <a:avLst/>
          </a:prstGeom>
          <a:solidFill>
            <a:srgbClr val="FFC000">
              <a:alpha val="40000"/>
            </a:srgbClr>
          </a:solidFill>
          <a:ln w="6350">
            <a:solidFill>
              <a:srgbClr val="FF62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Experience Design</a:t>
            </a:r>
          </a:p>
        </p:txBody>
      </p:sp>
      <p:sp>
        <p:nvSpPr>
          <p:cNvPr id="26" name="TextBox 24"/>
          <p:cNvSpPr txBox="1"/>
          <p:nvPr userDrawn="1"/>
        </p:nvSpPr>
        <p:spPr>
          <a:xfrm>
            <a:off x="7684322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Aug</a:t>
            </a:r>
          </a:p>
        </p:txBody>
      </p:sp>
      <p:sp>
        <p:nvSpPr>
          <p:cNvPr id="27" name="TextBox 28"/>
          <p:cNvSpPr txBox="1"/>
          <p:nvPr userDrawn="1"/>
        </p:nvSpPr>
        <p:spPr>
          <a:xfrm>
            <a:off x="10314747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Nov</a:t>
            </a:r>
          </a:p>
        </p:txBody>
      </p:sp>
      <p:sp>
        <p:nvSpPr>
          <p:cNvPr id="28" name="TextBox 29"/>
          <p:cNvSpPr txBox="1"/>
          <p:nvPr userDrawn="1"/>
        </p:nvSpPr>
        <p:spPr>
          <a:xfrm>
            <a:off x="5018880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May</a:t>
            </a:r>
          </a:p>
        </p:txBody>
      </p:sp>
      <p:sp>
        <p:nvSpPr>
          <p:cNvPr id="29" name="TextBox 40"/>
          <p:cNvSpPr txBox="1"/>
          <p:nvPr userDrawn="1"/>
        </p:nvSpPr>
        <p:spPr>
          <a:xfrm>
            <a:off x="2423477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Feb</a:t>
            </a:r>
          </a:p>
        </p:txBody>
      </p:sp>
      <p:sp>
        <p:nvSpPr>
          <p:cNvPr id="32" name="Rectangle 31"/>
          <p:cNvSpPr/>
          <p:nvPr userDrawn="1"/>
        </p:nvSpPr>
        <p:spPr>
          <a:xfrm>
            <a:off x="2195743" y="1394143"/>
            <a:ext cx="741993" cy="494294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4808751" y="1394143"/>
            <a:ext cx="741993" cy="494294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10034770" y="1394143"/>
            <a:ext cx="741993" cy="494294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35" name="Rectangle 34"/>
          <p:cNvSpPr/>
          <p:nvPr userDrawn="1"/>
        </p:nvSpPr>
        <p:spPr>
          <a:xfrm>
            <a:off x="7421760" y="1394143"/>
            <a:ext cx="741993" cy="494294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36" name="Rectangle 35"/>
          <p:cNvSpPr/>
          <p:nvPr userDrawn="1"/>
        </p:nvSpPr>
        <p:spPr>
          <a:xfrm>
            <a:off x="3066745" y="1394143"/>
            <a:ext cx="741993" cy="494294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5679754" y="1394143"/>
            <a:ext cx="741993" cy="494294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10905775" y="1394143"/>
            <a:ext cx="741993" cy="494294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8292762" y="1394143"/>
            <a:ext cx="741993" cy="494294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40" name="TextBox 40"/>
          <p:cNvSpPr txBox="1"/>
          <p:nvPr userDrawn="1"/>
        </p:nvSpPr>
        <p:spPr>
          <a:xfrm>
            <a:off x="1534866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Jan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3276874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Mar</a:t>
            </a:r>
          </a:p>
        </p:txBody>
      </p:sp>
      <p:sp>
        <p:nvSpPr>
          <p:cNvPr id="42" name="TextBox 29"/>
          <p:cNvSpPr txBox="1"/>
          <p:nvPr userDrawn="1"/>
        </p:nvSpPr>
        <p:spPr>
          <a:xfrm>
            <a:off x="4147877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Apr</a:t>
            </a:r>
          </a:p>
        </p:txBody>
      </p:sp>
      <p:sp>
        <p:nvSpPr>
          <p:cNvPr id="43" name="TextBox 29"/>
          <p:cNvSpPr txBox="1"/>
          <p:nvPr userDrawn="1"/>
        </p:nvSpPr>
        <p:spPr>
          <a:xfrm>
            <a:off x="5889883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Jun</a:t>
            </a:r>
          </a:p>
        </p:txBody>
      </p:sp>
      <p:sp>
        <p:nvSpPr>
          <p:cNvPr id="44" name="TextBox 29"/>
          <p:cNvSpPr txBox="1"/>
          <p:nvPr userDrawn="1"/>
        </p:nvSpPr>
        <p:spPr>
          <a:xfrm>
            <a:off x="6760885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Jul</a:t>
            </a:r>
          </a:p>
        </p:txBody>
      </p:sp>
      <p:sp>
        <p:nvSpPr>
          <p:cNvPr id="45" name="TextBox 24"/>
          <p:cNvSpPr txBox="1"/>
          <p:nvPr userDrawn="1"/>
        </p:nvSpPr>
        <p:spPr>
          <a:xfrm>
            <a:off x="8476059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Sep</a:t>
            </a:r>
          </a:p>
        </p:txBody>
      </p:sp>
      <p:sp>
        <p:nvSpPr>
          <p:cNvPr id="46" name="TextBox 24"/>
          <p:cNvSpPr txBox="1"/>
          <p:nvPr userDrawn="1"/>
        </p:nvSpPr>
        <p:spPr>
          <a:xfrm>
            <a:off x="9373894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Oct</a:t>
            </a:r>
          </a:p>
        </p:txBody>
      </p:sp>
      <p:sp>
        <p:nvSpPr>
          <p:cNvPr id="47" name="TextBox 28"/>
          <p:cNvSpPr txBox="1"/>
          <p:nvPr userDrawn="1"/>
        </p:nvSpPr>
        <p:spPr>
          <a:xfrm>
            <a:off x="11115904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Dec</a:t>
            </a:r>
          </a:p>
        </p:txBody>
      </p:sp>
    </p:spTree>
    <p:extLst>
      <p:ext uri="{BB962C8B-B14F-4D97-AF65-F5344CB8AC3E}">
        <p14:creationId xmlns:p14="http://schemas.microsoft.com/office/powerpoint/2010/main" val="239917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6" y="1278385"/>
            <a:ext cx="1048917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18904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/>
          <p:cNvGrpSpPr>
            <a:grpSpLocks noChangeAspect="1"/>
          </p:cNvGrpSpPr>
          <p:nvPr userDrawn="1"/>
        </p:nvGrpSpPr>
        <p:grpSpPr bwMode="gray">
          <a:xfrm>
            <a:off x="1" y="1643200"/>
            <a:ext cx="5909320" cy="3045600"/>
            <a:chOff x="3465513" y="2070100"/>
            <a:chExt cx="5260975" cy="2711450"/>
          </a:xfrm>
        </p:grpSpPr>
        <p:sp>
          <p:nvSpPr>
            <p:cNvPr id="67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65" name="Picture Placeholder 64"/>
          <p:cNvSpPr>
            <a:spLocks noGrp="1"/>
          </p:cNvSpPr>
          <p:nvPr>
            <p:ph type="pic" sz="quarter" idx="12"/>
          </p:nvPr>
        </p:nvSpPr>
        <p:spPr bwMode="gray">
          <a:xfrm>
            <a:off x="-3175" y="2"/>
            <a:ext cx="12195175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79712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842434" y="2012286"/>
            <a:ext cx="4877966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031479"/>
            <a:ext cx="4877966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17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34" y="3603487"/>
            <a:ext cx="4877966" cy="290712"/>
          </a:xfrm>
        </p:spPr>
        <p:txBody>
          <a:bodyPr bIns="0">
            <a:noAutofit/>
          </a:bodyPr>
          <a:lstStyle>
            <a:lvl1pPr algn="l">
              <a:lnSpc>
                <a:spcPts val="1699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6055201"/>
            <a:ext cx="219600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3015150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-426676" y="6200775"/>
            <a:ext cx="3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1206675" y="7019956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1506675" y="6266693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838200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-426676" y="6559200"/>
            <a:ext cx="3600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78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0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1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2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3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4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5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6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7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8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89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0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1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2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3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4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5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6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7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8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42434" y="4381898"/>
            <a:ext cx="4878000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4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361480939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 userDrawn="1"/>
        </p:nvGrpSpPr>
        <p:grpSpPr bwMode="gray">
          <a:xfrm>
            <a:off x="0" y="1643200"/>
            <a:ext cx="11339513" cy="3055937"/>
            <a:chOff x="409575" y="3144838"/>
            <a:chExt cx="11339513" cy="3055937"/>
          </a:xfrm>
        </p:grpSpPr>
        <p:sp>
          <p:nvSpPr>
            <p:cNvPr id="51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842434" y="2116801"/>
            <a:ext cx="10313209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240705"/>
            <a:ext cx="7082733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20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01" y="3556800"/>
            <a:ext cx="10305675" cy="385233"/>
          </a:xfrm>
        </p:spPr>
        <p:txBody>
          <a:bodyPr>
            <a:noAutofit/>
          </a:bodyPr>
          <a:lstStyle>
            <a:lvl1pPr>
              <a:lnSpc>
                <a:spcPts val="2199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5242063"/>
            <a:ext cx="2196000" cy="1317138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3015150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426676" y="6200775"/>
            <a:ext cx="3600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1206675" y="7019956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506675" y="6266693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-426676" y="5242062"/>
            <a:ext cx="3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-1506675" y="5297119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838200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-426676" y="6559200"/>
            <a:ext cx="3600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5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7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4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167642" y="4291504"/>
            <a:ext cx="298800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10749168" y="-133099"/>
            <a:ext cx="1441027" cy="1565166"/>
            <a:chOff x="5364088" y="4720073"/>
            <a:chExt cx="1441027" cy="1565166"/>
          </a:xfrm>
        </p:grpSpPr>
        <p:sp>
          <p:nvSpPr>
            <p:cNvPr id="48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9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6530299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  <p15:guide id="2" orient="horz" pos="3304">
          <p15:clr>
            <a:srgbClr val="FBAE40"/>
          </p15:clr>
        </p15:guide>
      </p15:sldGuideLst>
    </p:ext>
  </p:extLs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>
            <a:grpSpLocks noChangeAspect="1"/>
          </p:cNvGrpSpPr>
          <p:nvPr userDrawn="1"/>
        </p:nvGrpSpPr>
        <p:grpSpPr bwMode="gray">
          <a:xfrm>
            <a:off x="1" y="1643200"/>
            <a:ext cx="5909320" cy="3045600"/>
            <a:chOff x="3465513" y="2070100"/>
            <a:chExt cx="5260975" cy="2711450"/>
          </a:xfrm>
        </p:grpSpPr>
        <p:sp>
          <p:nvSpPr>
            <p:cNvPr id="81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5" name="Freeform 84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842434" y="2012286"/>
            <a:ext cx="4877966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031479"/>
            <a:ext cx="4877966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17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34" y="3603487"/>
            <a:ext cx="4877966" cy="290712"/>
          </a:xfrm>
        </p:spPr>
        <p:txBody>
          <a:bodyPr bIns="0">
            <a:noAutofit/>
          </a:bodyPr>
          <a:lstStyle>
            <a:lvl1pPr algn="l">
              <a:lnSpc>
                <a:spcPts val="1699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6055201"/>
            <a:ext cx="219600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3015150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-426676" y="6200775"/>
            <a:ext cx="3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1206675" y="7019956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-1506675" y="6266693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838200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-426676" y="6559200"/>
            <a:ext cx="3600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5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4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42434" y="4381898"/>
            <a:ext cx="4878000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4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10749168" y="-133099"/>
            <a:ext cx="1441027" cy="1565166"/>
            <a:chOff x="5364088" y="4720073"/>
            <a:chExt cx="1441027" cy="1565166"/>
          </a:xfrm>
        </p:grpSpPr>
        <p:sp>
          <p:nvSpPr>
            <p:cNvPr id="4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8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  <p:sp>
        <p:nvSpPr>
          <p:cNvPr id="54" name="Picture Placeholder 53"/>
          <p:cNvSpPr>
            <a:spLocks noGrp="1"/>
          </p:cNvSpPr>
          <p:nvPr>
            <p:ph type="pic" sz="quarter" idx="12"/>
          </p:nvPr>
        </p:nvSpPr>
        <p:spPr bwMode="gray">
          <a:xfrm>
            <a:off x="-3175" y="2"/>
            <a:ext cx="12195175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79712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22828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0" y="1643200"/>
            <a:ext cx="11339513" cy="3055937"/>
            <a:chOff x="409575" y="3144838"/>
            <a:chExt cx="11339513" cy="3055937"/>
          </a:xfrm>
        </p:grpSpPr>
        <p:sp>
          <p:nvSpPr>
            <p:cNvPr id="37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842434" y="2116801"/>
            <a:ext cx="10313209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240705"/>
            <a:ext cx="7082733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20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01" y="3556800"/>
            <a:ext cx="10305675" cy="385233"/>
          </a:xfrm>
        </p:spPr>
        <p:txBody>
          <a:bodyPr>
            <a:noAutofit/>
          </a:bodyPr>
          <a:lstStyle>
            <a:lvl1pPr>
              <a:lnSpc>
                <a:spcPts val="2199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pic>
        <p:nvPicPr>
          <p:cNvPr id="13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838200" y="6291857"/>
            <a:ext cx="2196000" cy="287825"/>
          </a:xfrm>
          <a:prstGeom prst="rect">
            <a:avLst/>
          </a:prstGeom>
        </p:spPr>
      </p:pic>
      <p:grpSp>
        <p:nvGrpSpPr>
          <p:cNvPr id="44" name="Group 43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45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6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3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167642" y="4291504"/>
            <a:ext cx="298800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44291168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>
            <a:grpSpLocks noChangeAspect="1"/>
          </p:cNvGrpSpPr>
          <p:nvPr userDrawn="1"/>
        </p:nvGrpSpPr>
        <p:grpSpPr bwMode="gray">
          <a:xfrm>
            <a:off x="1" y="1643200"/>
            <a:ext cx="5909320" cy="3045600"/>
            <a:chOff x="3465513" y="2070100"/>
            <a:chExt cx="5260975" cy="2711450"/>
          </a:xfrm>
        </p:grpSpPr>
        <p:sp>
          <p:nvSpPr>
            <p:cNvPr id="75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76" name="Freeform 75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842434" y="2012286"/>
            <a:ext cx="4877966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031479"/>
            <a:ext cx="4877966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17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34" y="3603487"/>
            <a:ext cx="4877966" cy="290712"/>
          </a:xfrm>
        </p:spPr>
        <p:txBody>
          <a:bodyPr bIns="0">
            <a:noAutofit/>
          </a:bodyPr>
          <a:lstStyle>
            <a:lvl1pPr algn="l">
              <a:lnSpc>
                <a:spcPts val="1699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pic>
        <p:nvPicPr>
          <p:cNvPr id="19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838200" y="6291857"/>
            <a:ext cx="2196000" cy="287825"/>
          </a:xfrm>
          <a:prstGeom prst="rect">
            <a:avLst/>
          </a:prstGeom>
        </p:spPr>
      </p:pic>
      <p:grpSp>
        <p:nvGrpSpPr>
          <p:cNvPr id="42" name="Group 41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4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3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42434" y="4381898"/>
            <a:ext cx="4878000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4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2"/>
          </p:nvPr>
        </p:nvSpPr>
        <p:spPr bwMode="gray">
          <a:xfrm>
            <a:off x="-3175" y="2"/>
            <a:ext cx="12195175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79712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625610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 userDrawn="1"/>
        </p:nvGrpSpPr>
        <p:grpSpPr bwMode="gray">
          <a:xfrm>
            <a:off x="0" y="1643200"/>
            <a:ext cx="11339513" cy="3055937"/>
            <a:chOff x="409575" y="3144838"/>
            <a:chExt cx="11339513" cy="3055937"/>
          </a:xfrm>
        </p:grpSpPr>
        <p:sp>
          <p:nvSpPr>
            <p:cNvPr id="40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842434" y="2116801"/>
            <a:ext cx="10313209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240705"/>
            <a:ext cx="7082733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20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01" y="3556800"/>
            <a:ext cx="10305675" cy="385233"/>
          </a:xfrm>
        </p:spPr>
        <p:txBody>
          <a:bodyPr>
            <a:noAutofit/>
          </a:bodyPr>
          <a:lstStyle>
            <a:lvl1pPr>
              <a:lnSpc>
                <a:spcPts val="2199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pic>
        <p:nvPicPr>
          <p:cNvPr id="35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838201" y="6291857"/>
            <a:ext cx="2188369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167642" y="4291504"/>
            <a:ext cx="298800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10749168" y="-133099"/>
            <a:ext cx="1441027" cy="1565166"/>
            <a:chOff x="5364088" y="4720073"/>
            <a:chExt cx="1441027" cy="1565166"/>
          </a:xfrm>
        </p:grpSpPr>
        <p:sp>
          <p:nvSpPr>
            <p:cNvPr id="43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4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3310040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547528" y="1270001"/>
            <a:ext cx="6787224" cy="49784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 bwMode="gray">
          <a:xfrm>
            <a:off x="693739" y="280733"/>
            <a:ext cx="3443287" cy="5920066"/>
          </a:xfrm>
          <a:custGeom>
            <a:avLst/>
            <a:gdLst>
              <a:gd name="connsiteX0" fmla="*/ 95997 w 3443287"/>
              <a:gd name="connsiteY0" fmla="*/ 0 h 5920066"/>
              <a:gd name="connsiteX1" fmla="*/ 3443287 w 3443287"/>
              <a:gd name="connsiteY1" fmla="*/ 0 h 5920066"/>
              <a:gd name="connsiteX2" fmla="*/ 3443287 w 3443287"/>
              <a:gd name="connsiteY2" fmla="*/ 5920066 h 5920066"/>
              <a:gd name="connsiteX3" fmla="*/ 95989 w 3443287"/>
              <a:gd name="connsiteY3" fmla="*/ 5920066 h 5920066"/>
              <a:gd name="connsiteX4" fmla="*/ 64311 w 3443287"/>
              <a:gd name="connsiteY4" fmla="*/ 5915938 h 5920066"/>
              <a:gd name="connsiteX5" fmla="*/ 0 w 3443287"/>
              <a:gd name="connsiteY5" fmla="*/ 5823957 h 5920066"/>
              <a:gd name="connsiteX6" fmla="*/ 0 w 3443287"/>
              <a:gd name="connsiteY6" fmla="*/ 5820222 h 5920066"/>
              <a:gd name="connsiteX7" fmla="*/ 0 w 3443287"/>
              <a:gd name="connsiteY7" fmla="*/ 5811351 h 5920066"/>
              <a:gd name="connsiteX8" fmla="*/ 0 w 3443287"/>
              <a:gd name="connsiteY8" fmla="*/ 5794075 h 5920066"/>
              <a:gd name="connsiteX9" fmla="*/ 0 w 3443287"/>
              <a:gd name="connsiteY9" fmla="*/ 5765594 h 5920066"/>
              <a:gd name="connsiteX10" fmla="*/ 0 w 3443287"/>
              <a:gd name="connsiteY10" fmla="*/ 5723106 h 5920066"/>
              <a:gd name="connsiteX11" fmla="*/ 0 w 3443287"/>
              <a:gd name="connsiteY11" fmla="*/ 5663809 h 5920066"/>
              <a:gd name="connsiteX12" fmla="*/ 0 w 3443287"/>
              <a:gd name="connsiteY12" fmla="*/ 5584902 h 5920066"/>
              <a:gd name="connsiteX13" fmla="*/ 0 w 3443287"/>
              <a:gd name="connsiteY13" fmla="*/ 5549717 h 5920066"/>
              <a:gd name="connsiteX14" fmla="*/ 0 w 3443287"/>
              <a:gd name="connsiteY14" fmla="*/ 5548611 h 5920066"/>
              <a:gd name="connsiteX15" fmla="*/ 0 w 3443287"/>
              <a:gd name="connsiteY15" fmla="*/ 5540863 h 5920066"/>
              <a:gd name="connsiteX16" fmla="*/ 0 w 3443287"/>
              <a:gd name="connsiteY16" fmla="*/ 5520020 h 5920066"/>
              <a:gd name="connsiteX17" fmla="*/ 0 w 3443287"/>
              <a:gd name="connsiteY17" fmla="*/ 5519835 h 5920066"/>
              <a:gd name="connsiteX18" fmla="*/ 0 w 3443287"/>
              <a:gd name="connsiteY18" fmla="*/ 5478886 h 5920066"/>
              <a:gd name="connsiteX19" fmla="*/ 0 w 3443287"/>
              <a:gd name="connsiteY19" fmla="*/ 5448866 h 5920066"/>
              <a:gd name="connsiteX20" fmla="*/ 0 w 3443287"/>
              <a:gd name="connsiteY20" fmla="*/ 5444347 h 5920066"/>
              <a:gd name="connsiteX21" fmla="*/ 0 w 3443287"/>
              <a:gd name="connsiteY21" fmla="*/ 5411375 h 5920066"/>
              <a:gd name="connsiteX22" fmla="*/ 0 w 3443287"/>
              <a:gd name="connsiteY22" fmla="*/ 5365584 h 5920066"/>
              <a:gd name="connsiteX23" fmla="*/ 0 w 3443287"/>
              <a:gd name="connsiteY23" fmla="*/ 5357053 h 5920066"/>
              <a:gd name="connsiteX24" fmla="*/ 0 w 3443287"/>
              <a:gd name="connsiteY24" fmla="*/ 5310662 h 5920066"/>
              <a:gd name="connsiteX25" fmla="*/ 0 w 3443287"/>
              <a:gd name="connsiteY25" fmla="*/ 5257308 h 5920066"/>
              <a:gd name="connsiteX26" fmla="*/ 0 w 3443287"/>
              <a:gd name="connsiteY26" fmla="*/ 5245780 h 5920066"/>
              <a:gd name="connsiteX27" fmla="*/ 0 w 3443287"/>
              <a:gd name="connsiteY27" fmla="*/ 5170107 h 5920066"/>
              <a:gd name="connsiteX28" fmla="*/ 0 w 3443287"/>
              <a:gd name="connsiteY28" fmla="*/ 5144283 h 5920066"/>
              <a:gd name="connsiteX29" fmla="*/ 0 w 3443287"/>
              <a:gd name="connsiteY29" fmla="*/ 5082813 h 5920066"/>
              <a:gd name="connsiteX30" fmla="*/ 0 w 3443287"/>
              <a:gd name="connsiteY30" fmla="*/ 5017146 h 5920066"/>
              <a:gd name="connsiteX31" fmla="*/ 0 w 3443287"/>
              <a:gd name="connsiteY31" fmla="*/ 4983068 h 5920066"/>
              <a:gd name="connsiteX32" fmla="*/ 0 w 3443287"/>
              <a:gd name="connsiteY32" fmla="*/ 4903543 h 5920066"/>
              <a:gd name="connsiteX33" fmla="*/ 0 w 3443287"/>
              <a:gd name="connsiteY33" fmla="*/ 4899808 h 5920066"/>
              <a:gd name="connsiteX34" fmla="*/ 0 w 3443287"/>
              <a:gd name="connsiteY34" fmla="*/ 4890937 h 5920066"/>
              <a:gd name="connsiteX35" fmla="*/ 0 w 3443287"/>
              <a:gd name="connsiteY35" fmla="*/ 4875069 h 5920066"/>
              <a:gd name="connsiteX36" fmla="*/ 0 w 3443287"/>
              <a:gd name="connsiteY36" fmla="*/ 4873661 h 5920066"/>
              <a:gd name="connsiteX37" fmla="*/ 0 w 3443287"/>
              <a:gd name="connsiteY37" fmla="*/ 4870043 h 5920066"/>
              <a:gd name="connsiteX38" fmla="*/ 0 w 3443287"/>
              <a:gd name="connsiteY38" fmla="*/ 4845180 h 5920066"/>
              <a:gd name="connsiteX39" fmla="*/ 0 w 3443287"/>
              <a:gd name="connsiteY39" fmla="*/ 4802692 h 5920066"/>
              <a:gd name="connsiteX40" fmla="*/ 0 w 3443287"/>
              <a:gd name="connsiteY40" fmla="*/ 4743395 h 5920066"/>
              <a:gd name="connsiteX41" fmla="*/ 0 w 3443287"/>
              <a:gd name="connsiteY41" fmla="*/ 4742906 h 5920066"/>
              <a:gd name="connsiteX42" fmla="*/ 0 w 3443287"/>
              <a:gd name="connsiteY42" fmla="*/ 4717221 h 5920066"/>
              <a:gd name="connsiteX43" fmla="*/ 0 w 3443287"/>
              <a:gd name="connsiteY43" fmla="*/ 4664488 h 5920066"/>
              <a:gd name="connsiteX44" fmla="*/ 0 w 3443287"/>
              <a:gd name="connsiteY44" fmla="*/ 4629303 h 5920066"/>
              <a:gd name="connsiteX45" fmla="*/ 0 w 3443287"/>
              <a:gd name="connsiteY45" fmla="*/ 4628197 h 5920066"/>
              <a:gd name="connsiteX46" fmla="*/ 0 w 3443287"/>
              <a:gd name="connsiteY46" fmla="*/ 4620449 h 5920066"/>
              <a:gd name="connsiteX47" fmla="*/ 0 w 3443287"/>
              <a:gd name="connsiteY47" fmla="*/ 4600829 h 5920066"/>
              <a:gd name="connsiteX48" fmla="*/ 0 w 3443287"/>
              <a:gd name="connsiteY48" fmla="*/ 4599606 h 5920066"/>
              <a:gd name="connsiteX49" fmla="*/ 0 w 3443287"/>
              <a:gd name="connsiteY49" fmla="*/ 4599421 h 5920066"/>
              <a:gd name="connsiteX50" fmla="*/ 0 w 3443287"/>
              <a:gd name="connsiteY50" fmla="*/ 4558472 h 5920066"/>
              <a:gd name="connsiteX51" fmla="*/ 0 w 3443287"/>
              <a:gd name="connsiteY51" fmla="*/ 4542771 h 5920066"/>
              <a:gd name="connsiteX52" fmla="*/ 0 w 3443287"/>
              <a:gd name="connsiteY52" fmla="*/ 4528452 h 5920066"/>
              <a:gd name="connsiteX53" fmla="*/ 0 w 3443287"/>
              <a:gd name="connsiteY53" fmla="*/ 4523933 h 5920066"/>
              <a:gd name="connsiteX54" fmla="*/ 0 w 3443287"/>
              <a:gd name="connsiteY54" fmla="*/ 4490961 h 5920066"/>
              <a:gd name="connsiteX55" fmla="*/ 0 w 3443287"/>
              <a:gd name="connsiteY55" fmla="*/ 4445170 h 5920066"/>
              <a:gd name="connsiteX56" fmla="*/ 0 w 3443287"/>
              <a:gd name="connsiteY56" fmla="*/ 4442981 h 5920066"/>
              <a:gd name="connsiteX57" fmla="*/ 0 w 3443287"/>
              <a:gd name="connsiteY57" fmla="*/ 4436639 h 5920066"/>
              <a:gd name="connsiteX58" fmla="*/ 0 w 3443287"/>
              <a:gd name="connsiteY58" fmla="*/ 4390248 h 5920066"/>
              <a:gd name="connsiteX59" fmla="*/ 0 w 3443287"/>
              <a:gd name="connsiteY59" fmla="*/ 4350891 h 5920066"/>
              <a:gd name="connsiteX60" fmla="*/ 0 w 3443287"/>
              <a:gd name="connsiteY60" fmla="*/ 4336894 h 5920066"/>
              <a:gd name="connsiteX61" fmla="*/ 0 w 3443287"/>
              <a:gd name="connsiteY61" fmla="*/ 4325366 h 5920066"/>
              <a:gd name="connsiteX62" fmla="*/ 0 w 3443287"/>
              <a:gd name="connsiteY62" fmla="*/ 4268531 h 5920066"/>
              <a:gd name="connsiteX63" fmla="*/ 0 w 3443287"/>
              <a:gd name="connsiteY63" fmla="*/ 4249693 h 5920066"/>
              <a:gd name="connsiteX64" fmla="*/ 0 w 3443287"/>
              <a:gd name="connsiteY64" fmla="*/ 4223869 h 5920066"/>
              <a:gd name="connsiteX65" fmla="*/ 0 w 3443287"/>
              <a:gd name="connsiteY65" fmla="*/ 4162399 h 5920066"/>
              <a:gd name="connsiteX66" fmla="*/ 0 w 3443287"/>
              <a:gd name="connsiteY66" fmla="*/ 4140749 h 5920066"/>
              <a:gd name="connsiteX67" fmla="*/ 0 w 3443287"/>
              <a:gd name="connsiteY67" fmla="*/ 4096732 h 5920066"/>
              <a:gd name="connsiteX68" fmla="*/ 0 w 3443287"/>
              <a:gd name="connsiteY68" fmla="*/ 4076651 h 5920066"/>
              <a:gd name="connsiteX69" fmla="*/ 0 w 3443287"/>
              <a:gd name="connsiteY69" fmla="*/ 4062654 h 5920066"/>
              <a:gd name="connsiteX70" fmla="*/ 0 w 3443287"/>
              <a:gd name="connsiteY70" fmla="*/ 3954655 h 5920066"/>
              <a:gd name="connsiteX71" fmla="*/ 0 w 3443287"/>
              <a:gd name="connsiteY71" fmla="*/ 3949629 h 5920066"/>
              <a:gd name="connsiteX72" fmla="*/ 0 w 3443287"/>
              <a:gd name="connsiteY72" fmla="*/ 3911516 h 5920066"/>
              <a:gd name="connsiteX73" fmla="*/ 0 w 3443287"/>
              <a:gd name="connsiteY73" fmla="*/ 3866509 h 5920066"/>
              <a:gd name="connsiteX74" fmla="*/ 0 w 3443287"/>
              <a:gd name="connsiteY74" fmla="*/ 3822492 h 5920066"/>
              <a:gd name="connsiteX75" fmla="*/ 0 w 3443287"/>
              <a:gd name="connsiteY75" fmla="*/ 3796807 h 5920066"/>
              <a:gd name="connsiteX76" fmla="*/ 0 w 3443287"/>
              <a:gd name="connsiteY76" fmla="*/ 3680415 h 5920066"/>
              <a:gd name="connsiteX77" fmla="*/ 0 w 3443287"/>
              <a:gd name="connsiteY77" fmla="*/ 3662362 h 5920066"/>
              <a:gd name="connsiteX78" fmla="*/ 0 w 3443287"/>
              <a:gd name="connsiteY78" fmla="*/ 3637276 h 5920066"/>
              <a:gd name="connsiteX79" fmla="*/ 0 w 3443287"/>
              <a:gd name="connsiteY79" fmla="*/ 3622357 h 5920066"/>
              <a:gd name="connsiteX80" fmla="*/ 0 w 3443287"/>
              <a:gd name="connsiteY80" fmla="*/ 3522567 h 5920066"/>
              <a:gd name="connsiteX81" fmla="*/ 0 w 3443287"/>
              <a:gd name="connsiteY81" fmla="*/ 3430477 h 5920066"/>
              <a:gd name="connsiteX82" fmla="*/ 0 w 3443287"/>
              <a:gd name="connsiteY82" fmla="*/ 3392457 h 5920066"/>
              <a:gd name="connsiteX83" fmla="*/ 0 w 3443287"/>
              <a:gd name="connsiteY83" fmla="*/ 3388122 h 5920066"/>
              <a:gd name="connsiteX84" fmla="*/ 0 w 3443287"/>
              <a:gd name="connsiteY84" fmla="*/ 3348117 h 5920066"/>
              <a:gd name="connsiteX85" fmla="*/ 0 w 3443287"/>
              <a:gd name="connsiteY85" fmla="*/ 3220335 h 5920066"/>
              <a:gd name="connsiteX86" fmla="*/ 0 w 3443287"/>
              <a:gd name="connsiteY86" fmla="*/ 3156237 h 5920066"/>
              <a:gd name="connsiteX87" fmla="*/ 0 w 3443287"/>
              <a:gd name="connsiteY87" fmla="*/ 3118217 h 5920066"/>
              <a:gd name="connsiteX88" fmla="*/ 0 w 3443287"/>
              <a:gd name="connsiteY88" fmla="*/ 3100970 h 5920066"/>
              <a:gd name="connsiteX89" fmla="*/ 0 w 3443287"/>
              <a:gd name="connsiteY89" fmla="*/ 2991102 h 5920066"/>
              <a:gd name="connsiteX90" fmla="*/ 0 w 3443287"/>
              <a:gd name="connsiteY90" fmla="*/ 2946095 h 5920066"/>
              <a:gd name="connsiteX91" fmla="*/ 0 w 3443287"/>
              <a:gd name="connsiteY91" fmla="*/ 2826730 h 5920066"/>
              <a:gd name="connsiteX92" fmla="*/ 0 w 3443287"/>
              <a:gd name="connsiteY92" fmla="*/ 2787072 h 5920066"/>
              <a:gd name="connsiteX93" fmla="*/ 0 w 3443287"/>
              <a:gd name="connsiteY93" fmla="*/ 2741948 h 5920066"/>
              <a:gd name="connsiteX94" fmla="*/ 0 w 3443287"/>
              <a:gd name="connsiteY94" fmla="*/ 2716862 h 5920066"/>
              <a:gd name="connsiteX95" fmla="*/ 0 w 3443287"/>
              <a:gd name="connsiteY95" fmla="*/ 2512832 h 5920066"/>
              <a:gd name="connsiteX96" fmla="*/ 0 w 3443287"/>
              <a:gd name="connsiteY96" fmla="*/ 2472043 h 5920066"/>
              <a:gd name="connsiteX97" fmla="*/ 0 w 3443287"/>
              <a:gd name="connsiteY97" fmla="*/ 2467708 h 5920066"/>
              <a:gd name="connsiteX98" fmla="*/ 0 w 3443287"/>
              <a:gd name="connsiteY98" fmla="*/ 2449933 h 5920066"/>
              <a:gd name="connsiteX99" fmla="*/ 0 w 3443287"/>
              <a:gd name="connsiteY99" fmla="*/ 2197803 h 5920066"/>
              <a:gd name="connsiteX100" fmla="*/ 0 w 3443287"/>
              <a:gd name="connsiteY100" fmla="*/ 2180556 h 5920066"/>
              <a:gd name="connsiteX101" fmla="*/ 0 w 3443287"/>
              <a:gd name="connsiteY101" fmla="*/ 2175692 h 5920066"/>
              <a:gd name="connsiteX102" fmla="*/ 0 w 3443287"/>
              <a:gd name="connsiteY102" fmla="*/ 2088721 h 5920066"/>
              <a:gd name="connsiteX103" fmla="*/ 0 w 3443287"/>
              <a:gd name="connsiteY103" fmla="*/ 1906316 h 5920066"/>
              <a:gd name="connsiteX104" fmla="*/ 0 w 3443287"/>
              <a:gd name="connsiteY104" fmla="*/ 1866658 h 5920066"/>
              <a:gd name="connsiteX105" fmla="*/ 0 w 3443287"/>
              <a:gd name="connsiteY105" fmla="*/ 1814481 h 5920066"/>
              <a:gd name="connsiteX106" fmla="*/ 0 w 3443287"/>
              <a:gd name="connsiteY106" fmla="*/ 1702609 h 5920066"/>
              <a:gd name="connsiteX107" fmla="*/ 0 w 3443287"/>
              <a:gd name="connsiteY107" fmla="*/ 1592418 h 5920066"/>
              <a:gd name="connsiteX108" fmla="*/ 0 w 3443287"/>
              <a:gd name="connsiteY108" fmla="*/ 1529519 h 5920066"/>
              <a:gd name="connsiteX109" fmla="*/ 0 w 3443287"/>
              <a:gd name="connsiteY109" fmla="*/ 1428369 h 5920066"/>
              <a:gd name="connsiteX110" fmla="*/ 0 w 3443287"/>
              <a:gd name="connsiteY110" fmla="*/ 1290764 h 5920066"/>
              <a:gd name="connsiteX111" fmla="*/ 0 w 3443287"/>
              <a:gd name="connsiteY111" fmla="*/ 1255278 h 5920066"/>
              <a:gd name="connsiteX112" fmla="*/ 0 w 3443287"/>
              <a:gd name="connsiteY112" fmla="*/ 1168307 h 5920066"/>
              <a:gd name="connsiteX113" fmla="*/ 0 w 3443287"/>
              <a:gd name="connsiteY113" fmla="*/ 1016524 h 5920066"/>
              <a:gd name="connsiteX114" fmla="*/ 0 w 3443287"/>
              <a:gd name="connsiteY114" fmla="*/ 894067 h 5920066"/>
              <a:gd name="connsiteX115" fmla="*/ 0 w 3443287"/>
              <a:gd name="connsiteY115" fmla="*/ 782195 h 5920066"/>
              <a:gd name="connsiteX116" fmla="*/ 0 w 3443287"/>
              <a:gd name="connsiteY116" fmla="*/ 507955 h 5920066"/>
              <a:gd name="connsiteX117" fmla="*/ 0 w 3443287"/>
              <a:gd name="connsiteY117" fmla="*/ 370350 h 5920066"/>
              <a:gd name="connsiteX118" fmla="*/ 0 w 3443287"/>
              <a:gd name="connsiteY118" fmla="*/ 96110 h 5920066"/>
              <a:gd name="connsiteX119" fmla="*/ 95997 w 3443287"/>
              <a:gd name="connsiteY119" fmla="*/ 0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3443287" h="5920066">
                <a:moveTo>
                  <a:pt x="95997" y="0"/>
                </a:moveTo>
                <a:lnTo>
                  <a:pt x="3443287" y="0"/>
                </a:lnTo>
                <a:lnTo>
                  <a:pt x="3443287" y="5920066"/>
                </a:lnTo>
                <a:lnTo>
                  <a:pt x="95989" y="5920066"/>
                </a:lnTo>
                <a:lnTo>
                  <a:pt x="64311" y="5915938"/>
                </a:lnTo>
                <a:cubicBezTo>
                  <a:pt x="0" y="5897541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59964" tIns="359964">
            <a:noAutofit/>
          </a:bodyPr>
          <a:lstStyle>
            <a:lvl1pPr algn="ctr">
              <a:defRPr sz="1400" b="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7528" y="280734"/>
            <a:ext cx="6787223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666221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54" userDrawn="1">
          <p15:clr>
            <a:srgbClr val="FBAE40"/>
          </p15:clr>
        </p15:guide>
        <p15:guide id="2" pos="2610" userDrawn="1">
          <p15:clr>
            <a:srgbClr val="FBAE40"/>
          </p15:clr>
        </p15:guide>
      </p15:sldGuideLst>
    </p:ext>
  </p:extLs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Al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/>
          <p:cNvGrpSpPr>
            <a:grpSpLocks noChangeAspect="1"/>
          </p:cNvGrpSpPr>
          <p:nvPr userDrawn="1"/>
        </p:nvGrpSpPr>
        <p:grpSpPr bwMode="gray">
          <a:xfrm>
            <a:off x="1" y="1643200"/>
            <a:ext cx="5909320" cy="3045600"/>
            <a:chOff x="3465513" y="2070100"/>
            <a:chExt cx="5260975" cy="2711450"/>
          </a:xfrm>
        </p:grpSpPr>
        <p:sp>
          <p:nvSpPr>
            <p:cNvPr id="80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1" name="Freeform 80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842434" y="2012286"/>
            <a:ext cx="4877966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031479"/>
            <a:ext cx="4877966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17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34" y="3603487"/>
            <a:ext cx="4877966" cy="290712"/>
          </a:xfrm>
        </p:spPr>
        <p:txBody>
          <a:bodyPr bIns="0">
            <a:noAutofit/>
          </a:bodyPr>
          <a:lstStyle>
            <a:lvl1pPr algn="l">
              <a:lnSpc>
                <a:spcPts val="1699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pic>
        <p:nvPicPr>
          <p:cNvPr id="30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838201" y="6291857"/>
            <a:ext cx="2188369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42434" y="4381898"/>
            <a:ext cx="4878000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4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70" name="Picture Placeholder 69"/>
          <p:cNvSpPr>
            <a:spLocks noGrp="1"/>
          </p:cNvSpPr>
          <p:nvPr>
            <p:ph type="pic" sz="quarter" idx="12"/>
          </p:nvPr>
        </p:nvSpPr>
        <p:spPr bwMode="gray">
          <a:xfrm>
            <a:off x="-3175" y="2"/>
            <a:ext cx="12195175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79712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10749168" y="-133099"/>
            <a:ext cx="1441027" cy="1565166"/>
            <a:chOff x="5364088" y="4720073"/>
            <a:chExt cx="1441027" cy="1565166"/>
          </a:xfrm>
        </p:grpSpPr>
        <p:sp>
          <p:nvSpPr>
            <p:cNvPr id="41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2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7487867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696912" y="1201147"/>
            <a:ext cx="11199600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845575" y="1327150"/>
            <a:ext cx="10489176" cy="4752000"/>
          </a:xfrm>
        </p:spPr>
        <p:txBody>
          <a:bodyPr>
            <a:noAutofit/>
          </a:bodyPr>
          <a:lstStyle>
            <a:lvl1pPr marL="431956" marR="0" indent="-431956" algn="l" defTabSz="914286" rtl="0" eaLnBrk="1" fontAlgn="auto" latinLnBrk="0" hangingPunct="1">
              <a:lnSpc>
                <a:spcPts val="2199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55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1581670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Picture R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>
            <a:spLocks noChangeAspect="1"/>
          </p:cNvSpPr>
          <p:nvPr userDrawn="1"/>
        </p:nvSpPr>
        <p:spPr bwMode="gray">
          <a:xfrm>
            <a:off x="696912" y="1201147"/>
            <a:ext cx="11199600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845576" y="1327149"/>
            <a:ext cx="5987025" cy="4752000"/>
          </a:xfrm>
        </p:spPr>
        <p:txBody>
          <a:bodyPr>
            <a:noAutofit/>
          </a:bodyPr>
          <a:lstStyle>
            <a:lvl1pPr marL="431956" marR="0" indent="-431956" algn="l" defTabSz="914286" rtl="0" eaLnBrk="1" fontAlgn="auto" latinLnBrk="0" hangingPunct="1">
              <a:lnSpc>
                <a:spcPts val="2199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55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7296150" y="1201147"/>
            <a:ext cx="4600362" cy="4999652"/>
          </a:xfrm>
          <a:custGeom>
            <a:avLst/>
            <a:gdLst>
              <a:gd name="connsiteX0" fmla="*/ 0 w 4600362"/>
              <a:gd name="connsiteY0" fmla="*/ 0 h 4999652"/>
              <a:gd name="connsiteX1" fmla="*/ 4504373 w 4600362"/>
              <a:gd name="connsiteY1" fmla="*/ 0 h 4999652"/>
              <a:gd name="connsiteX2" fmla="*/ 4536051 w 4600362"/>
              <a:gd name="connsiteY2" fmla="*/ 4129 h 4999652"/>
              <a:gd name="connsiteX3" fmla="*/ 4600362 w 4600362"/>
              <a:gd name="connsiteY3" fmla="*/ 96109 h 4999652"/>
              <a:gd name="connsiteX4" fmla="*/ 4600362 w 4600362"/>
              <a:gd name="connsiteY4" fmla="*/ 335164 h 4999652"/>
              <a:gd name="connsiteX5" fmla="*/ 4600362 w 4600362"/>
              <a:gd name="connsiteY5" fmla="*/ 370349 h 4999652"/>
              <a:gd name="connsiteX6" fmla="*/ 4600362 w 4600362"/>
              <a:gd name="connsiteY6" fmla="*/ 379203 h 4999652"/>
              <a:gd name="connsiteX7" fmla="*/ 4600362 w 4600362"/>
              <a:gd name="connsiteY7" fmla="*/ 400047 h 4999652"/>
              <a:gd name="connsiteX8" fmla="*/ 4600362 w 4600362"/>
              <a:gd name="connsiteY8" fmla="*/ 400231 h 4999652"/>
              <a:gd name="connsiteX9" fmla="*/ 4600362 w 4600362"/>
              <a:gd name="connsiteY9" fmla="*/ 471201 h 4999652"/>
              <a:gd name="connsiteX10" fmla="*/ 4600362 w 4600362"/>
              <a:gd name="connsiteY10" fmla="*/ 475720 h 4999652"/>
              <a:gd name="connsiteX11" fmla="*/ 4600362 w 4600362"/>
              <a:gd name="connsiteY11" fmla="*/ 508691 h 4999652"/>
              <a:gd name="connsiteX12" fmla="*/ 4600362 w 4600362"/>
              <a:gd name="connsiteY12" fmla="*/ 554483 h 4999652"/>
              <a:gd name="connsiteX13" fmla="*/ 4600362 w 4600362"/>
              <a:gd name="connsiteY13" fmla="*/ 563014 h 4999652"/>
              <a:gd name="connsiteX14" fmla="*/ 4600362 w 4600362"/>
              <a:gd name="connsiteY14" fmla="*/ 609404 h 4999652"/>
              <a:gd name="connsiteX15" fmla="*/ 4600362 w 4600362"/>
              <a:gd name="connsiteY15" fmla="*/ 662758 h 4999652"/>
              <a:gd name="connsiteX16" fmla="*/ 4600362 w 4600362"/>
              <a:gd name="connsiteY16" fmla="*/ 674287 h 4999652"/>
              <a:gd name="connsiteX17" fmla="*/ 4600362 w 4600362"/>
              <a:gd name="connsiteY17" fmla="*/ 749960 h 4999652"/>
              <a:gd name="connsiteX18" fmla="*/ 4600362 w 4600362"/>
              <a:gd name="connsiteY18" fmla="*/ 775784 h 4999652"/>
              <a:gd name="connsiteX19" fmla="*/ 4600362 w 4600362"/>
              <a:gd name="connsiteY19" fmla="*/ 837254 h 4999652"/>
              <a:gd name="connsiteX20" fmla="*/ 4600362 w 4600362"/>
              <a:gd name="connsiteY20" fmla="*/ 902920 h 4999652"/>
              <a:gd name="connsiteX21" fmla="*/ 4600362 w 4600362"/>
              <a:gd name="connsiteY21" fmla="*/ 936998 h 4999652"/>
              <a:gd name="connsiteX22" fmla="*/ 4600362 w 4600362"/>
              <a:gd name="connsiteY22" fmla="*/ 1044998 h 4999652"/>
              <a:gd name="connsiteX23" fmla="*/ 4600362 w 4600362"/>
              <a:gd name="connsiteY23" fmla="*/ 1050024 h 4999652"/>
              <a:gd name="connsiteX24" fmla="*/ 4600362 w 4600362"/>
              <a:gd name="connsiteY24" fmla="*/ 1177160 h 4999652"/>
              <a:gd name="connsiteX25" fmla="*/ 4600362 w 4600362"/>
              <a:gd name="connsiteY25" fmla="*/ 1202846 h 4999652"/>
              <a:gd name="connsiteX26" fmla="*/ 4600362 w 4600362"/>
              <a:gd name="connsiteY26" fmla="*/ 1319238 h 4999652"/>
              <a:gd name="connsiteX27" fmla="*/ 4600362 w 4600362"/>
              <a:gd name="connsiteY27" fmla="*/ 1377295 h 4999652"/>
              <a:gd name="connsiteX28" fmla="*/ 4600362 w 4600362"/>
              <a:gd name="connsiteY28" fmla="*/ 1477086 h 4999652"/>
              <a:gd name="connsiteX29" fmla="*/ 4600362 w 4600362"/>
              <a:gd name="connsiteY29" fmla="*/ 1569176 h 4999652"/>
              <a:gd name="connsiteX30" fmla="*/ 4600362 w 4600362"/>
              <a:gd name="connsiteY30" fmla="*/ 1651535 h 4999652"/>
              <a:gd name="connsiteX31" fmla="*/ 4600362 w 4600362"/>
              <a:gd name="connsiteY31" fmla="*/ 1779317 h 4999652"/>
              <a:gd name="connsiteX32" fmla="*/ 4600362 w 4600362"/>
              <a:gd name="connsiteY32" fmla="*/ 1843416 h 4999652"/>
              <a:gd name="connsiteX33" fmla="*/ 4600362 w 4600362"/>
              <a:gd name="connsiteY33" fmla="*/ 2008550 h 4999652"/>
              <a:gd name="connsiteX34" fmla="*/ 4600362 w 4600362"/>
              <a:gd name="connsiteY34" fmla="*/ 2053557 h 4999652"/>
              <a:gd name="connsiteX35" fmla="*/ 4600362 w 4600362"/>
              <a:gd name="connsiteY35" fmla="*/ 2257704 h 4999652"/>
              <a:gd name="connsiteX36" fmla="*/ 4600362 w 4600362"/>
              <a:gd name="connsiteY36" fmla="*/ 2282790 h 4999652"/>
              <a:gd name="connsiteX37" fmla="*/ 4600362 w 4600362"/>
              <a:gd name="connsiteY37" fmla="*/ 2527609 h 4999652"/>
              <a:gd name="connsiteX38" fmla="*/ 4600362 w 4600362"/>
              <a:gd name="connsiteY38" fmla="*/ 2531944 h 4999652"/>
              <a:gd name="connsiteX39" fmla="*/ 4600362 w 4600362"/>
              <a:gd name="connsiteY39" fmla="*/ 2801850 h 4999652"/>
              <a:gd name="connsiteX40" fmla="*/ 4600362 w 4600362"/>
              <a:gd name="connsiteY40" fmla="*/ 2819096 h 4999652"/>
              <a:gd name="connsiteX41" fmla="*/ 4600362 w 4600362"/>
              <a:gd name="connsiteY41" fmla="*/ 3093336 h 4999652"/>
              <a:gd name="connsiteX42" fmla="*/ 4600362 w 4600362"/>
              <a:gd name="connsiteY42" fmla="*/ 3132994 h 4999652"/>
              <a:gd name="connsiteX43" fmla="*/ 4600362 w 4600362"/>
              <a:gd name="connsiteY43" fmla="*/ 3407235 h 4999652"/>
              <a:gd name="connsiteX44" fmla="*/ 4600362 w 4600362"/>
              <a:gd name="connsiteY44" fmla="*/ 3470134 h 4999652"/>
              <a:gd name="connsiteX45" fmla="*/ 4600362 w 4600362"/>
              <a:gd name="connsiteY45" fmla="*/ 3744374 h 4999652"/>
              <a:gd name="connsiteX46" fmla="*/ 4600362 w 4600362"/>
              <a:gd name="connsiteY46" fmla="*/ 3831345 h 4999652"/>
              <a:gd name="connsiteX47" fmla="*/ 4600362 w 4600362"/>
              <a:gd name="connsiteY47" fmla="*/ 4105585 h 4999652"/>
              <a:gd name="connsiteX48" fmla="*/ 4600362 w 4600362"/>
              <a:gd name="connsiteY48" fmla="*/ 4217458 h 4999652"/>
              <a:gd name="connsiteX49" fmla="*/ 4600362 w 4600362"/>
              <a:gd name="connsiteY49" fmla="*/ 4491698 h 4999652"/>
              <a:gd name="connsiteX50" fmla="*/ 4600362 w 4600362"/>
              <a:gd name="connsiteY50" fmla="*/ 4629302 h 4999652"/>
              <a:gd name="connsiteX51" fmla="*/ 4600362 w 4600362"/>
              <a:gd name="connsiteY51" fmla="*/ 4903542 h 4999652"/>
              <a:gd name="connsiteX52" fmla="*/ 4504365 w 4600362"/>
              <a:gd name="connsiteY52" fmla="*/ 4999652 h 4999652"/>
              <a:gd name="connsiteX53" fmla="*/ 144766 w 4600362"/>
              <a:gd name="connsiteY53" fmla="*/ 4999652 h 4999652"/>
              <a:gd name="connsiteX54" fmla="*/ 0 w 4600362"/>
              <a:gd name="connsiteY54" fmla="*/ 4999652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600362" h="4999652">
                <a:moveTo>
                  <a:pt x="0" y="0"/>
                </a:moveTo>
                <a:lnTo>
                  <a:pt x="4504373" y="0"/>
                </a:lnTo>
                <a:lnTo>
                  <a:pt x="4536051" y="4129"/>
                </a:lnTo>
                <a:cubicBezTo>
                  <a:pt x="4600362" y="22525"/>
                  <a:pt x="4600362" y="96109"/>
                  <a:pt x="4600362" y="96109"/>
                </a:cubicBezTo>
                <a:cubicBezTo>
                  <a:pt x="4600362" y="96109"/>
                  <a:pt x="4600362" y="96109"/>
                  <a:pt x="4600362" y="335164"/>
                </a:cubicBezTo>
                <a:lnTo>
                  <a:pt x="4600362" y="370349"/>
                </a:lnTo>
                <a:cubicBezTo>
                  <a:pt x="4600362" y="370349"/>
                  <a:pt x="4600362" y="370349"/>
                  <a:pt x="4600362" y="379203"/>
                </a:cubicBezTo>
                <a:lnTo>
                  <a:pt x="4600362" y="400047"/>
                </a:lnTo>
                <a:lnTo>
                  <a:pt x="4600362" y="400231"/>
                </a:lnTo>
                <a:cubicBezTo>
                  <a:pt x="4600362" y="415172"/>
                  <a:pt x="4600362" y="437584"/>
                  <a:pt x="4600362" y="471201"/>
                </a:cubicBezTo>
                <a:lnTo>
                  <a:pt x="4600362" y="475720"/>
                </a:lnTo>
                <a:lnTo>
                  <a:pt x="4600362" y="508691"/>
                </a:lnTo>
                <a:cubicBezTo>
                  <a:pt x="4600362" y="522526"/>
                  <a:pt x="4600362" y="537743"/>
                  <a:pt x="4600362" y="554483"/>
                </a:cubicBezTo>
                <a:lnTo>
                  <a:pt x="4600362" y="563014"/>
                </a:lnTo>
                <a:lnTo>
                  <a:pt x="4600362" y="609404"/>
                </a:lnTo>
                <a:lnTo>
                  <a:pt x="4600362" y="662758"/>
                </a:lnTo>
                <a:lnTo>
                  <a:pt x="4600362" y="674287"/>
                </a:lnTo>
                <a:cubicBezTo>
                  <a:pt x="4600362" y="697667"/>
                  <a:pt x="4600362" y="722845"/>
                  <a:pt x="4600362" y="749960"/>
                </a:cubicBezTo>
                <a:lnTo>
                  <a:pt x="4600362" y="775784"/>
                </a:lnTo>
                <a:lnTo>
                  <a:pt x="4600362" y="837254"/>
                </a:lnTo>
                <a:lnTo>
                  <a:pt x="4600362" y="902920"/>
                </a:lnTo>
                <a:lnTo>
                  <a:pt x="4600362" y="936998"/>
                </a:lnTo>
                <a:lnTo>
                  <a:pt x="4600362" y="1044998"/>
                </a:lnTo>
                <a:lnTo>
                  <a:pt x="4600362" y="1050024"/>
                </a:lnTo>
                <a:cubicBezTo>
                  <a:pt x="4600362" y="1090005"/>
                  <a:pt x="4600362" y="1132337"/>
                  <a:pt x="4600362" y="1177160"/>
                </a:cubicBezTo>
                <a:lnTo>
                  <a:pt x="4600362" y="1202846"/>
                </a:lnTo>
                <a:lnTo>
                  <a:pt x="4600362" y="1319238"/>
                </a:lnTo>
                <a:lnTo>
                  <a:pt x="4600362" y="1377295"/>
                </a:lnTo>
                <a:lnTo>
                  <a:pt x="4600362" y="1477086"/>
                </a:lnTo>
                <a:lnTo>
                  <a:pt x="4600362" y="1569176"/>
                </a:lnTo>
                <a:lnTo>
                  <a:pt x="4600362" y="1651535"/>
                </a:lnTo>
                <a:lnTo>
                  <a:pt x="4600362" y="1779317"/>
                </a:lnTo>
                <a:lnTo>
                  <a:pt x="4600362" y="1843416"/>
                </a:lnTo>
                <a:lnTo>
                  <a:pt x="4600362" y="2008550"/>
                </a:lnTo>
                <a:lnTo>
                  <a:pt x="4600362" y="2053557"/>
                </a:lnTo>
                <a:lnTo>
                  <a:pt x="4600362" y="2257704"/>
                </a:lnTo>
                <a:lnTo>
                  <a:pt x="4600362" y="2282790"/>
                </a:lnTo>
                <a:lnTo>
                  <a:pt x="4600362" y="2527609"/>
                </a:lnTo>
                <a:lnTo>
                  <a:pt x="4600362" y="2531944"/>
                </a:lnTo>
                <a:cubicBezTo>
                  <a:pt x="4600362" y="2618408"/>
                  <a:pt x="4600362" y="2708330"/>
                  <a:pt x="4600362" y="2801850"/>
                </a:cubicBezTo>
                <a:lnTo>
                  <a:pt x="4600362" y="2819096"/>
                </a:lnTo>
                <a:lnTo>
                  <a:pt x="4600362" y="3093336"/>
                </a:lnTo>
                <a:lnTo>
                  <a:pt x="4600362" y="3132994"/>
                </a:lnTo>
                <a:lnTo>
                  <a:pt x="4600362" y="3407235"/>
                </a:lnTo>
                <a:lnTo>
                  <a:pt x="4600362" y="3470134"/>
                </a:lnTo>
                <a:lnTo>
                  <a:pt x="4600362" y="3744374"/>
                </a:lnTo>
                <a:lnTo>
                  <a:pt x="4600362" y="3831345"/>
                </a:lnTo>
                <a:lnTo>
                  <a:pt x="4600362" y="4105585"/>
                </a:lnTo>
                <a:lnTo>
                  <a:pt x="4600362" y="4217458"/>
                </a:lnTo>
                <a:lnTo>
                  <a:pt x="4600362" y="4491698"/>
                </a:lnTo>
                <a:lnTo>
                  <a:pt x="4600362" y="4629302"/>
                </a:lnTo>
                <a:lnTo>
                  <a:pt x="4600362" y="4903542"/>
                </a:lnTo>
                <a:cubicBezTo>
                  <a:pt x="4600362" y="4999652"/>
                  <a:pt x="4504365" y="4999652"/>
                  <a:pt x="4504365" y="4999652"/>
                </a:cubicBezTo>
                <a:cubicBezTo>
                  <a:pt x="4504365" y="4999652"/>
                  <a:pt x="4504365" y="4999652"/>
                  <a:pt x="144766" y="4999652"/>
                </a:cubicBezTo>
                <a:lnTo>
                  <a:pt x="0" y="4999652"/>
                </a:lnTo>
                <a:close/>
              </a:path>
            </a:pathLst>
          </a:custGeom>
          <a:noFill/>
        </p:spPr>
        <p:txBody>
          <a:bodyPr wrap="square" tIns="107990">
            <a:noAutofit/>
          </a:bodyPr>
          <a:lstStyle/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2137193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308">
          <p15:clr>
            <a:srgbClr val="FBAE40"/>
          </p15:clr>
        </p15:guide>
        <p15:guide id="2" pos="4596">
          <p15:clr>
            <a:srgbClr val="FBAE40"/>
          </p15:clr>
        </p15:guide>
      </p15:sldGuideLst>
    </p:ext>
  </p:extLs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9"/>
          <p:cNvSpPr>
            <a:spLocks noChangeAspect="1"/>
          </p:cNvSpPr>
          <p:nvPr userDrawn="1"/>
        </p:nvSpPr>
        <p:spPr bwMode="gray">
          <a:xfrm>
            <a:off x="0" y="1695450"/>
            <a:ext cx="11350800" cy="2382290"/>
          </a:xfrm>
          <a:custGeom>
            <a:avLst/>
            <a:gdLst>
              <a:gd name="T0" fmla="*/ 0 w 2680"/>
              <a:gd name="T1" fmla="*/ 560 h 560"/>
              <a:gd name="T2" fmla="*/ 2648 w 2680"/>
              <a:gd name="T3" fmla="*/ 560 h 560"/>
              <a:gd name="T4" fmla="*/ 2680 w 2680"/>
              <a:gd name="T5" fmla="*/ 528 h 560"/>
              <a:gd name="T6" fmla="*/ 2680 w 2680"/>
              <a:gd name="T7" fmla="*/ 32 h 560"/>
              <a:gd name="T8" fmla="*/ 2648 w 2680"/>
              <a:gd name="T9" fmla="*/ 0 h 560"/>
              <a:gd name="T10" fmla="*/ 0 w 2680"/>
              <a:gd name="T11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0" h="560">
                <a:moveTo>
                  <a:pt x="0" y="560"/>
                </a:moveTo>
                <a:cubicBezTo>
                  <a:pt x="2648" y="560"/>
                  <a:pt x="2648" y="560"/>
                  <a:pt x="2648" y="560"/>
                </a:cubicBezTo>
                <a:cubicBezTo>
                  <a:pt x="2648" y="560"/>
                  <a:pt x="2680" y="560"/>
                  <a:pt x="2680" y="528"/>
                </a:cubicBezTo>
                <a:cubicBezTo>
                  <a:pt x="2680" y="32"/>
                  <a:pt x="2680" y="32"/>
                  <a:pt x="2680" y="32"/>
                </a:cubicBezTo>
                <a:cubicBezTo>
                  <a:pt x="2680" y="32"/>
                  <a:pt x="2680" y="0"/>
                  <a:pt x="264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842434" y="1695452"/>
            <a:ext cx="10313209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0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1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0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23433" y="6358070"/>
            <a:ext cx="1183250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8441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7"/>
          <p:cNvSpPr>
            <a:spLocks noGrp="1"/>
          </p:cNvSpPr>
          <p:nvPr>
            <p:ph type="pic" sz="quarter" idx="16"/>
          </p:nvPr>
        </p:nvSpPr>
        <p:spPr bwMode="gray">
          <a:xfrm>
            <a:off x="696912" y="1696719"/>
            <a:ext cx="11199600" cy="4504080"/>
          </a:xfrm>
          <a:custGeom>
            <a:avLst/>
            <a:gdLst>
              <a:gd name="connsiteX0" fmla="*/ 95997 w 11199600"/>
              <a:gd name="connsiteY0" fmla="*/ 0 h 4504080"/>
              <a:gd name="connsiteX1" fmla="*/ 11103603 w 11199600"/>
              <a:gd name="connsiteY1" fmla="*/ 0 h 4504080"/>
              <a:gd name="connsiteX2" fmla="*/ 11199600 w 11199600"/>
              <a:gd name="connsiteY2" fmla="*/ 96110 h 4504080"/>
              <a:gd name="connsiteX3" fmla="*/ 11199600 w 11199600"/>
              <a:gd name="connsiteY3" fmla="*/ 335165 h 4504080"/>
              <a:gd name="connsiteX4" fmla="*/ 11199600 w 11199600"/>
              <a:gd name="connsiteY4" fmla="*/ 370350 h 4504080"/>
              <a:gd name="connsiteX5" fmla="*/ 11199600 w 11199600"/>
              <a:gd name="connsiteY5" fmla="*/ 379204 h 4504080"/>
              <a:gd name="connsiteX6" fmla="*/ 11199600 w 11199600"/>
              <a:gd name="connsiteY6" fmla="*/ 400048 h 4504080"/>
              <a:gd name="connsiteX7" fmla="*/ 11199600 w 11199600"/>
              <a:gd name="connsiteY7" fmla="*/ 400232 h 4504080"/>
              <a:gd name="connsiteX8" fmla="*/ 11199600 w 11199600"/>
              <a:gd name="connsiteY8" fmla="*/ 471202 h 4504080"/>
              <a:gd name="connsiteX9" fmla="*/ 11199600 w 11199600"/>
              <a:gd name="connsiteY9" fmla="*/ 475721 h 4504080"/>
              <a:gd name="connsiteX10" fmla="*/ 11199600 w 11199600"/>
              <a:gd name="connsiteY10" fmla="*/ 508692 h 4504080"/>
              <a:gd name="connsiteX11" fmla="*/ 11199600 w 11199600"/>
              <a:gd name="connsiteY11" fmla="*/ 554484 h 4504080"/>
              <a:gd name="connsiteX12" fmla="*/ 11199600 w 11199600"/>
              <a:gd name="connsiteY12" fmla="*/ 563015 h 4504080"/>
              <a:gd name="connsiteX13" fmla="*/ 11199600 w 11199600"/>
              <a:gd name="connsiteY13" fmla="*/ 609405 h 4504080"/>
              <a:gd name="connsiteX14" fmla="*/ 11199600 w 11199600"/>
              <a:gd name="connsiteY14" fmla="*/ 662759 h 4504080"/>
              <a:gd name="connsiteX15" fmla="*/ 11199600 w 11199600"/>
              <a:gd name="connsiteY15" fmla="*/ 674288 h 4504080"/>
              <a:gd name="connsiteX16" fmla="*/ 11199600 w 11199600"/>
              <a:gd name="connsiteY16" fmla="*/ 749961 h 4504080"/>
              <a:gd name="connsiteX17" fmla="*/ 11199600 w 11199600"/>
              <a:gd name="connsiteY17" fmla="*/ 775785 h 4504080"/>
              <a:gd name="connsiteX18" fmla="*/ 11199600 w 11199600"/>
              <a:gd name="connsiteY18" fmla="*/ 837255 h 4504080"/>
              <a:gd name="connsiteX19" fmla="*/ 11199600 w 11199600"/>
              <a:gd name="connsiteY19" fmla="*/ 902921 h 4504080"/>
              <a:gd name="connsiteX20" fmla="*/ 11199600 w 11199600"/>
              <a:gd name="connsiteY20" fmla="*/ 936999 h 4504080"/>
              <a:gd name="connsiteX21" fmla="*/ 11199600 w 11199600"/>
              <a:gd name="connsiteY21" fmla="*/ 1044999 h 4504080"/>
              <a:gd name="connsiteX22" fmla="*/ 11199600 w 11199600"/>
              <a:gd name="connsiteY22" fmla="*/ 1050025 h 4504080"/>
              <a:gd name="connsiteX23" fmla="*/ 11199600 w 11199600"/>
              <a:gd name="connsiteY23" fmla="*/ 1177161 h 4504080"/>
              <a:gd name="connsiteX24" fmla="*/ 11199600 w 11199600"/>
              <a:gd name="connsiteY24" fmla="*/ 1202847 h 4504080"/>
              <a:gd name="connsiteX25" fmla="*/ 11199600 w 11199600"/>
              <a:gd name="connsiteY25" fmla="*/ 1319239 h 4504080"/>
              <a:gd name="connsiteX26" fmla="*/ 11199600 w 11199600"/>
              <a:gd name="connsiteY26" fmla="*/ 1377296 h 4504080"/>
              <a:gd name="connsiteX27" fmla="*/ 11199600 w 11199600"/>
              <a:gd name="connsiteY27" fmla="*/ 1477087 h 4504080"/>
              <a:gd name="connsiteX28" fmla="*/ 11199600 w 11199600"/>
              <a:gd name="connsiteY28" fmla="*/ 1569177 h 4504080"/>
              <a:gd name="connsiteX29" fmla="*/ 11199600 w 11199600"/>
              <a:gd name="connsiteY29" fmla="*/ 1626118 h 4504080"/>
              <a:gd name="connsiteX30" fmla="*/ 11199600 w 11199600"/>
              <a:gd name="connsiteY30" fmla="*/ 1651536 h 4504080"/>
              <a:gd name="connsiteX31" fmla="*/ 11199600 w 11199600"/>
              <a:gd name="connsiteY31" fmla="*/ 1762133 h 4504080"/>
              <a:gd name="connsiteX32" fmla="*/ 11199600 w 11199600"/>
              <a:gd name="connsiteY32" fmla="*/ 1779318 h 4504080"/>
              <a:gd name="connsiteX33" fmla="*/ 11199600 w 11199600"/>
              <a:gd name="connsiteY33" fmla="*/ 1787219 h 4504080"/>
              <a:gd name="connsiteX34" fmla="*/ 11199600 w 11199600"/>
              <a:gd name="connsiteY34" fmla="*/ 1843417 h 4504080"/>
              <a:gd name="connsiteX35" fmla="*/ 11199600 w 11199600"/>
              <a:gd name="connsiteY35" fmla="*/ 1984894 h 4504080"/>
              <a:gd name="connsiteX36" fmla="*/ 11199600 w 11199600"/>
              <a:gd name="connsiteY36" fmla="*/ 2032038 h 4504080"/>
              <a:gd name="connsiteX37" fmla="*/ 11199600 w 11199600"/>
              <a:gd name="connsiteY37" fmla="*/ 2036373 h 4504080"/>
              <a:gd name="connsiteX38" fmla="*/ 11199600 w 11199600"/>
              <a:gd name="connsiteY38" fmla="*/ 2306279 h 4504080"/>
              <a:gd name="connsiteX39" fmla="*/ 11199600 w 11199600"/>
              <a:gd name="connsiteY39" fmla="*/ 2323525 h 4504080"/>
              <a:gd name="connsiteX40" fmla="*/ 11199600 w 11199600"/>
              <a:gd name="connsiteY40" fmla="*/ 2597765 h 4504080"/>
              <a:gd name="connsiteX41" fmla="*/ 11199600 w 11199600"/>
              <a:gd name="connsiteY41" fmla="*/ 2637423 h 4504080"/>
              <a:gd name="connsiteX42" fmla="*/ 11199600 w 11199600"/>
              <a:gd name="connsiteY42" fmla="*/ 2911664 h 4504080"/>
              <a:gd name="connsiteX43" fmla="*/ 11199600 w 11199600"/>
              <a:gd name="connsiteY43" fmla="*/ 2974563 h 4504080"/>
              <a:gd name="connsiteX44" fmla="*/ 11199600 w 11199600"/>
              <a:gd name="connsiteY44" fmla="*/ 3248803 h 4504080"/>
              <a:gd name="connsiteX45" fmla="*/ 11199600 w 11199600"/>
              <a:gd name="connsiteY45" fmla="*/ 3335774 h 4504080"/>
              <a:gd name="connsiteX46" fmla="*/ 11199600 w 11199600"/>
              <a:gd name="connsiteY46" fmla="*/ 3610014 h 4504080"/>
              <a:gd name="connsiteX47" fmla="*/ 11199600 w 11199600"/>
              <a:gd name="connsiteY47" fmla="*/ 3721887 h 4504080"/>
              <a:gd name="connsiteX48" fmla="*/ 11199600 w 11199600"/>
              <a:gd name="connsiteY48" fmla="*/ 3996127 h 4504080"/>
              <a:gd name="connsiteX49" fmla="*/ 11199600 w 11199600"/>
              <a:gd name="connsiteY49" fmla="*/ 4133731 h 4504080"/>
              <a:gd name="connsiteX50" fmla="*/ 11199600 w 11199600"/>
              <a:gd name="connsiteY50" fmla="*/ 4407971 h 4504080"/>
              <a:gd name="connsiteX51" fmla="*/ 11118603 w 11199600"/>
              <a:gd name="connsiteY51" fmla="*/ 4502580 h 4504080"/>
              <a:gd name="connsiteX52" fmla="*/ 11103613 w 11199600"/>
              <a:gd name="connsiteY52" fmla="*/ 4504080 h 4504080"/>
              <a:gd name="connsiteX53" fmla="*/ 95989 w 11199600"/>
              <a:gd name="connsiteY53" fmla="*/ 4504080 h 4504080"/>
              <a:gd name="connsiteX54" fmla="*/ 64311 w 11199600"/>
              <a:gd name="connsiteY54" fmla="*/ 4499952 h 4504080"/>
              <a:gd name="connsiteX55" fmla="*/ 0 w 11199600"/>
              <a:gd name="connsiteY55" fmla="*/ 4407971 h 4504080"/>
              <a:gd name="connsiteX56" fmla="*/ 0 w 11199600"/>
              <a:gd name="connsiteY56" fmla="*/ 4404236 h 4504080"/>
              <a:gd name="connsiteX57" fmla="*/ 0 w 11199600"/>
              <a:gd name="connsiteY57" fmla="*/ 4395365 h 4504080"/>
              <a:gd name="connsiteX58" fmla="*/ 0 w 11199600"/>
              <a:gd name="connsiteY58" fmla="*/ 4378089 h 4504080"/>
              <a:gd name="connsiteX59" fmla="*/ 0 w 11199600"/>
              <a:gd name="connsiteY59" fmla="*/ 4349608 h 4504080"/>
              <a:gd name="connsiteX60" fmla="*/ 0 w 11199600"/>
              <a:gd name="connsiteY60" fmla="*/ 4307120 h 4504080"/>
              <a:gd name="connsiteX61" fmla="*/ 0 w 11199600"/>
              <a:gd name="connsiteY61" fmla="*/ 4247823 h 4504080"/>
              <a:gd name="connsiteX62" fmla="*/ 0 w 11199600"/>
              <a:gd name="connsiteY62" fmla="*/ 4168916 h 4504080"/>
              <a:gd name="connsiteX63" fmla="*/ 0 w 11199600"/>
              <a:gd name="connsiteY63" fmla="*/ 4133731 h 4504080"/>
              <a:gd name="connsiteX64" fmla="*/ 0 w 11199600"/>
              <a:gd name="connsiteY64" fmla="*/ 4132625 h 4504080"/>
              <a:gd name="connsiteX65" fmla="*/ 0 w 11199600"/>
              <a:gd name="connsiteY65" fmla="*/ 4124877 h 4504080"/>
              <a:gd name="connsiteX66" fmla="*/ 0 w 11199600"/>
              <a:gd name="connsiteY66" fmla="*/ 4104034 h 4504080"/>
              <a:gd name="connsiteX67" fmla="*/ 0 w 11199600"/>
              <a:gd name="connsiteY67" fmla="*/ 4103849 h 4504080"/>
              <a:gd name="connsiteX68" fmla="*/ 0 w 11199600"/>
              <a:gd name="connsiteY68" fmla="*/ 4062900 h 4504080"/>
              <a:gd name="connsiteX69" fmla="*/ 0 w 11199600"/>
              <a:gd name="connsiteY69" fmla="*/ 4032880 h 4504080"/>
              <a:gd name="connsiteX70" fmla="*/ 0 w 11199600"/>
              <a:gd name="connsiteY70" fmla="*/ 4028361 h 4504080"/>
              <a:gd name="connsiteX71" fmla="*/ 0 w 11199600"/>
              <a:gd name="connsiteY71" fmla="*/ 3995389 h 4504080"/>
              <a:gd name="connsiteX72" fmla="*/ 0 w 11199600"/>
              <a:gd name="connsiteY72" fmla="*/ 3949598 h 4504080"/>
              <a:gd name="connsiteX73" fmla="*/ 0 w 11199600"/>
              <a:gd name="connsiteY73" fmla="*/ 3941067 h 4504080"/>
              <a:gd name="connsiteX74" fmla="*/ 0 w 11199600"/>
              <a:gd name="connsiteY74" fmla="*/ 3894676 h 4504080"/>
              <a:gd name="connsiteX75" fmla="*/ 0 w 11199600"/>
              <a:gd name="connsiteY75" fmla="*/ 3841322 h 4504080"/>
              <a:gd name="connsiteX76" fmla="*/ 0 w 11199600"/>
              <a:gd name="connsiteY76" fmla="*/ 3829794 h 4504080"/>
              <a:gd name="connsiteX77" fmla="*/ 0 w 11199600"/>
              <a:gd name="connsiteY77" fmla="*/ 3754121 h 4504080"/>
              <a:gd name="connsiteX78" fmla="*/ 0 w 11199600"/>
              <a:gd name="connsiteY78" fmla="*/ 3728297 h 4504080"/>
              <a:gd name="connsiteX79" fmla="*/ 0 w 11199600"/>
              <a:gd name="connsiteY79" fmla="*/ 3666827 h 4504080"/>
              <a:gd name="connsiteX80" fmla="*/ 0 w 11199600"/>
              <a:gd name="connsiteY80" fmla="*/ 3601160 h 4504080"/>
              <a:gd name="connsiteX81" fmla="*/ 0 w 11199600"/>
              <a:gd name="connsiteY81" fmla="*/ 3567082 h 4504080"/>
              <a:gd name="connsiteX82" fmla="*/ 0 w 11199600"/>
              <a:gd name="connsiteY82" fmla="*/ 3459083 h 4504080"/>
              <a:gd name="connsiteX83" fmla="*/ 0 w 11199600"/>
              <a:gd name="connsiteY83" fmla="*/ 3454057 h 4504080"/>
              <a:gd name="connsiteX84" fmla="*/ 0 w 11199600"/>
              <a:gd name="connsiteY84" fmla="*/ 3326920 h 4504080"/>
              <a:gd name="connsiteX85" fmla="*/ 0 w 11199600"/>
              <a:gd name="connsiteY85" fmla="*/ 3301235 h 4504080"/>
              <a:gd name="connsiteX86" fmla="*/ 0 w 11199600"/>
              <a:gd name="connsiteY86" fmla="*/ 3184843 h 4504080"/>
              <a:gd name="connsiteX87" fmla="*/ 0 w 11199600"/>
              <a:gd name="connsiteY87" fmla="*/ 3126785 h 4504080"/>
              <a:gd name="connsiteX88" fmla="*/ 0 w 11199600"/>
              <a:gd name="connsiteY88" fmla="*/ 3026995 h 4504080"/>
              <a:gd name="connsiteX89" fmla="*/ 0 w 11199600"/>
              <a:gd name="connsiteY89" fmla="*/ 2934905 h 4504080"/>
              <a:gd name="connsiteX90" fmla="*/ 0 w 11199600"/>
              <a:gd name="connsiteY90" fmla="*/ 2852545 h 4504080"/>
              <a:gd name="connsiteX91" fmla="*/ 0 w 11199600"/>
              <a:gd name="connsiteY91" fmla="*/ 2724763 h 4504080"/>
              <a:gd name="connsiteX92" fmla="*/ 0 w 11199600"/>
              <a:gd name="connsiteY92" fmla="*/ 2660665 h 4504080"/>
              <a:gd name="connsiteX93" fmla="*/ 0 w 11199600"/>
              <a:gd name="connsiteY93" fmla="*/ 2495530 h 4504080"/>
              <a:gd name="connsiteX94" fmla="*/ 0 w 11199600"/>
              <a:gd name="connsiteY94" fmla="*/ 2450523 h 4504080"/>
              <a:gd name="connsiteX95" fmla="*/ 0 w 11199600"/>
              <a:gd name="connsiteY95" fmla="*/ 2246376 h 4504080"/>
              <a:gd name="connsiteX96" fmla="*/ 0 w 11199600"/>
              <a:gd name="connsiteY96" fmla="*/ 2221290 h 4504080"/>
              <a:gd name="connsiteX97" fmla="*/ 0 w 11199600"/>
              <a:gd name="connsiteY97" fmla="*/ 1984894 h 4504080"/>
              <a:gd name="connsiteX98" fmla="*/ 0 w 11199600"/>
              <a:gd name="connsiteY98" fmla="*/ 1976471 h 4504080"/>
              <a:gd name="connsiteX99" fmla="*/ 0 w 11199600"/>
              <a:gd name="connsiteY99" fmla="*/ 1972136 h 4504080"/>
              <a:gd name="connsiteX100" fmla="*/ 0 w 11199600"/>
              <a:gd name="connsiteY100" fmla="*/ 1906316 h 4504080"/>
              <a:gd name="connsiteX101" fmla="*/ 0 w 11199600"/>
              <a:gd name="connsiteY101" fmla="*/ 1866658 h 4504080"/>
              <a:gd name="connsiteX102" fmla="*/ 0 w 11199600"/>
              <a:gd name="connsiteY102" fmla="*/ 1702231 h 4504080"/>
              <a:gd name="connsiteX103" fmla="*/ 0 w 11199600"/>
              <a:gd name="connsiteY103" fmla="*/ 1684984 h 4504080"/>
              <a:gd name="connsiteX104" fmla="*/ 0 w 11199600"/>
              <a:gd name="connsiteY104" fmla="*/ 1626118 h 4504080"/>
              <a:gd name="connsiteX105" fmla="*/ 0 w 11199600"/>
              <a:gd name="connsiteY105" fmla="*/ 1592418 h 4504080"/>
              <a:gd name="connsiteX106" fmla="*/ 0 w 11199600"/>
              <a:gd name="connsiteY106" fmla="*/ 1529519 h 4504080"/>
              <a:gd name="connsiteX107" fmla="*/ 0 w 11199600"/>
              <a:gd name="connsiteY107" fmla="*/ 1255278 h 4504080"/>
              <a:gd name="connsiteX108" fmla="*/ 0 w 11199600"/>
              <a:gd name="connsiteY108" fmla="*/ 1168307 h 4504080"/>
              <a:gd name="connsiteX109" fmla="*/ 0 w 11199600"/>
              <a:gd name="connsiteY109" fmla="*/ 894067 h 4504080"/>
              <a:gd name="connsiteX110" fmla="*/ 0 w 11199600"/>
              <a:gd name="connsiteY110" fmla="*/ 782195 h 4504080"/>
              <a:gd name="connsiteX111" fmla="*/ 0 w 11199600"/>
              <a:gd name="connsiteY111" fmla="*/ 507955 h 4504080"/>
              <a:gd name="connsiteX112" fmla="*/ 0 w 11199600"/>
              <a:gd name="connsiteY112" fmla="*/ 370350 h 4504080"/>
              <a:gd name="connsiteX113" fmla="*/ 0 w 11199600"/>
              <a:gd name="connsiteY113" fmla="*/ 96110 h 4504080"/>
              <a:gd name="connsiteX114" fmla="*/ 95997 w 11199600"/>
              <a:gd name="connsiteY114" fmla="*/ 0 h 450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1199600" h="4504080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26118"/>
                </a:lnTo>
                <a:lnTo>
                  <a:pt x="11199600" y="1651536"/>
                </a:lnTo>
                <a:lnTo>
                  <a:pt x="11199600" y="1762133"/>
                </a:lnTo>
                <a:lnTo>
                  <a:pt x="11199600" y="1779318"/>
                </a:lnTo>
                <a:lnTo>
                  <a:pt x="11199600" y="1787219"/>
                </a:lnTo>
                <a:lnTo>
                  <a:pt x="11199600" y="1843417"/>
                </a:lnTo>
                <a:lnTo>
                  <a:pt x="11199600" y="1984894"/>
                </a:lnTo>
                <a:lnTo>
                  <a:pt x="11199600" y="2032038"/>
                </a:lnTo>
                <a:lnTo>
                  <a:pt x="11199600" y="2036373"/>
                </a:lnTo>
                <a:cubicBezTo>
                  <a:pt x="11199600" y="2122837"/>
                  <a:pt x="11199600" y="2212759"/>
                  <a:pt x="11199600" y="2306279"/>
                </a:cubicBezTo>
                <a:lnTo>
                  <a:pt x="11199600" y="2323525"/>
                </a:lnTo>
                <a:lnTo>
                  <a:pt x="11199600" y="2597765"/>
                </a:lnTo>
                <a:lnTo>
                  <a:pt x="11199600" y="2637423"/>
                </a:lnTo>
                <a:lnTo>
                  <a:pt x="11199600" y="2911664"/>
                </a:lnTo>
                <a:lnTo>
                  <a:pt x="11199600" y="2974563"/>
                </a:lnTo>
                <a:lnTo>
                  <a:pt x="11199600" y="3248803"/>
                </a:lnTo>
                <a:lnTo>
                  <a:pt x="11199600" y="3335774"/>
                </a:lnTo>
                <a:lnTo>
                  <a:pt x="11199600" y="3610014"/>
                </a:lnTo>
                <a:lnTo>
                  <a:pt x="11199600" y="3721887"/>
                </a:lnTo>
                <a:lnTo>
                  <a:pt x="11199600" y="3996127"/>
                </a:lnTo>
                <a:lnTo>
                  <a:pt x="11199600" y="4133731"/>
                </a:lnTo>
                <a:lnTo>
                  <a:pt x="11199600" y="4407971"/>
                </a:lnTo>
                <a:cubicBezTo>
                  <a:pt x="11199600" y="4480054"/>
                  <a:pt x="11145602" y="4498074"/>
                  <a:pt x="11118603" y="4502580"/>
                </a:cubicBezTo>
                <a:lnTo>
                  <a:pt x="11103613" y="4504080"/>
                </a:lnTo>
                <a:lnTo>
                  <a:pt x="95989" y="4504080"/>
                </a:lnTo>
                <a:lnTo>
                  <a:pt x="64311" y="4499952"/>
                </a:lnTo>
                <a:cubicBezTo>
                  <a:pt x="0" y="4481555"/>
                  <a:pt x="0" y="4407971"/>
                  <a:pt x="0" y="4407971"/>
                </a:cubicBezTo>
                <a:lnTo>
                  <a:pt x="0" y="4404236"/>
                </a:lnTo>
                <a:lnTo>
                  <a:pt x="0" y="4395365"/>
                </a:lnTo>
                <a:lnTo>
                  <a:pt x="0" y="4378089"/>
                </a:lnTo>
                <a:lnTo>
                  <a:pt x="0" y="4349608"/>
                </a:lnTo>
                <a:lnTo>
                  <a:pt x="0" y="4307120"/>
                </a:lnTo>
                <a:lnTo>
                  <a:pt x="0" y="4247823"/>
                </a:lnTo>
                <a:lnTo>
                  <a:pt x="0" y="4168916"/>
                </a:lnTo>
                <a:lnTo>
                  <a:pt x="0" y="4133731"/>
                </a:lnTo>
                <a:lnTo>
                  <a:pt x="0" y="4132625"/>
                </a:lnTo>
                <a:lnTo>
                  <a:pt x="0" y="4124877"/>
                </a:lnTo>
                <a:lnTo>
                  <a:pt x="0" y="4104034"/>
                </a:lnTo>
                <a:lnTo>
                  <a:pt x="0" y="4103849"/>
                </a:lnTo>
                <a:lnTo>
                  <a:pt x="0" y="4062900"/>
                </a:lnTo>
                <a:lnTo>
                  <a:pt x="0" y="4032880"/>
                </a:lnTo>
                <a:lnTo>
                  <a:pt x="0" y="4028361"/>
                </a:lnTo>
                <a:lnTo>
                  <a:pt x="0" y="3995389"/>
                </a:lnTo>
                <a:lnTo>
                  <a:pt x="0" y="3949598"/>
                </a:lnTo>
                <a:lnTo>
                  <a:pt x="0" y="3941067"/>
                </a:lnTo>
                <a:lnTo>
                  <a:pt x="0" y="3894676"/>
                </a:lnTo>
                <a:lnTo>
                  <a:pt x="0" y="3841322"/>
                </a:lnTo>
                <a:lnTo>
                  <a:pt x="0" y="3829794"/>
                </a:lnTo>
                <a:lnTo>
                  <a:pt x="0" y="3754121"/>
                </a:lnTo>
                <a:lnTo>
                  <a:pt x="0" y="3728297"/>
                </a:lnTo>
                <a:lnTo>
                  <a:pt x="0" y="3666827"/>
                </a:lnTo>
                <a:lnTo>
                  <a:pt x="0" y="3601160"/>
                </a:lnTo>
                <a:lnTo>
                  <a:pt x="0" y="3567082"/>
                </a:lnTo>
                <a:lnTo>
                  <a:pt x="0" y="3459083"/>
                </a:lnTo>
                <a:lnTo>
                  <a:pt x="0" y="3454057"/>
                </a:lnTo>
                <a:lnTo>
                  <a:pt x="0" y="3326920"/>
                </a:lnTo>
                <a:lnTo>
                  <a:pt x="0" y="3301235"/>
                </a:lnTo>
                <a:lnTo>
                  <a:pt x="0" y="3184843"/>
                </a:lnTo>
                <a:lnTo>
                  <a:pt x="0" y="3126785"/>
                </a:lnTo>
                <a:lnTo>
                  <a:pt x="0" y="3026995"/>
                </a:lnTo>
                <a:lnTo>
                  <a:pt x="0" y="2934905"/>
                </a:lnTo>
                <a:lnTo>
                  <a:pt x="0" y="2852545"/>
                </a:lnTo>
                <a:lnTo>
                  <a:pt x="0" y="2724763"/>
                </a:lnTo>
                <a:lnTo>
                  <a:pt x="0" y="2660665"/>
                </a:lnTo>
                <a:lnTo>
                  <a:pt x="0" y="2495530"/>
                </a:lnTo>
                <a:lnTo>
                  <a:pt x="0" y="2450523"/>
                </a:lnTo>
                <a:lnTo>
                  <a:pt x="0" y="2246376"/>
                </a:lnTo>
                <a:lnTo>
                  <a:pt x="0" y="2221290"/>
                </a:lnTo>
                <a:lnTo>
                  <a:pt x="0" y="1984894"/>
                </a:lnTo>
                <a:lnTo>
                  <a:pt x="0" y="1976471"/>
                </a:lnTo>
                <a:lnTo>
                  <a:pt x="0" y="197213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702231"/>
                </a:lnTo>
                <a:lnTo>
                  <a:pt x="0" y="1684984"/>
                </a:lnTo>
                <a:lnTo>
                  <a:pt x="0" y="162611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39676" tIns="35996" rIns="35996" bIns="35996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838200" y="257726"/>
            <a:ext cx="11059319" cy="11798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4600"/>
              </a:lnSpc>
              <a:defRPr sz="4600"/>
            </a:lvl1pPr>
          </a:lstStyle>
          <a:p>
            <a:r>
              <a:rPr lang="en-US" noProof="0" smtClean="0"/>
              <a:t>Click to edit </a:t>
            </a:r>
            <a:br>
              <a:rPr lang="en-US" noProof="0" smtClean="0"/>
            </a:br>
            <a:r>
              <a:rPr lang="en-US" noProof="0" smtClean="0"/>
              <a:t>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23433" y="6358070"/>
            <a:ext cx="1183250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39382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2">
          <p15:clr>
            <a:srgbClr val="FBAE40"/>
          </p15:clr>
        </p15:guide>
      </p15:sldGuideLst>
    </p:ext>
  </p:extLs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001" y="1278384"/>
            <a:ext cx="5058750" cy="4921200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278384"/>
            <a:ext cx="5058000" cy="49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465842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001" y="1795636"/>
            <a:ext cx="5058750" cy="4403948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795636"/>
            <a:ext cx="5058000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845575" y="1277982"/>
            <a:ext cx="5059925" cy="436017"/>
          </a:xfrm>
        </p:spPr>
        <p:txBody>
          <a:bodyPr>
            <a:noAutofit/>
          </a:bodyPr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274826" y="1277982"/>
            <a:ext cx="5059925" cy="436017"/>
          </a:xfrm>
        </p:spPr>
        <p:txBody>
          <a:bodyPr>
            <a:noAutofit/>
          </a:bodyPr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76392026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001" y="1278000"/>
            <a:ext cx="5058750" cy="4929584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795636"/>
            <a:ext cx="5058000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845575" y="1277982"/>
            <a:ext cx="5059925" cy="436017"/>
          </a:xfrm>
        </p:spPr>
        <p:txBody>
          <a:bodyPr>
            <a:noAutofit/>
          </a:bodyPr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05154824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001" y="1795636"/>
            <a:ext cx="5058750" cy="4403948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278000"/>
            <a:ext cx="5058000" cy="49295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274826" y="1277982"/>
            <a:ext cx="5059925" cy="436017"/>
          </a:xfrm>
        </p:spPr>
        <p:txBody>
          <a:bodyPr>
            <a:noAutofit/>
          </a:bodyPr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72863992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3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751" y="1278001"/>
            <a:ext cx="5058000" cy="233017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4" name="Text Placeholder 2"/>
          <p:cNvSpPr>
            <a:spLocks noGrp="1"/>
          </p:cNvSpPr>
          <p:nvPr>
            <p:ph idx="28"/>
          </p:nvPr>
        </p:nvSpPr>
        <p:spPr bwMode="gray">
          <a:xfrm>
            <a:off x="845575" y="1278001"/>
            <a:ext cx="5058000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5" name="Content Placeholder 3"/>
          <p:cNvSpPr>
            <a:spLocks noGrp="1"/>
          </p:cNvSpPr>
          <p:nvPr>
            <p:ph sz="half" idx="29"/>
          </p:nvPr>
        </p:nvSpPr>
        <p:spPr bwMode="gray">
          <a:xfrm>
            <a:off x="6276751" y="3877592"/>
            <a:ext cx="5058000" cy="233017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idx="30"/>
          </p:nvPr>
        </p:nvSpPr>
        <p:spPr bwMode="gray">
          <a:xfrm>
            <a:off x="845575" y="3877592"/>
            <a:ext cx="5058000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42010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  <p15:guide id="3" orient="horz" pos="2274">
          <p15:clr>
            <a:srgbClr val="FBAE40"/>
          </p15:clr>
        </p15:guide>
        <p15:guide id="4" orient="horz" pos="244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6" y="1795637"/>
            <a:ext cx="10489175" cy="44051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61" indent="-268261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21" indent="-266673">
              <a:buClr>
                <a:schemeClr val="accent2"/>
              </a:buClr>
              <a:defRPr/>
            </a:lvl3pPr>
            <a:lvl4pPr marL="807958" indent="-260324">
              <a:buClr>
                <a:schemeClr val="accent3"/>
              </a:buClr>
              <a:defRPr/>
            </a:lvl4pPr>
            <a:lvl5pPr marL="1071455" indent="-252387">
              <a:buClr>
                <a:schemeClr val="accent4"/>
              </a:buCl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845575" y="1277982"/>
            <a:ext cx="10489175" cy="436017"/>
          </a:xfrm>
        </p:spPr>
        <p:txBody>
          <a:bodyPr>
            <a:noAutofit/>
          </a:bodyPr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999866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838200" y="1270001"/>
            <a:ext cx="6786000" cy="49784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8454232" y="280733"/>
            <a:ext cx="3442280" cy="5920066"/>
          </a:xfrm>
          <a:custGeom>
            <a:avLst/>
            <a:gdLst>
              <a:gd name="connsiteX0" fmla="*/ 0 w 3442280"/>
              <a:gd name="connsiteY0" fmla="*/ 0 h 5920066"/>
              <a:gd name="connsiteX1" fmla="*/ 3346283 w 3442280"/>
              <a:gd name="connsiteY1" fmla="*/ 0 h 5920066"/>
              <a:gd name="connsiteX2" fmla="*/ 3442280 w 3442280"/>
              <a:gd name="connsiteY2" fmla="*/ 96110 h 5920066"/>
              <a:gd name="connsiteX3" fmla="*/ 3442280 w 3442280"/>
              <a:gd name="connsiteY3" fmla="*/ 335165 h 5920066"/>
              <a:gd name="connsiteX4" fmla="*/ 3442280 w 3442280"/>
              <a:gd name="connsiteY4" fmla="*/ 370350 h 5920066"/>
              <a:gd name="connsiteX5" fmla="*/ 3442280 w 3442280"/>
              <a:gd name="connsiteY5" fmla="*/ 379204 h 5920066"/>
              <a:gd name="connsiteX6" fmla="*/ 3442280 w 3442280"/>
              <a:gd name="connsiteY6" fmla="*/ 400048 h 5920066"/>
              <a:gd name="connsiteX7" fmla="*/ 3442280 w 3442280"/>
              <a:gd name="connsiteY7" fmla="*/ 400232 h 5920066"/>
              <a:gd name="connsiteX8" fmla="*/ 3442280 w 3442280"/>
              <a:gd name="connsiteY8" fmla="*/ 471202 h 5920066"/>
              <a:gd name="connsiteX9" fmla="*/ 3442280 w 3442280"/>
              <a:gd name="connsiteY9" fmla="*/ 475721 h 5920066"/>
              <a:gd name="connsiteX10" fmla="*/ 3442280 w 3442280"/>
              <a:gd name="connsiteY10" fmla="*/ 508692 h 5920066"/>
              <a:gd name="connsiteX11" fmla="*/ 3442280 w 3442280"/>
              <a:gd name="connsiteY11" fmla="*/ 554484 h 5920066"/>
              <a:gd name="connsiteX12" fmla="*/ 3442280 w 3442280"/>
              <a:gd name="connsiteY12" fmla="*/ 563015 h 5920066"/>
              <a:gd name="connsiteX13" fmla="*/ 3442280 w 3442280"/>
              <a:gd name="connsiteY13" fmla="*/ 609405 h 5920066"/>
              <a:gd name="connsiteX14" fmla="*/ 3442280 w 3442280"/>
              <a:gd name="connsiteY14" fmla="*/ 662759 h 5920066"/>
              <a:gd name="connsiteX15" fmla="*/ 3442280 w 3442280"/>
              <a:gd name="connsiteY15" fmla="*/ 674288 h 5920066"/>
              <a:gd name="connsiteX16" fmla="*/ 3442280 w 3442280"/>
              <a:gd name="connsiteY16" fmla="*/ 749961 h 5920066"/>
              <a:gd name="connsiteX17" fmla="*/ 3442280 w 3442280"/>
              <a:gd name="connsiteY17" fmla="*/ 775785 h 5920066"/>
              <a:gd name="connsiteX18" fmla="*/ 3442280 w 3442280"/>
              <a:gd name="connsiteY18" fmla="*/ 837255 h 5920066"/>
              <a:gd name="connsiteX19" fmla="*/ 3442280 w 3442280"/>
              <a:gd name="connsiteY19" fmla="*/ 902921 h 5920066"/>
              <a:gd name="connsiteX20" fmla="*/ 3442280 w 3442280"/>
              <a:gd name="connsiteY20" fmla="*/ 936999 h 5920066"/>
              <a:gd name="connsiteX21" fmla="*/ 3442280 w 3442280"/>
              <a:gd name="connsiteY21" fmla="*/ 1016524 h 5920066"/>
              <a:gd name="connsiteX22" fmla="*/ 3442280 w 3442280"/>
              <a:gd name="connsiteY22" fmla="*/ 1029131 h 5920066"/>
              <a:gd name="connsiteX23" fmla="*/ 3442280 w 3442280"/>
              <a:gd name="connsiteY23" fmla="*/ 1044999 h 5920066"/>
              <a:gd name="connsiteX24" fmla="*/ 3442280 w 3442280"/>
              <a:gd name="connsiteY24" fmla="*/ 1046406 h 5920066"/>
              <a:gd name="connsiteX25" fmla="*/ 3442280 w 3442280"/>
              <a:gd name="connsiteY25" fmla="*/ 1050025 h 5920066"/>
              <a:gd name="connsiteX26" fmla="*/ 3442280 w 3442280"/>
              <a:gd name="connsiteY26" fmla="*/ 1074887 h 5920066"/>
              <a:gd name="connsiteX27" fmla="*/ 3442280 w 3442280"/>
              <a:gd name="connsiteY27" fmla="*/ 1176672 h 5920066"/>
              <a:gd name="connsiteX28" fmla="*/ 3442280 w 3442280"/>
              <a:gd name="connsiteY28" fmla="*/ 1177161 h 5920066"/>
              <a:gd name="connsiteX29" fmla="*/ 3442280 w 3442280"/>
              <a:gd name="connsiteY29" fmla="*/ 1202847 h 5920066"/>
              <a:gd name="connsiteX30" fmla="*/ 3442280 w 3442280"/>
              <a:gd name="connsiteY30" fmla="*/ 1255579 h 5920066"/>
              <a:gd name="connsiteX31" fmla="*/ 3442280 w 3442280"/>
              <a:gd name="connsiteY31" fmla="*/ 1290764 h 5920066"/>
              <a:gd name="connsiteX32" fmla="*/ 3442280 w 3442280"/>
              <a:gd name="connsiteY32" fmla="*/ 1299618 h 5920066"/>
              <a:gd name="connsiteX33" fmla="*/ 3442280 w 3442280"/>
              <a:gd name="connsiteY33" fmla="*/ 1319239 h 5920066"/>
              <a:gd name="connsiteX34" fmla="*/ 3442280 w 3442280"/>
              <a:gd name="connsiteY34" fmla="*/ 1320462 h 5920066"/>
              <a:gd name="connsiteX35" fmla="*/ 3442280 w 3442280"/>
              <a:gd name="connsiteY35" fmla="*/ 1320646 h 5920066"/>
              <a:gd name="connsiteX36" fmla="*/ 3442280 w 3442280"/>
              <a:gd name="connsiteY36" fmla="*/ 1349128 h 5920066"/>
              <a:gd name="connsiteX37" fmla="*/ 3442280 w 3442280"/>
              <a:gd name="connsiteY37" fmla="*/ 1377296 h 5920066"/>
              <a:gd name="connsiteX38" fmla="*/ 3442280 w 3442280"/>
              <a:gd name="connsiteY38" fmla="*/ 1391616 h 5920066"/>
              <a:gd name="connsiteX39" fmla="*/ 3442280 w 3442280"/>
              <a:gd name="connsiteY39" fmla="*/ 1396135 h 5920066"/>
              <a:gd name="connsiteX40" fmla="*/ 3442280 w 3442280"/>
              <a:gd name="connsiteY40" fmla="*/ 1429106 h 5920066"/>
              <a:gd name="connsiteX41" fmla="*/ 3442280 w 3442280"/>
              <a:gd name="connsiteY41" fmla="*/ 1474898 h 5920066"/>
              <a:gd name="connsiteX42" fmla="*/ 3442280 w 3442280"/>
              <a:gd name="connsiteY42" fmla="*/ 1477087 h 5920066"/>
              <a:gd name="connsiteX43" fmla="*/ 3442280 w 3442280"/>
              <a:gd name="connsiteY43" fmla="*/ 1483429 h 5920066"/>
              <a:gd name="connsiteX44" fmla="*/ 3442280 w 3442280"/>
              <a:gd name="connsiteY44" fmla="*/ 1529819 h 5920066"/>
              <a:gd name="connsiteX45" fmla="*/ 3442280 w 3442280"/>
              <a:gd name="connsiteY45" fmla="*/ 1569177 h 5920066"/>
              <a:gd name="connsiteX46" fmla="*/ 3442280 w 3442280"/>
              <a:gd name="connsiteY46" fmla="*/ 1583173 h 5920066"/>
              <a:gd name="connsiteX47" fmla="*/ 3442280 w 3442280"/>
              <a:gd name="connsiteY47" fmla="*/ 1594702 h 5920066"/>
              <a:gd name="connsiteX48" fmla="*/ 3442280 w 3442280"/>
              <a:gd name="connsiteY48" fmla="*/ 1651536 h 5920066"/>
              <a:gd name="connsiteX49" fmla="*/ 3442280 w 3442280"/>
              <a:gd name="connsiteY49" fmla="*/ 1670375 h 5920066"/>
              <a:gd name="connsiteX50" fmla="*/ 3442280 w 3442280"/>
              <a:gd name="connsiteY50" fmla="*/ 1696199 h 5920066"/>
              <a:gd name="connsiteX51" fmla="*/ 3442280 w 3442280"/>
              <a:gd name="connsiteY51" fmla="*/ 1757669 h 5920066"/>
              <a:gd name="connsiteX52" fmla="*/ 3442280 w 3442280"/>
              <a:gd name="connsiteY52" fmla="*/ 1779318 h 5920066"/>
              <a:gd name="connsiteX53" fmla="*/ 3442280 w 3442280"/>
              <a:gd name="connsiteY53" fmla="*/ 1823335 h 5920066"/>
              <a:gd name="connsiteX54" fmla="*/ 3442280 w 3442280"/>
              <a:gd name="connsiteY54" fmla="*/ 1843417 h 5920066"/>
              <a:gd name="connsiteX55" fmla="*/ 3442280 w 3442280"/>
              <a:gd name="connsiteY55" fmla="*/ 1857413 h 5920066"/>
              <a:gd name="connsiteX56" fmla="*/ 3442280 w 3442280"/>
              <a:gd name="connsiteY56" fmla="*/ 1965413 h 5920066"/>
              <a:gd name="connsiteX57" fmla="*/ 3442280 w 3442280"/>
              <a:gd name="connsiteY57" fmla="*/ 1970439 h 5920066"/>
              <a:gd name="connsiteX58" fmla="*/ 3442280 w 3442280"/>
              <a:gd name="connsiteY58" fmla="*/ 2008551 h 5920066"/>
              <a:gd name="connsiteX59" fmla="*/ 3442280 w 3442280"/>
              <a:gd name="connsiteY59" fmla="*/ 2053558 h 5920066"/>
              <a:gd name="connsiteX60" fmla="*/ 3442280 w 3442280"/>
              <a:gd name="connsiteY60" fmla="*/ 2097575 h 5920066"/>
              <a:gd name="connsiteX61" fmla="*/ 3442280 w 3442280"/>
              <a:gd name="connsiteY61" fmla="*/ 2123261 h 5920066"/>
              <a:gd name="connsiteX62" fmla="*/ 3442280 w 3442280"/>
              <a:gd name="connsiteY62" fmla="*/ 2239653 h 5920066"/>
              <a:gd name="connsiteX63" fmla="*/ 3442280 w 3442280"/>
              <a:gd name="connsiteY63" fmla="*/ 2257705 h 5920066"/>
              <a:gd name="connsiteX64" fmla="*/ 3442280 w 3442280"/>
              <a:gd name="connsiteY64" fmla="*/ 2282791 h 5920066"/>
              <a:gd name="connsiteX65" fmla="*/ 3442280 w 3442280"/>
              <a:gd name="connsiteY65" fmla="*/ 2297710 h 5920066"/>
              <a:gd name="connsiteX66" fmla="*/ 3442280 w 3442280"/>
              <a:gd name="connsiteY66" fmla="*/ 2397501 h 5920066"/>
              <a:gd name="connsiteX67" fmla="*/ 3442280 w 3442280"/>
              <a:gd name="connsiteY67" fmla="*/ 2489591 h 5920066"/>
              <a:gd name="connsiteX68" fmla="*/ 3442280 w 3442280"/>
              <a:gd name="connsiteY68" fmla="*/ 2527610 h 5920066"/>
              <a:gd name="connsiteX69" fmla="*/ 3442280 w 3442280"/>
              <a:gd name="connsiteY69" fmla="*/ 2531945 h 5920066"/>
              <a:gd name="connsiteX70" fmla="*/ 3442280 w 3442280"/>
              <a:gd name="connsiteY70" fmla="*/ 2571950 h 5920066"/>
              <a:gd name="connsiteX71" fmla="*/ 3442280 w 3442280"/>
              <a:gd name="connsiteY71" fmla="*/ 2699732 h 5920066"/>
              <a:gd name="connsiteX72" fmla="*/ 3442280 w 3442280"/>
              <a:gd name="connsiteY72" fmla="*/ 2763831 h 5920066"/>
              <a:gd name="connsiteX73" fmla="*/ 3442280 w 3442280"/>
              <a:gd name="connsiteY73" fmla="*/ 2801851 h 5920066"/>
              <a:gd name="connsiteX74" fmla="*/ 3442280 w 3442280"/>
              <a:gd name="connsiteY74" fmla="*/ 2819097 h 5920066"/>
              <a:gd name="connsiteX75" fmla="*/ 3442280 w 3442280"/>
              <a:gd name="connsiteY75" fmla="*/ 2928965 h 5920066"/>
              <a:gd name="connsiteX76" fmla="*/ 3442280 w 3442280"/>
              <a:gd name="connsiteY76" fmla="*/ 2973972 h 5920066"/>
              <a:gd name="connsiteX77" fmla="*/ 3442280 w 3442280"/>
              <a:gd name="connsiteY77" fmla="*/ 3093337 h 5920066"/>
              <a:gd name="connsiteX78" fmla="*/ 3442280 w 3442280"/>
              <a:gd name="connsiteY78" fmla="*/ 3132995 h 5920066"/>
              <a:gd name="connsiteX79" fmla="*/ 3442280 w 3442280"/>
              <a:gd name="connsiteY79" fmla="*/ 3178119 h 5920066"/>
              <a:gd name="connsiteX80" fmla="*/ 3442280 w 3442280"/>
              <a:gd name="connsiteY80" fmla="*/ 3203205 h 5920066"/>
              <a:gd name="connsiteX81" fmla="*/ 3442280 w 3442280"/>
              <a:gd name="connsiteY81" fmla="*/ 3407236 h 5920066"/>
              <a:gd name="connsiteX82" fmla="*/ 3442280 w 3442280"/>
              <a:gd name="connsiteY82" fmla="*/ 3448024 h 5920066"/>
              <a:gd name="connsiteX83" fmla="*/ 3442280 w 3442280"/>
              <a:gd name="connsiteY83" fmla="*/ 3452359 h 5920066"/>
              <a:gd name="connsiteX84" fmla="*/ 3442280 w 3442280"/>
              <a:gd name="connsiteY84" fmla="*/ 3470135 h 5920066"/>
              <a:gd name="connsiteX85" fmla="*/ 3442280 w 3442280"/>
              <a:gd name="connsiteY85" fmla="*/ 3722265 h 5920066"/>
              <a:gd name="connsiteX86" fmla="*/ 3442280 w 3442280"/>
              <a:gd name="connsiteY86" fmla="*/ 3739511 h 5920066"/>
              <a:gd name="connsiteX87" fmla="*/ 3442280 w 3442280"/>
              <a:gd name="connsiteY87" fmla="*/ 3744375 h 5920066"/>
              <a:gd name="connsiteX88" fmla="*/ 3442280 w 3442280"/>
              <a:gd name="connsiteY88" fmla="*/ 3831346 h 5920066"/>
              <a:gd name="connsiteX89" fmla="*/ 3442280 w 3442280"/>
              <a:gd name="connsiteY89" fmla="*/ 4013751 h 5920066"/>
              <a:gd name="connsiteX90" fmla="*/ 3442280 w 3442280"/>
              <a:gd name="connsiteY90" fmla="*/ 4053409 h 5920066"/>
              <a:gd name="connsiteX91" fmla="*/ 3442280 w 3442280"/>
              <a:gd name="connsiteY91" fmla="*/ 4105586 h 5920066"/>
              <a:gd name="connsiteX92" fmla="*/ 3442280 w 3442280"/>
              <a:gd name="connsiteY92" fmla="*/ 4217459 h 5920066"/>
              <a:gd name="connsiteX93" fmla="*/ 3442280 w 3442280"/>
              <a:gd name="connsiteY93" fmla="*/ 4327650 h 5920066"/>
              <a:gd name="connsiteX94" fmla="*/ 3442280 w 3442280"/>
              <a:gd name="connsiteY94" fmla="*/ 4390549 h 5920066"/>
              <a:gd name="connsiteX95" fmla="*/ 3442280 w 3442280"/>
              <a:gd name="connsiteY95" fmla="*/ 4491699 h 5920066"/>
              <a:gd name="connsiteX96" fmla="*/ 3442280 w 3442280"/>
              <a:gd name="connsiteY96" fmla="*/ 4629303 h 5920066"/>
              <a:gd name="connsiteX97" fmla="*/ 3442280 w 3442280"/>
              <a:gd name="connsiteY97" fmla="*/ 4664789 h 5920066"/>
              <a:gd name="connsiteX98" fmla="*/ 3442280 w 3442280"/>
              <a:gd name="connsiteY98" fmla="*/ 4751760 h 5920066"/>
              <a:gd name="connsiteX99" fmla="*/ 3442280 w 3442280"/>
              <a:gd name="connsiteY99" fmla="*/ 4903543 h 5920066"/>
              <a:gd name="connsiteX100" fmla="*/ 3442280 w 3442280"/>
              <a:gd name="connsiteY100" fmla="*/ 5026000 h 5920066"/>
              <a:gd name="connsiteX101" fmla="*/ 3442280 w 3442280"/>
              <a:gd name="connsiteY101" fmla="*/ 5137873 h 5920066"/>
              <a:gd name="connsiteX102" fmla="*/ 3442280 w 3442280"/>
              <a:gd name="connsiteY102" fmla="*/ 5412113 h 5920066"/>
              <a:gd name="connsiteX103" fmla="*/ 3442280 w 3442280"/>
              <a:gd name="connsiteY103" fmla="*/ 5549717 h 5920066"/>
              <a:gd name="connsiteX104" fmla="*/ 3442280 w 3442280"/>
              <a:gd name="connsiteY104" fmla="*/ 5823957 h 5920066"/>
              <a:gd name="connsiteX105" fmla="*/ 3361283 w 3442280"/>
              <a:gd name="connsiteY105" fmla="*/ 5918566 h 5920066"/>
              <a:gd name="connsiteX106" fmla="*/ 3346294 w 3442280"/>
              <a:gd name="connsiteY106" fmla="*/ 5920066 h 5920066"/>
              <a:gd name="connsiteX107" fmla="*/ 0 w 3442280"/>
              <a:gd name="connsiteY107" fmla="*/ 5920066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442280" h="5920066">
                <a:moveTo>
                  <a:pt x="0" y="0"/>
                </a:moveTo>
                <a:lnTo>
                  <a:pt x="3346283" y="0"/>
                </a:lnTo>
                <a:cubicBezTo>
                  <a:pt x="3442280" y="0"/>
                  <a:pt x="3442280" y="96110"/>
                  <a:pt x="3442280" y="96110"/>
                </a:cubicBezTo>
                <a:cubicBezTo>
                  <a:pt x="3442280" y="96110"/>
                  <a:pt x="3442280" y="96110"/>
                  <a:pt x="3442280" y="335165"/>
                </a:cubicBezTo>
                <a:lnTo>
                  <a:pt x="3442280" y="370350"/>
                </a:lnTo>
                <a:cubicBezTo>
                  <a:pt x="3442280" y="370350"/>
                  <a:pt x="3442280" y="370350"/>
                  <a:pt x="3442280" y="379204"/>
                </a:cubicBezTo>
                <a:lnTo>
                  <a:pt x="3442280" y="400048"/>
                </a:lnTo>
                <a:lnTo>
                  <a:pt x="3442280" y="400232"/>
                </a:lnTo>
                <a:cubicBezTo>
                  <a:pt x="3442280" y="415173"/>
                  <a:pt x="3442280" y="437585"/>
                  <a:pt x="3442280" y="471202"/>
                </a:cubicBezTo>
                <a:lnTo>
                  <a:pt x="3442280" y="475721"/>
                </a:lnTo>
                <a:lnTo>
                  <a:pt x="3442280" y="508692"/>
                </a:lnTo>
                <a:cubicBezTo>
                  <a:pt x="3442280" y="522527"/>
                  <a:pt x="3442280" y="537744"/>
                  <a:pt x="3442280" y="554484"/>
                </a:cubicBezTo>
                <a:lnTo>
                  <a:pt x="3442280" y="563015"/>
                </a:lnTo>
                <a:lnTo>
                  <a:pt x="3442280" y="609405"/>
                </a:lnTo>
                <a:lnTo>
                  <a:pt x="3442280" y="662759"/>
                </a:lnTo>
                <a:lnTo>
                  <a:pt x="3442280" y="674288"/>
                </a:lnTo>
                <a:cubicBezTo>
                  <a:pt x="3442280" y="697668"/>
                  <a:pt x="3442280" y="722846"/>
                  <a:pt x="3442280" y="749961"/>
                </a:cubicBezTo>
                <a:lnTo>
                  <a:pt x="3442280" y="775785"/>
                </a:lnTo>
                <a:lnTo>
                  <a:pt x="3442280" y="837255"/>
                </a:lnTo>
                <a:lnTo>
                  <a:pt x="3442280" y="902921"/>
                </a:lnTo>
                <a:lnTo>
                  <a:pt x="3442280" y="936999"/>
                </a:lnTo>
                <a:lnTo>
                  <a:pt x="3442280" y="1016524"/>
                </a:lnTo>
                <a:cubicBezTo>
                  <a:pt x="3442280" y="1016524"/>
                  <a:pt x="3442280" y="1016524"/>
                  <a:pt x="3442280" y="1029131"/>
                </a:cubicBezTo>
                <a:lnTo>
                  <a:pt x="3442280" y="1044999"/>
                </a:lnTo>
                <a:lnTo>
                  <a:pt x="3442280" y="1046406"/>
                </a:lnTo>
                <a:lnTo>
                  <a:pt x="3442280" y="1050025"/>
                </a:lnTo>
                <a:lnTo>
                  <a:pt x="3442280" y="1074887"/>
                </a:lnTo>
                <a:cubicBezTo>
                  <a:pt x="3442280" y="1098232"/>
                  <a:pt x="3442280" y="1130916"/>
                  <a:pt x="3442280" y="1176672"/>
                </a:cubicBezTo>
                <a:lnTo>
                  <a:pt x="3442280" y="1177161"/>
                </a:lnTo>
                <a:lnTo>
                  <a:pt x="3442280" y="1202847"/>
                </a:lnTo>
                <a:lnTo>
                  <a:pt x="3442280" y="1255579"/>
                </a:lnTo>
                <a:lnTo>
                  <a:pt x="3442280" y="1290764"/>
                </a:lnTo>
                <a:cubicBezTo>
                  <a:pt x="3442280" y="1290764"/>
                  <a:pt x="3442280" y="1290764"/>
                  <a:pt x="3442280" y="1299618"/>
                </a:cubicBezTo>
                <a:lnTo>
                  <a:pt x="3442280" y="1319239"/>
                </a:lnTo>
                <a:lnTo>
                  <a:pt x="3442280" y="1320462"/>
                </a:lnTo>
                <a:lnTo>
                  <a:pt x="3442280" y="1320646"/>
                </a:lnTo>
                <a:cubicBezTo>
                  <a:pt x="3442280" y="1328117"/>
                  <a:pt x="3442280" y="1337455"/>
                  <a:pt x="3442280" y="1349128"/>
                </a:cubicBezTo>
                <a:lnTo>
                  <a:pt x="3442280" y="1377296"/>
                </a:lnTo>
                <a:lnTo>
                  <a:pt x="3442280" y="1391616"/>
                </a:lnTo>
                <a:lnTo>
                  <a:pt x="3442280" y="1396135"/>
                </a:lnTo>
                <a:lnTo>
                  <a:pt x="3442280" y="1429106"/>
                </a:lnTo>
                <a:cubicBezTo>
                  <a:pt x="3442280" y="1442941"/>
                  <a:pt x="3442280" y="1458158"/>
                  <a:pt x="3442280" y="1474898"/>
                </a:cubicBezTo>
                <a:lnTo>
                  <a:pt x="3442280" y="1477087"/>
                </a:lnTo>
                <a:lnTo>
                  <a:pt x="3442280" y="1483429"/>
                </a:lnTo>
                <a:lnTo>
                  <a:pt x="3442280" y="1529819"/>
                </a:lnTo>
                <a:lnTo>
                  <a:pt x="3442280" y="1569177"/>
                </a:lnTo>
                <a:lnTo>
                  <a:pt x="3442280" y="1583173"/>
                </a:lnTo>
                <a:lnTo>
                  <a:pt x="3442280" y="1594702"/>
                </a:lnTo>
                <a:lnTo>
                  <a:pt x="3442280" y="1651536"/>
                </a:lnTo>
                <a:lnTo>
                  <a:pt x="3442280" y="1670375"/>
                </a:lnTo>
                <a:lnTo>
                  <a:pt x="3442280" y="1696199"/>
                </a:lnTo>
                <a:lnTo>
                  <a:pt x="3442280" y="1757669"/>
                </a:lnTo>
                <a:lnTo>
                  <a:pt x="3442280" y="1779318"/>
                </a:lnTo>
                <a:lnTo>
                  <a:pt x="3442280" y="1823335"/>
                </a:lnTo>
                <a:lnTo>
                  <a:pt x="3442280" y="1843417"/>
                </a:lnTo>
                <a:lnTo>
                  <a:pt x="3442280" y="1857413"/>
                </a:lnTo>
                <a:lnTo>
                  <a:pt x="3442280" y="1965413"/>
                </a:lnTo>
                <a:lnTo>
                  <a:pt x="3442280" y="1970439"/>
                </a:lnTo>
                <a:lnTo>
                  <a:pt x="3442280" y="2008551"/>
                </a:lnTo>
                <a:lnTo>
                  <a:pt x="3442280" y="2053558"/>
                </a:lnTo>
                <a:lnTo>
                  <a:pt x="3442280" y="2097575"/>
                </a:lnTo>
                <a:lnTo>
                  <a:pt x="3442280" y="2123261"/>
                </a:lnTo>
                <a:lnTo>
                  <a:pt x="3442280" y="2239653"/>
                </a:lnTo>
                <a:lnTo>
                  <a:pt x="3442280" y="2257705"/>
                </a:lnTo>
                <a:lnTo>
                  <a:pt x="3442280" y="2282791"/>
                </a:lnTo>
                <a:lnTo>
                  <a:pt x="3442280" y="2297710"/>
                </a:lnTo>
                <a:lnTo>
                  <a:pt x="3442280" y="2397501"/>
                </a:lnTo>
                <a:lnTo>
                  <a:pt x="3442280" y="2489591"/>
                </a:lnTo>
                <a:lnTo>
                  <a:pt x="3442280" y="2527610"/>
                </a:lnTo>
                <a:lnTo>
                  <a:pt x="3442280" y="2531945"/>
                </a:lnTo>
                <a:lnTo>
                  <a:pt x="3442280" y="2571950"/>
                </a:lnTo>
                <a:lnTo>
                  <a:pt x="3442280" y="2699732"/>
                </a:lnTo>
                <a:lnTo>
                  <a:pt x="3442280" y="2763831"/>
                </a:lnTo>
                <a:lnTo>
                  <a:pt x="3442280" y="2801851"/>
                </a:lnTo>
                <a:lnTo>
                  <a:pt x="3442280" y="2819097"/>
                </a:lnTo>
                <a:lnTo>
                  <a:pt x="3442280" y="2928965"/>
                </a:lnTo>
                <a:lnTo>
                  <a:pt x="3442280" y="2973972"/>
                </a:lnTo>
                <a:lnTo>
                  <a:pt x="3442280" y="3093337"/>
                </a:lnTo>
                <a:lnTo>
                  <a:pt x="3442280" y="3132995"/>
                </a:lnTo>
                <a:lnTo>
                  <a:pt x="3442280" y="3178119"/>
                </a:lnTo>
                <a:lnTo>
                  <a:pt x="3442280" y="3203205"/>
                </a:lnTo>
                <a:lnTo>
                  <a:pt x="3442280" y="3407236"/>
                </a:lnTo>
                <a:lnTo>
                  <a:pt x="3442280" y="3448024"/>
                </a:lnTo>
                <a:lnTo>
                  <a:pt x="3442280" y="3452359"/>
                </a:lnTo>
                <a:lnTo>
                  <a:pt x="3442280" y="3470135"/>
                </a:lnTo>
                <a:lnTo>
                  <a:pt x="3442280" y="3722265"/>
                </a:lnTo>
                <a:lnTo>
                  <a:pt x="3442280" y="3739511"/>
                </a:lnTo>
                <a:lnTo>
                  <a:pt x="3442280" y="3744375"/>
                </a:lnTo>
                <a:lnTo>
                  <a:pt x="3442280" y="3831346"/>
                </a:lnTo>
                <a:lnTo>
                  <a:pt x="3442280" y="4013751"/>
                </a:lnTo>
                <a:lnTo>
                  <a:pt x="3442280" y="4053409"/>
                </a:lnTo>
                <a:lnTo>
                  <a:pt x="3442280" y="4105586"/>
                </a:lnTo>
                <a:lnTo>
                  <a:pt x="3442280" y="4217459"/>
                </a:lnTo>
                <a:lnTo>
                  <a:pt x="3442280" y="4327650"/>
                </a:lnTo>
                <a:lnTo>
                  <a:pt x="3442280" y="4390549"/>
                </a:lnTo>
                <a:lnTo>
                  <a:pt x="3442280" y="4491699"/>
                </a:lnTo>
                <a:lnTo>
                  <a:pt x="3442280" y="4629303"/>
                </a:lnTo>
                <a:lnTo>
                  <a:pt x="3442280" y="4664789"/>
                </a:lnTo>
                <a:lnTo>
                  <a:pt x="3442280" y="4751760"/>
                </a:lnTo>
                <a:lnTo>
                  <a:pt x="3442280" y="4903543"/>
                </a:lnTo>
                <a:lnTo>
                  <a:pt x="3442280" y="5026000"/>
                </a:lnTo>
                <a:lnTo>
                  <a:pt x="3442280" y="5137873"/>
                </a:lnTo>
                <a:lnTo>
                  <a:pt x="3442280" y="5412113"/>
                </a:lnTo>
                <a:lnTo>
                  <a:pt x="3442280" y="5549717"/>
                </a:lnTo>
                <a:lnTo>
                  <a:pt x="3442280" y="5823957"/>
                </a:lnTo>
                <a:cubicBezTo>
                  <a:pt x="3442280" y="5896040"/>
                  <a:pt x="3388282" y="5914060"/>
                  <a:pt x="3361283" y="5918566"/>
                </a:cubicBezTo>
                <a:lnTo>
                  <a:pt x="3346294" y="5920066"/>
                </a:lnTo>
                <a:lnTo>
                  <a:pt x="0" y="5920066"/>
                </a:ln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59964" tIns="359964">
            <a:noAutofit/>
          </a:bodyPr>
          <a:lstStyle>
            <a:lvl1pPr algn="ctr">
              <a:defRPr sz="1400" b="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45576" y="280734"/>
            <a:ext cx="677862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40052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806" userDrawn="1">
          <p15:clr>
            <a:srgbClr val="FBAE40"/>
          </p15:clr>
        </p15:guide>
        <p15:guide id="2" pos="5322" userDrawn="1">
          <p15:clr>
            <a:srgbClr val="FBAE40"/>
          </p15:clr>
        </p15:guide>
      </p15:sldGuideLst>
    </p:ext>
  </p:extLs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846907" y="1278384"/>
            <a:ext cx="3265200" cy="23292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4458228" y="1278384"/>
            <a:ext cx="3265200" cy="23292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8069550" y="1278384"/>
            <a:ext cx="3265200" cy="23292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846908" y="3884251"/>
            <a:ext cx="3265200" cy="23292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4458229" y="3884251"/>
            <a:ext cx="3265200" cy="23292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8069550" y="3884251"/>
            <a:ext cx="3265200" cy="23292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440277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91">
          <p15:clr>
            <a:srgbClr val="FBAE40"/>
          </p15:clr>
        </p15:guide>
        <p15:guide id="2" pos="2808">
          <p15:clr>
            <a:srgbClr val="FBAE40"/>
          </p15:clr>
        </p15:guide>
        <p15:guide id="3" pos="4866">
          <p15:clr>
            <a:srgbClr val="FBAE40"/>
          </p15:clr>
        </p15:guide>
        <p15:guide id="4" pos="5082">
          <p15:clr>
            <a:srgbClr val="FBAE40"/>
          </p15:clr>
        </p15:guide>
        <p15:guide id="5" orient="horz" pos="2274">
          <p15:clr>
            <a:srgbClr val="FBAE40"/>
          </p15:clr>
        </p15:guide>
        <p15:guide id="6" orient="horz" pos="2442">
          <p15:clr>
            <a:srgbClr val="FBAE40"/>
          </p15:clr>
        </p15:guide>
      </p15:sldGuideLst>
    </p:ext>
  </p:extLs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846907" y="1795637"/>
            <a:ext cx="3265200" cy="269698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4458228" y="1795637"/>
            <a:ext cx="3265200" cy="269698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8069550" y="1795637"/>
            <a:ext cx="3265200" cy="269698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846908" y="4760735"/>
            <a:ext cx="3265200" cy="144004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4458229" y="4760735"/>
            <a:ext cx="3265200" cy="144004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8069550" y="4760735"/>
            <a:ext cx="3265200" cy="144004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845574" y="1277982"/>
            <a:ext cx="3265200" cy="436017"/>
          </a:xfrm>
        </p:spPr>
        <p:txBody>
          <a:bodyPr>
            <a:noAutofit/>
          </a:bodyPr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58228" y="1277982"/>
            <a:ext cx="3265200" cy="436017"/>
          </a:xfrm>
        </p:spPr>
        <p:txBody>
          <a:bodyPr/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8069550" y="1277982"/>
            <a:ext cx="3265200" cy="436017"/>
          </a:xfrm>
        </p:spPr>
        <p:txBody>
          <a:bodyPr/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921095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08">
          <p15:clr>
            <a:srgbClr val="FBAE40"/>
          </p15:clr>
        </p15:guide>
        <p15:guide id="2" pos="4866">
          <p15:clr>
            <a:srgbClr val="FBAE40"/>
          </p15:clr>
        </p15:guide>
        <p15:guide id="3" pos="5082">
          <p15:clr>
            <a:srgbClr val="FBAE40"/>
          </p15:clr>
        </p15:guide>
        <p15:guide id="4" orient="horz" pos="2830">
          <p15:clr>
            <a:srgbClr val="FBAE40"/>
          </p15:clr>
        </p15:guide>
        <p15:guide id="5" orient="horz" pos="2998">
          <p15:clr>
            <a:srgbClr val="FBAE40"/>
          </p15:clr>
        </p15:guide>
        <p15:guide id="6" pos="2592">
          <p15:clr>
            <a:srgbClr val="FBAE40"/>
          </p15:clr>
        </p15:guide>
      </p15:sldGuideLst>
    </p:ext>
  </p:extLs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lit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845575" y="1279981"/>
            <a:ext cx="5058000" cy="324000"/>
          </a:xfrm>
        </p:spPr>
        <p:txBody>
          <a:bodyPr>
            <a:noAutofit/>
          </a:bodyPr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845575" y="1754561"/>
            <a:ext cx="5058000" cy="1854000"/>
          </a:xfrm>
        </p:spPr>
        <p:txBody>
          <a:bodyPr/>
          <a:lstStyle>
            <a:lvl3pPr>
              <a:lnSpc>
                <a:spcPts val="2199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45575" y="3877591"/>
            <a:ext cx="5058000" cy="324000"/>
          </a:xfrm>
        </p:spPr>
        <p:txBody>
          <a:bodyPr>
            <a:noAutofit/>
          </a:bodyPr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845575" y="4346776"/>
            <a:ext cx="5058000" cy="1854000"/>
          </a:xfrm>
        </p:spPr>
        <p:txBody>
          <a:bodyPr/>
          <a:lstStyle>
            <a:lvl3pPr>
              <a:lnSpc>
                <a:spcPts val="2199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845575" y="1682898"/>
            <a:ext cx="5058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845575" y="4278810"/>
            <a:ext cx="5058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6276751" y="1279981"/>
            <a:ext cx="5058000" cy="324000"/>
          </a:xfrm>
        </p:spPr>
        <p:txBody>
          <a:bodyPr>
            <a:noAutofit/>
          </a:bodyPr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276751" y="1754561"/>
            <a:ext cx="5058000" cy="1854000"/>
          </a:xfrm>
        </p:spPr>
        <p:txBody>
          <a:bodyPr/>
          <a:lstStyle>
            <a:lvl3pPr>
              <a:lnSpc>
                <a:spcPts val="2199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276751" y="3877591"/>
            <a:ext cx="5058000" cy="324000"/>
          </a:xfrm>
        </p:spPr>
        <p:txBody>
          <a:bodyPr>
            <a:noAutofit/>
          </a:bodyPr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276751" y="4346776"/>
            <a:ext cx="5058000" cy="1854000"/>
          </a:xfrm>
        </p:spPr>
        <p:txBody>
          <a:bodyPr/>
          <a:lstStyle>
            <a:lvl3pPr>
              <a:lnSpc>
                <a:spcPts val="2199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>
            <a:off x="6276751" y="1682898"/>
            <a:ext cx="5058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6276751" y="4278810"/>
            <a:ext cx="5058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5391273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53">
          <p15:clr>
            <a:srgbClr val="FBAE40"/>
          </p15:clr>
        </p15:guide>
        <p15:guide id="3" orient="horz" pos="2274">
          <p15:clr>
            <a:srgbClr val="FBAE40"/>
          </p15:clr>
        </p15:guide>
        <p15:guide id="4" orient="horz" pos="2442">
          <p15:clr>
            <a:srgbClr val="FBAE40"/>
          </p15:clr>
        </p15:guide>
      </p15:sldGuideLst>
    </p:ext>
  </p:extLs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845575" y="1278384"/>
            <a:ext cx="32652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845575" y="1757279"/>
            <a:ext cx="3265200" cy="1850305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45575" y="3878568"/>
            <a:ext cx="32652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845575" y="4346776"/>
            <a:ext cx="32652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845575" y="1685616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845575" y="4278810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8069550" y="1278384"/>
            <a:ext cx="32652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1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069550" y="1757279"/>
            <a:ext cx="3265200" cy="1850305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069550" y="3878568"/>
            <a:ext cx="32652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3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069550" y="4346776"/>
            <a:ext cx="32652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44" name="Straight Connector 43"/>
          <p:cNvCxnSpPr/>
          <p:nvPr userDrawn="1"/>
        </p:nvCxnSpPr>
        <p:spPr bwMode="gray">
          <a:xfrm>
            <a:off x="8069550" y="1685616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 bwMode="gray">
          <a:xfrm>
            <a:off x="8069550" y="4278810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4457562" y="1278384"/>
            <a:ext cx="32652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7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4457562" y="1757279"/>
            <a:ext cx="3265200" cy="1850305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4457562" y="3878568"/>
            <a:ext cx="32652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9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4457562" y="4346776"/>
            <a:ext cx="32652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0" name="Straight Connector 49"/>
          <p:cNvCxnSpPr/>
          <p:nvPr userDrawn="1"/>
        </p:nvCxnSpPr>
        <p:spPr bwMode="gray">
          <a:xfrm>
            <a:off x="4457562" y="1685616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4457562" y="4278810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80455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92">
          <p15:clr>
            <a:srgbClr val="FBAE40"/>
          </p15:clr>
        </p15:guide>
        <p15:guide id="2" pos="5082">
          <p15:clr>
            <a:srgbClr val="FBAE40"/>
          </p15:clr>
        </p15:guide>
        <p15:guide id="3" pos="2803">
          <p15:clr>
            <a:srgbClr val="FBAE40"/>
          </p15:clr>
        </p15:guide>
        <p15:guide id="4" pos="4866">
          <p15:clr>
            <a:srgbClr val="FBAE40"/>
          </p15:clr>
        </p15:guide>
        <p15:guide id="5" orient="horz" pos="2274">
          <p15:clr>
            <a:srgbClr val="FBAE40"/>
          </p15:clr>
        </p15:guide>
        <p15:guide id="6" orient="horz" pos="2442">
          <p15:clr>
            <a:srgbClr val="FBAE40"/>
          </p15:clr>
        </p15:guide>
      </p15:sldGuideLst>
    </p:ext>
  </p:extLs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845574" y="1278384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845574" y="1757279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45574" y="3878568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845574" y="4346776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845574" y="1685616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845574" y="4278810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89966" y="1278384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2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3489966" y="1757279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3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3489966" y="3878568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4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3489966" y="4346776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5" name="Straight Connector 54"/>
          <p:cNvCxnSpPr/>
          <p:nvPr userDrawn="1"/>
        </p:nvCxnSpPr>
        <p:spPr bwMode="gray">
          <a:xfrm>
            <a:off x="3489966" y="1685616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 bwMode="gray">
          <a:xfrm>
            <a:off x="3489966" y="4278810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6134358" y="1278384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8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6134358" y="1757279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6134358" y="3878568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0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6134358" y="4346776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1" name="Straight Connector 60"/>
          <p:cNvCxnSpPr/>
          <p:nvPr userDrawn="1"/>
        </p:nvCxnSpPr>
        <p:spPr bwMode="gray">
          <a:xfrm>
            <a:off x="6134358" y="1685616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 bwMode="gray">
          <a:xfrm>
            <a:off x="6134358" y="4278810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2"/>
          <p:cNvSpPr>
            <a:spLocks noGrp="1"/>
          </p:cNvSpPr>
          <p:nvPr>
            <p:ph idx="30" hasCustomPrompt="1"/>
          </p:nvPr>
        </p:nvSpPr>
        <p:spPr bwMode="gray">
          <a:xfrm>
            <a:off x="8778750" y="1278384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4" name="Content Placeholder 2"/>
          <p:cNvSpPr>
            <a:spLocks noGrp="1"/>
          </p:cNvSpPr>
          <p:nvPr>
            <p:ph idx="31" hasCustomPrompt="1"/>
          </p:nvPr>
        </p:nvSpPr>
        <p:spPr bwMode="gray">
          <a:xfrm>
            <a:off x="8778750" y="1757279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65" name="Content Placeholder 2"/>
          <p:cNvSpPr>
            <a:spLocks noGrp="1"/>
          </p:cNvSpPr>
          <p:nvPr>
            <p:ph idx="32" hasCustomPrompt="1"/>
          </p:nvPr>
        </p:nvSpPr>
        <p:spPr bwMode="gray">
          <a:xfrm>
            <a:off x="8778750" y="3878568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6" name="Content Placeholder 2"/>
          <p:cNvSpPr>
            <a:spLocks noGrp="1"/>
          </p:cNvSpPr>
          <p:nvPr>
            <p:ph idx="33" hasCustomPrompt="1"/>
          </p:nvPr>
        </p:nvSpPr>
        <p:spPr bwMode="gray">
          <a:xfrm>
            <a:off x="8778750" y="4346776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7" name="Straight Connector 66"/>
          <p:cNvCxnSpPr/>
          <p:nvPr userDrawn="1"/>
        </p:nvCxnSpPr>
        <p:spPr bwMode="gray">
          <a:xfrm>
            <a:off x="8778750" y="1685616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 userDrawn="1"/>
        </p:nvCxnSpPr>
        <p:spPr bwMode="gray">
          <a:xfrm>
            <a:off x="8778750" y="4278810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333486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149">
          <p15:clr>
            <a:srgbClr val="FBAE40"/>
          </p15:clr>
        </p15:guide>
        <p15:guide id="2" pos="5480">
          <p15:clr>
            <a:srgbClr val="FBAE40"/>
          </p15:clr>
        </p15:guide>
        <p15:guide id="3" pos="3864">
          <p15:clr>
            <a:srgbClr val="FBAE40"/>
          </p15:clr>
        </p15:guide>
        <p15:guide id="4" pos="2196">
          <p15:clr>
            <a:srgbClr val="FBAE40"/>
          </p15:clr>
        </p15:guide>
        <p15:guide id="5" pos="3809">
          <p15:clr>
            <a:srgbClr val="FBAE40"/>
          </p15:clr>
        </p15:guide>
        <p15:guide id="6" pos="5528">
          <p15:clr>
            <a:srgbClr val="FBAE40"/>
          </p15:clr>
        </p15:guide>
        <p15:guide id="7" orient="horz" pos="2274">
          <p15:clr>
            <a:srgbClr val="FBAE40"/>
          </p15:clr>
        </p15:guide>
        <p15:guide id="8" orient="horz" pos="2442">
          <p15:clr>
            <a:srgbClr val="FBAE40"/>
          </p15:clr>
        </p15:guide>
      </p15:sldGuideLst>
    </p:ext>
  </p:extLs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547528" y="1270001"/>
            <a:ext cx="6787224" cy="49784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 bwMode="gray">
          <a:xfrm>
            <a:off x="693739" y="280733"/>
            <a:ext cx="3443287" cy="5920066"/>
          </a:xfrm>
          <a:custGeom>
            <a:avLst/>
            <a:gdLst>
              <a:gd name="connsiteX0" fmla="*/ 95997 w 3443287"/>
              <a:gd name="connsiteY0" fmla="*/ 0 h 5920066"/>
              <a:gd name="connsiteX1" fmla="*/ 3443287 w 3443287"/>
              <a:gd name="connsiteY1" fmla="*/ 0 h 5920066"/>
              <a:gd name="connsiteX2" fmla="*/ 3443287 w 3443287"/>
              <a:gd name="connsiteY2" fmla="*/ 5920066 h 5920066"/>
              <a:gd name="connsiteX3" fmla="*/ 95989 w 3443287"/>
              <a:gd name="connsiteY3" fmla="*/ 5920066 h 5920066"/>
              <a:gd name="connsiteX4" fmla="*/ 64311 w 3443287"/>
              <a:gd name="connsiteY4" fmla="*/ 5915938 h 5920066"/>
              <a:gd name="connsiteX5" fmla="*/ 0 w 3443287"/>
              <a:gd name="connsiteY5" fmla="*/ 5823957 h 5920066"/>
              <a:gd name="connsiteX6" fmla="*/ 0 w 3443287"/>
              <a:gd name="connsiteY6" fmla="*/ 5820222 h 5920066"/>
              <a:gd name="connsiteX7" fmla="*/ 0 w 3443287"/>
              <a:gd name="connsiteY7" fmla="*/ 5811351 h 5920066"/>
              <a:gd name="connsiteX8" fmla="*/ 0 w 3443287"/>
              <a:gd name="connsiteY8" fmla="*/ 5794075 h 5920066"/>
              <a:gd name="connsiteX9" fmla="*/ 0 w 3443287"/>
              <a:gd name="connsiteY9" fmla="*/ 5765594 h 5920066"/>
              <a:gd name="connsiteX10" fmla="*/ 0 w 3443287"/>
              <a:gd name="connsiteY10" fmla="*/ 5723106 h 5920066"/>
              <a:gd name="connsiteX11" fmla="*/ 0 w 3443287"/>
              <a:gd name="connsiteY11" fmla="*/ 5663809 h 5920066"/>
              <a:gd name="connsiteX12" fmla="*/ 0 w 3443287"/>
              <a:gd name="connsiteY12" fmla="*/ 5584902 h 5920066"/>
              <a:gd name="connsiteX13" fmla="*/ 0 w 3443287"/>
              <a:gd name="connsiteY13" fmla="*/ 5549717 h 5920066"/>
              <a:gd name="connsiteX14" fmla="*/ 0 w 3443287"/>
              <a:gd name="connsiteY14" fmla="*/ 5548611 h 5920066"/>
              <a:gd name="connsiteX15" fmla="*/ 0 w 3443287"/>
              <a:gd name="connsiteY15" fmla="*/ 5540863 h 5920066"/>
              <a:gd name="connsiteX16" fmla="*/ 0 w 3443287"/>
              <a:gd name="connsiteY16" fmla="*/ 5520020 h 5920066"/>
              <a:gd name="connsiteX17" fmla="*/ 0 w 3443287"/>
              <a:gd name="connsiteY17" fmla="*/ 5519835 h 5920066"/>
              <a:gd name="connsiteX18" fmla="*/ 0 w 3443287"/>
              <a:gd name="connsiteY18" fmla="*/ 5478886 h 5920066"/>
              <a:gd name="connsiteX19" fmla="*/ 0 w 3443287"/>
              <a:gd name="connsiteY19" fmla="*/ 5448866 h 5920066"/>
              <a:gd name="connsiteX20" fmla="*/ 0 w 3443287"/>
              <a:gd name="connsiteY20" fmla="*/ 5444347 h 5920066"/>
              <a:gd name="connsiteX21" fmla="*/ 0 w 3443287"/>
              <a:gd name="connsiteY21" fmla="*/ 5411375 h 5920066"/>
              <a:gd name="connsiteX22" fmla="*/ 0 w 3443287"/>
              <a:gd name="connsiteY22" fmla="*/ 5365584 h 5920066"/>
              <a:gd name="connsiteX23" fmla="*/ 0 w 3443287"/>
              <a:gd name="connsiteY23" fmla="*/ 5357053 h 5920066"/>
              <a:gd name="connsiteX24" fmla="*/ 0 w 3443287"/>
              <a:gd name="connsiteY24" fmla="*/ 5310662 h 5920066"/>
              <a:gd name="connsiteX25" fmla="*/ 0 w 3443287"/>
              <a:gd name="connsiteY25" fmla="*/ 5257308 h 5920066"/>
              <a:gd name="connsiteX26" fmla="*/ 0 w 3443287"/>
              <a:gd name="connsiteY26" fmla="*/ 5245780 h 5920066"/>
              <a:gd name="connsiteX27" fmla="*/ 0 w 3443287"/>
              <a:gd name="connsiteY27" fmla="*/ 5170107 h 5920066"/>
              <a:gd name="connsiteX28" fmla="*/ 0 w 3443287"/>
              <a:gd name="connsiteY28" fmla="*/ 5144283 h 5920066"/>
              <a:gd name="connsiteX29" fmla="*/ 0 w 3443287"/>
              <a:gd name="connsiteY29" fmla="*/ 5082813 h 5920066"/>
              <a:gd name="connsiteX30" fmla="*/ 0 w 3443287"/>
              <a:gd name="connsiteY30" fmla="*/ 5017146 h 5920066"/>
              <a:gd name="connsiteX31" fmla="*/ 0 w 3443287"/>
              <a:gd name="connsiteY31" fmla="*/ 4983068 h 5920066"/>
              <a:gd name="connsiteX32" fmla="*/ 0 w 3443287"/>
              <a:gd name="connsiteY32" fmla="*/ 4903543 h 5920066"/>
              <a:gd name="connsiteX33" fmla="*/ 0 w 3443287"/>
              <a:gd name="connsiteY33" fmla="*/ 4899808 h 5920066"/>
              <a:gd name="connsiteX34" fmla="*/ 0 w 3443287"/>
              <a:gd name="connsiteY34" fmla="*/ 4890937 h 5920066"/>
              <a:gd name="connsiteX35" fmla="*/ 0 w 3443287"/>
              <a:gd name="connsiteY35" fmla="*/ 4875069 h 5920066"/>
              <a:gd name="connsiteX36" fmla="*/ 0 w 3443287"/>
              <a:gd name="connsiteY36" fmla="*/ 4873661 h 5920066"/>
              <a:gd name="connsiteX37" fmla="*/ 0 w 3443287"/>
              <a:gd name="connsiteY37" fmla="*/ 4870043 h 5920066"/>
              <a:gd name="connsiteX38" fmla="*/ 0 w 3443287"/>
              <a:gd name="connsiteY38" fmla="*/ 4845180 h 5920066"/>
              <a:gd name="connsiteX39" fmla="*/ 0 w 3443287"/>
              <a:gd name="connsiteY39" fmla="*/ 4802692 h 5920066"/>
              <a:gd name="connsiteX40" fmla="*/ 0 w 3443287"/>
              <a:gd name="connsiteY40" fmla="*/ 4743395 h 5920066"/>
              <a:gd name="connsiteX41" fmla="*/ 0 w 3443287"/>
              <a:gd name="connsiteY41" fmla="*/ 4742906 h 5920066"/>
              <a:gd name="connsiteX42" fmla="*/ 0 w 3443287"/>
              <a:gd name="connsiteY42" fmla="*/ 4717221 h 5920066"/>
              <a:gd name="connsiteX43" fmla="*/ 0 w 3443287"/>
              <a:gd name="connsiteY43" fmla="*/ 4664488 h 5920066"/>
              <a:gd name="connsiteX44" fmla="*/ 0 w 3443287"/>
              <a:gd name="connsiteY44" fmla="*/ 4629303 h 5920066"/>
              <a:gd name="connsiteX45" fmla="*/ 0 w 3443287"/>
              <a:gd name="connsiteY45" fmla="*/ 4628197 h 5920066"/>
              <a:gd name="connsiteX46" fmla="*/ 0 w 3443287"/>
              <a:gd name="connsiteY46" fmla="*/ 4620449 h 5920066"/>
              <a:gd name="connsiteX47" fmla="*/ 0 w 3443287"/>
              <a:gd name="connsiteY47" fmla="*/ 4600829 h 5920066"/>
              <a:gd name="connsiteX48" fmla="*/ 0 w 3443287"/>
              <a:gd name="connsiteY48" fmla="*/ 4599606 h 5920066"/>
              <a:gd name="connsiteX49" fmla="*/ 0 w 3443287"/>
              <a:gd name="connsiteY49" fmla="*/ 4599421 h 5920066"/>
              <a:gd name="connsiteX50" fmla="*/ 0 w 3443287"/>
              <a:gd name="connsiteY50" fmla="*/ 4558472 h 5920066"/>
              <a:gd name="connsiteX51" fmla="*/ 0 w 3443287"/>
              <a:gd name="connsiteY51" fmla="*/ 4542771 h 5920066"/>
              <a:gd name="connsiteX52" fmla="*/ 0 w 3443287"/>
              <a:gd name="connsiteY52" fmla="*/ 4528452 h 5920066"/>
              <a:gd name="connsiteX53" fmla="*/ 0 w 3443287"/>
              <a:gd name="connsiteY53" fmla="*/ 4523933 h 5920066"/>
              <a:gd name="connsiteX54" fmla="*/ 0 w 3443287"/>
              <a:gd name="connsiteY54" fmla="*/ 4490961 h 5920066"/>
              <a:gd name="connsiteX55" fmla="*/ 0 w 3443287"/>
              <a:gd name="connsiteY55" fmla="*/ 4445170 h 5920066"/>
              <a:gd name="connsiteX56" fmla="*/ 0 w 3443287"/>
              <a:gd name="connsiteY56" fmla="*/ 4442981 h 5920066"/>
              <a:gd name="connsiteX57" fmla="*/ 0 w 3443287"/>
              <a:gd name="connsiteY57" fmla="*/ 4436639 h 5920066"/>
              <a:gd name="connsiteX58" fmla="*/ 0 w 3443287"/>
              <a:gd name="connsiteY58" fmla="*/ 4390248 h 5920066"/>
              <a:gd name="connsiteX59" fmla="*/ 0 w 3443287"/>
              <a:gd name="connsiteY59" fmla="*/ 4350891 h 5920066"/>
              <a:gd name="connsiteX60" fmla="*/ 0 w 3443287"/>
              <a:gd name="connsiteY60" fmla="*/ 4336894 h 5920066"/>
              <a:gd name="connsiteX61" fmla="*/ 0 w 3443287"/>
              <a:gd name="connsiteY61" fmla="*/ 4325366 h 5920066"/>
              <a:gd name="connsiteX62" fmla="*/ 0 w 3443287"/>
              <a:gd name="connsiteY62" fmla="*/ 4268531 h 5920066"/>
              <a:gd name="connsiteX63" fmla="*/ 0 w 3443287"/>
              <a:gd name="connsiteY63" fmla="*/ 4249693 h 5920066"/>
              <a:gd name="connsiteX64" fmla="*/ 0 w 3443287"/>
              <a:gd name="connsiteY64" fmla="*/ 4223869 h 5920066"/>
              <a:gd name="connsiteX65" fmla="*/ 0 w 3443287"/>
              <a:gd name="connsiteY65" fmla="*/ 4162399 h 5920066"/>
              <a:gd name="connsiteX66" fmla="*/ 0 w 3443287"/>
              <a:gd name="connsiteY66" fmla="*/ 4140749 h 5920066"/>
              <a:gd name="connsiteX67" fmla="*/ 0 w 3443287"/>
              <a:gd name="connsiteY67" fmla="*/ 4096732 h 5920066"/>
              <a:gd name="connsiteX68" fmla="*/ 0 w 3443287"/>
              <a:gd name="connsiteY68" fmla="*/ 4076651 h 5920066"/>
              <a:gd name="connsiteX69" fmla="*/ 0 w 3443287"/>
              <a:gd name="connsiteY69" fmla="*/ 4062654 h 5920066"/>
              <a:gd name="connsiteX70" fmla="*/ 0 w 3443287"/>
              <a:gd name="connsiteY70" fmla="*/ 3954655 h 5920066"/>
              <a:gd name="connsiteX71" fmla="*/ 0 w 3443287"/>
              <a:gd name="connsiteY71" fmla="*/ 3949629 h 5920066"/>
              <a:gd name="connsiteX72" fmla="*/ 0 w 3443287"/>
              <a:gd name="connsiteY72" fmla="*/ 3911516 h 5920066"/>
              <a:gd name="connsiteX73" fmla="*/ 0 w 3443287"/>
              <a:gd name="connsiteY73" fmla="*/ 3866509 h 5920066"/>
              <a:gd name="connsiteX74" fmla="*/ 0 w 3443287"/>
              <a:gd name="connsiteY74" fmla="*/ 3822492 h 5920066"/>
              <a:gd name="connsiteX75" fmla="*/ 0 w 3443287"/>
              <a:gd name="connsiteY75" fmla="*/ 3796807 h 5920066"/>
              <a:gd name="connsiteX76" fmla="*/ 0 w 3443287"/>
              <a:gd name="connsiteY76" fmla="*/ 3680415 h 5920066"/>
              <a:gd name="connsiteX77" fmla="*/ 0 w 3443287"/>
              <a:gd name="connsiteY77" fmla="*/ 3662362 h 5920066"/>
              <a:gd name="connsiteX78" fmla="*/ 0 w 3443287"/>
              <a:gd name="connsiteY78" fmla="*/ 3637276 h 5920066"/>
              <a:gd name="connsiteX79" fmla="*/ 0 w 3443287"/>
              <a:gd name="connsiteY79" fmla="*/ 3622357 h 5920066"/>
              <a:gd name="connsiteX80" fmla="*/ 0 w 3443287"/>
              <a:gd name="connsiteY80" fmla="*/ 3522567 h 5920066"/>
              <a:gd name="connsiteX81" fmla="*/ 0 w 3443287"/>
              <a:gd name="connsiteY81" fmla="*/ 3430477 h 5920066"/>
              <a:gd name="connsiteX82" fmla="*/ 0 w 3443287"/>
              <a:gd name="connsiteY82" fmla="*/ 3392457 h 5920066"/>
              <a:gd name="connsiteX83" fmla="*/ 0 w 3443287"/>
              <a:gd name="connsiteY83" fmla="*/ 3388122 h 5920066"/>
              <a:gd name="connsiteX84" fmla="*/ 0 w 3443287"/>
              <a:gd name="connsiteY84" fmla="*/ 3348117 h 5920066"/>
              <a:gd name="connsiteX85" fmla="*/ 0 w 3443287"/>
              <a:gd name="connsiteY85" fmla="*/ 3220335 h 5920066"/>
              <a:gd name="connsiteX86" fmla="*/ 0 w 3443287"/>
              <a:gd name="connsiteY86" fmla="*/ 3156237 h 5920066"/>
              <a:gd name="connsiteX87" fmla="*/ 0 w 3443287"/>
              <a:gd name="connsiteY87" fmla="*/ 3118217 h 5920066"/>
              <a:gd name="connsiteX88" fmla="*/ 0 w 3443287"/>
              <a:gd name="connsiteY88" fmla="*/ 3100970 h 5920066"/>
              <a:gd name="connsiteX89" fmla="*/ 0 w 3443287"/>
              <a:gd name="connsiteY89" fmla="*/ 2991102 h 5920066"/>
              <a:gd name="connsiteX90" fmla="*/ 0 w 3443287"/>
              <a:gd name="connsiteY90" fmla="*/ 2946095 h 5920066"/>
              <a:gd name="connsiteX91" fmla="*/ 0 w 3443287"/>
              <a:gd name="connsiteY91" fmla="*/ 2826730 h 5920066"/>
              <a:gd name="connsiteX92" fmla="*/ 0 w 3443287"/>
              <a:gd name="connsiteY92" fmla="*/ 2787072 h 5920066"/>
              <a:gd name="connsiteX93" fmla="*/ 0 w 3443287"/>
              <a:gd name="connsiteY93" fmla="*/ 2741948 h 5920066"/>
              <a:gd name="connsiteX94" fmla="*/ 0 w 3443287"/>
              <a:gd name="connsiteY94" fmla="*/ 2716862 h 5920066"/>
              <a:gd name="connsiteX95" fmla="*/ 0 w 3443287"/>
              <a:gd name="connsiteY95" fmla="*/ 2512832 h 5920066"/>
              <a:gd name="connsiteX96" fmla="*/ 0 w 3443287"/>
              <a:gd name="connsiteY96" fmla="*/ 2472043 h 5920066"/>
              <a:gd name="connsiteX97" fmla="*/ 0 w 3443287"/>
              <a:gd name="connsiteY97" fmla="*/ 2467708 h 5920066"/>
              <a:gd name="connsiteX98" fmla="*/ 0 w 3443287"/>
              <a:gd name="connsiteY98" fmla="*/ 2449933 h 5920066"/>
              <a:gd name="connsiteX99" fmla="*/ 0 w 3443287"/>
              <a:gd name="connsiteY99" fmla="*/ 2197803 h 5920066"/>
              <a:gd name="connsiteX100" fmla="*/ 0 w 3443287"/>
              <a:gd name="connsiteY100" fmla="*/ 2180556 h 5920066"/>
              <a:gd name="connsiteX101" fmla="*/ 0 w 3443287"/>
              <a:gd name="connsiteY101" fmla="*/ 2175692 h 5920066"/>
              <a:gd name="connsiteX102" fmla="*/ 0 w 3443287"/>
              <a:gd name="connsiteY102" fmla="*/ 2088721 h 5920066"/>
              <a:gd name="connsiteX103" fmla="*/ 0 w 3443287"/>
              <a:gd name="connsiteY103" fmla="*/ 1906316 h 5920066"/>
              <a:gd name="connsiteX104" fmla="*/ 0 w 3443287"/>
              <a:gd name="connsiteY104" fmla="*/ 1866658 h 5920066"/>
              <a:gd name="connsiteX105" fmla="*/ 0 w 3443287"/>
              <a:gd name="connsiteY105" fmla="*/ 1814481 h 5920066"/>
              <a:gd name="connsiteX106" fmla="*/ 0 w 3443287"/>
              <a:gd name="connsiteY106" fmla="*/ 1702609 h 5920066"/>
              <a:gd name="connsiteX107" fmla="*/ 0 w 3443287"/>
              <a:gd name="connsiteY107" fmla="*/ 1592418 h 5920066"/>
              <a:gd name="connsiteX108" fmla="*/ 0 w 3443287"/>
              <a:gd name="connsiteY108" fmla="*/ 1529519 h 5920066"/>
              <a:gd name="connsiteX109" fmla="*/ 0 w 3443287"/>
              <a:gd name="connsiteY109" fmla="*/ 1428369 h 5920066"/>
              <a:gd name="connsiteX110" fmla="*/ 0 w 3443287"/>
              <a:gd name="connsiteY110" fmla="*/ 1290764 h 5920066"/>
              <a:gd name="connsiteX111" fmla="*/ 0 w 3443287"/>
              <a:gd name="connsiteY111" fmla="*/ 1255278 h 5920066"/>
              <a:gd name="connsiteX112" fmla="*/ 0 w 3443287"/>
              <a:gd name="connsiteY112" fmla="*/ 1168307 h 5920066"/>
              <a:gd name="connsiteX113" fmla="*/ 0 w 3443287"/>
              <a:gd name="connsiteY113" fmla="*/ 1016524 h 5920066"/>
              <a:gd name="connsiteX114" fmla="*/ 0 w 3443287"/>
              <a:gd name="connsiteY114" fmla="*/ 894067 h 5920066"/>
              <a:gd name="connsiteX115" fmla="*/ 0 w 3443287"/>
              <a:gd name="connsiteY115" fmla="*/ 782195 h 5920066"/>
              <a:gd name="connsiteX116" fmla="*/ 0 w 3443287"/>
              <a:gd name="connsiteY116" fmla="*/ 507955 h 5920066"/>
              <a:gd name="connsiteX117" fmla="*/ 0 w 3443287"/>
              <a:gd name="connsiteY117" fmla="*/ 370350 h 5920066"/>
              <a:gd name="connsiteX118" fmla="*/ 0 w 3443287"/>
              <a:gd name="connsiteY118" fmla="*/ 96110 h 5920066"/>
              <a:gd name="connsiteX119" fmla="*/ 95997 w 3443287"/>
              <a:gd name="connsiteY119" fmla="*/ 0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3443287" h="5920066">
                <a:moveTo>
                  <a:pt x="95997" y="0"/>
                </a:moveTo>
                <a:lnTo>
                  <a:pt x="3443287" y="0"/>
                </a:lnTo>
                <a:lnTo>
                  <a:pt x="3443287" y="5920066"/>
                </a:lnTo>
                <a:lnTo>
                  <a:pt x="95989" y="5920066"/>
                </a:lnTo>
                <a:lnTo>
                  <a:pt x="64311" y="5915938"/>
                </a:lnTo>
                <a:cubicBezTo>
                  <a:pt x="0" y="5897541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59964" tIns="359964">
            <a:noAutofit/>
          </a:bodyPr>
          <a:lstStyle>
            <a:lvl1pPr algn="ctr">
              <a:defRPr sz="1400" b="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7528" y="280734"/>
            <a:ext cx="6787223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406125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54">
          <p15:clr>
            <a:srgbClr val="FBAE40"/>
          </p15:clr>
        </p15:guide>
        <p15:guide id="2" pos="2610">
          <p15:clr>
            <a:srgbClr val="FBAE40"/>
          </p15:clr>
        </p15:guide>
      </p15:sldGuideLst>
    </p:ext>
  </p:extLs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838200" y="1270001"/>
            <a:ext cx="6786000" cy="49784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8454232" y="280733"/>
            <a:ext cx="3442280" cy="5920066"/>
          </a:xfrm>
          <a:custGeom>
            <a:avLst/>
            <a:gdLst>
              <a:gd name="connsiteX0" fmla="*/ 0 w 3442280"/>
              <a:gd name="connsiteY0" fmla="*/ 0 h 5920066"/>
              <a:gd name="connsiteX1" fmla="*/ 3346283 w 3442280"/>
              <a:gd name="connsiteY1" fmla="*/ 0 h 5920066"/>
              <a:gd name="connsiteX2" fmla="*/ 3442280 w 3442280"/>
              <a:gd name="connsiteY2" fmla="*/ 96110 h 5920066"/>
              <a:gd name="connsiteX3" fmla="*/ 3442280 w 3442280"/>
              <a:gd name="connsiteY3" fmla="*/ 335165 h 5920066"/>
              <a:gd name="connsiteX4" fmla="*/ 3442280 w 3442280"/>
              <a:gd name="connsiteY4" fmla="*/ 370350 h 5920066"/>
              <a:gd name="connsiteX5" fmla="*/ 3442280 w 3442280"/>
              <a:gd name="connsiteY5" fmla="*/ 379204 h 5920066"/>
              <a:gd name="connsiteX6" fmla="*/ 3442280 w 3442280"/>
              <a:gd name="connsiteY6" fmla="*/ 400048 h 5920066"/>
              <a:gd name="connsiteX7" fmla="*/ 3442280 w 3442280"/>
              <a:gd name="connsiteY7" fmla="*/ 400232 h 5920066"/>
              <a:gd name="connsiteX8" fmla="*/ 3442280 w 3442280"/>
              <a:gd name="connsiteY8" fmla="*/ 471202 h 5920066"/>
              <a:gd name="connsiteX9" fmla="*/ 3442280 w 3442280"/>
              <a:gd name="connsiteY9" fmla="*/ 475721 h 5920066"/>
              <a:gd name="connsiteX10" fmla="*/ 3442280 w 3442280"/>
              <a:gd name="connsiteY10" fmla="*/ 508692 h 5920066"/>
              <a:gd name="connsiteX11" fmla="*/ 3442280 w 3442280"/>
              <a:gd name="connsiteY11" fmla="*/ 554484 h 5920066"/>
              <a:gd name="connsiteX12" fmla="*/ 3442280 w 3442280"/>
              <a:gd name="connsiteY12" fmla="*/ 563015 h 5920066"/>
              <a:gd name="connsiteX13" fmla="*/ 3442280 w 3442280"/>
              <a:gd name="connsiteY13" fmla="*/ 609405 h 5920066"/>
              <a:gd name="connsiteX14" fmla="*/ 3442280 w 3442280"/>
              <a:gd name="connsiteY14" fmla="*/ 662759 h 5920066"/>
              <a:gd name="connsiteX15" fmla="*/ 3442280 w 3442280"/>
              <a:gd name="connsiteY15" fmla="*/ 674288 h 5920066"/>
              <a:gd name="connsiteX16" fmla="*/ 3442280 w 3442280"/>
              <a:gd name="connsiteY16" fmla="*/ 749961 h 5920066"/>
              <a:gd name="connsiteX17" fmla="*/ 3442280 w 3442280"/>
              <a:gd name="connsiteY17" fmla="*/ 775785 h 5920066"/>
              <a:gd name="connsiteX18" fmla="*/ 3442280 w 3442280"/>
              <a:gd name="connsiteY18" fmla="*/ 837255 h 5920066"/>
              <a:gd name="connsiteX19" fmla="*/ 3442280 w 3442280"/>
              <a:gd name="connsiteY19" fmla="*/ 902921 h 5920066"/>
              <a:gd name="connsiteX20" fmla="*/ 3442280 w 3442280"/>
              <a:gd name="connsiteY20" fmla="*/ 936999 h 5920066"/>
              <a:gd name="connsiteX21" fmla="*/ 3442280 w 3442280"/>
              <a:gd name="connsiteY21" fmla="*/ 1016524 h 5920066"/>
              <a:gd name="connsiteX22" fmla="*/ 3442280 w 3442280"/>
              <a:gd name="connsiteY22" fmla="*/ 1029131 h 5920066"/>
              <a:gd name="connsiteX23" fmla="*/ 3442280 w 3442280"/>
              <a:gd name="connsiteY23" fmla="*/ 1044999 h 5920066"/>
              <a:gd name="connsiteX24" fmla="*/ 3442280 w 3442280"/>
              <a:gd name="connsiteY24" fmla="*/ 1046406 h 5920066"/>
              <a:gd name="connsiteX25" fmla="*/ 3442280 w 3442280"/>
              <a:gd name="connsiteY25" fmla="*/ 1050025 h 5920066"/>
              <a:gd name="connsiteX26" fmla="*/ 3442280 w 3442280"/>
              <a:gd name="connsiteY26" fmla="*/ 1074887 h 5920066"/>
              <a:gd name="connsiteX27" fmla="*/ 3442280 w 3442280"/>
              <a:gd name="connsiteY27" fmla="*/ 1176672 h 5920066"/>
              <a:gd name="connsiteX28" fmla="*/ 3442280 w 3442280"/>
              <a:gd name="connsiteY28" fmla="*/ 1177161 h 5920066"/>
              <a:gd name="connsiteX29" fmla="*/ 3442280 w 3442280"/>
              <a:gd name="connsiteY29" fmla="*/ 1202847 h 5920066"/>
              <a:gd name="connsiteX30" fmla="*/ 3442280 w 3442280"/>
              <a:gd name="connsiteY30" fmla="*/ 1255579 h 5920066"/>
              <a:gd name="connsiteX31" fmla="*/ 3442280 w 3442280"/>
              <a:gd name="connsiteY31" fmla="*/ 1290764 h 5920066"/>
              <a:gd name="connsiteX32" fmla="*/ 3442280 w 3442280"/>
              <a:gd name="connsiteY32" fmla="*/ 1299618 h 5920066"/>
              <a:gd name="connsiteX33" fmla="*/ 3442280 w 3442280"/>
              <a:gd name="connsiteY33" fmla="*/ 1319239 h 5920066"/>
              <a:gd name="connsiteX34" fmla="*/ 3442280 w 3442280"/>
              <a:gd name="connsiteY34" fmla="*/ 1320462 h 5920066"/>
              <a:gd name="connsiteX35" fmla="*/ 3442280 w 3442280"/>
              <a:gd name="connsiteY35" fmla="*/ 1320646 h 5920066"/>
              <a:gd name="connsiteX36" fmla="*/ 3442280 w 3442280"/>
              <a:gd name="connsiteY36" fmla="*/ 1349128 h 5920066"/>
              <a:gd name="connsiteX37" fmla="*/ 3442280 w 3442280"/>
              <a:gd name="connsiteY37" fmla="*/ 1377296 h 5920066"/>
              <a:gd name="connsiteX38" fmla="*/ 3442280 w 3442280"/>
              <a:gd name="connsiteY38" fmla="*/ 1391616 h 5920066"/>
              <a:gd name="connsiteX39" fmla="*/ 3442280 w 3442280"/>
              <a:gd name="connsiteY39" fmla="*/ 1396135 h 5920066"/>
              <a:gd name="connsiteX40" fmla="*/ 3442280 w 3442280"/>
              <a:gd name="connsiteY40" fmla="*/ 1429106 h 5920066"/>
              <a:gd name="connsiteX41" fmla="*/ 3442280 w 3442280"/>
              <a:gd name="connsiteY41" fmla="*/ 1474898 h 5920066"/>
              <a:gd name="connsiteX42" fmla="*/ 3442280 w 3442280"/>
              <a:gd name="connsiteY42" fmla="*/ 1477087 h 5920066"/>
              <a:gd name="connsiteX43" fmla="*/ 3442280 w 3442280"/>
              <a:gd name="connsiteY43" fmla="*/ 1483429 h 5920066"/>
              <a:gd name="connsiteX44" fmla="*/ 3442280 w 3442280"/>
              <a:gd name="connsiteY44" fmla="*/ 1529819 h 5920066"/>
              <a:gd name="connsiteX45" fmla="*/ 3442280 w 3442280"/>
              <a:gd name="connsiteY45" fmla="*/ 1569177 h 5920066"/>
              <a:gd name="connsiteX46" fmla="*/ 3442280 w 3442280"/>
              <a:gd name="connsiteY46" fmla="*/ 1583173 h 5920066"/>
              <a:gd name="connsiteX47" fmla="*/ 3442280 w 3442280"/>
              <a:gd name="connsiteY47" fmla="*/ 1594702 h 5920066"/>
              <a:gd name="connsiteX48" fmla="*/ 3442280 w 3442280"/>
              <a:gd name="connsiteY48" fmla="*/ 1651536 h 5920066"/>
              <a:gd name="connsiteX49" fmla="*/ 3442280 w 3442280"/>
              <a:gd name="connsiteY49" fmla="*/ 1670375 h 5920066"/>
              <a:gd name="connsiteX50" fmla="*/ 3442280 w 3442280"/>
              <a:gd name="connsiteY50" fmla="*/ 1696199 h 5920066"/>
              <a:gd name="connsiteX51" fmla="*/ 3442280 w 3442280"/>
              <a:gd name="connsiteY51" fmla="*/ 1757669 h 5920066"/>
              <a:gd name="connsiteX52" fmla="*/ 3442280 w 3442280"/>
              <a:gd name="connsiteY52" fmla="*/ 1779318 h 5920066"/>
              <a:gd name="connsiteX53" fmla="*/ 3442280 w 3442280"/>
              <a:gd name="connsiteY53" fmla="*/ 1823335 h 5920066"/>
              <a:gd name="connsiteX54" fmla="*/ 3442280 w 3442280"/>
              <a:gd name="connsiteY54" fmla="*/ 1843417 h 5920066"/>
              <a:gd name="connsiteX55" fmla="*/ 3442280 w 3442280"/>
              <a:gd name="connsiteY55" fmla="*/ 1857413 h 5920066"/>
              <a:gd name="connsiteX56" fmla="*/ 3442280 w 3442280"/>
              <a:gd name="connsiteY56" fmla="*/ 1965413 h 5920066"/>
              <a:gd name="connsiteX57" fmla="*/ 3442280 w 3442280"/>
              <a:gd name="connsiteY57" fmla="*/ 1970439 h 5920066"/>
              <a:gd name="connsiteX58" fmla="*/ 3442280 w 3442280"/>
              <a:gd name="connsiteY58" fmla="*/ 2008551 h 5920066"/>
              <a:gd name="connsiteX59" fmla="*/ 3442280 w 3442280"/>
              <a:gd name="connsiteY59" fmla="*/ 2053558 h 5920066"/>
              <a:gd name="connsiteX60" fmla="*/ 3442280 w 3442280"/>
              <a:gd name="connsiteY60" fmla="*/ 2097575 h 5920066"/>
              <a:gd name="connsiteX61" fmla="*/ 3442280 w 3442280"/>
              <a:gd name="connsiteY61" fmla="*/ 2123261 h 5920066"/>
              <a:gd name="connsiteX62" fmla="*/ 3442280 w 3442280"/>
              <a:gd name="connsiteY62" fmla="*/ 2239653 h 5920066"/>
              <a:gd name="connsiteX63" fmla="*/ 3442280 w 3442280"/>
              <a:gd name="connsiteY63" fmla="*/ 2257705 h 5920066"/>
              <a:gd name="connsiteX64" fmla="*/ 3442280 w 3442280"/>
              <a:gd name="connsiteY64" fmla="*/ 2282791 h 5920066"/>
              <a:gd name="connsiteX65" fmla="*/ 3442280 w 3442280"/>
              <a:gd name="connsiteY65" fmla="*/ 2297710 h 5920066"/>
              <a:gd name="connsiteX66" fmla="*/ 3442280 w 3442280"/>
              <a:gd name="connsiteY66" fmla="*/ 2397501 h 5920066"/>
              <a:gd name="connsiteX67" fmla="*/ 3442280 w 3442280"/>
              <a:gd name="connsiteY67" fmla="*/ 2489591 h 5920066"/>
              <a:gd name="connsiteX68" fmla="*/ 3442280 w 3442280"/>
              <a:gd name="connsiteY68" fmla="*/ 2527610 h 5920066"/>
              <a:gd name="connsiteX69" fmla="*/ 3442280 w 3442280"/>
              <a:gd name="connsiteY69" fmla="*/ 2531945 h 5920066"/>
              <a:gd name="connsiteX70" fmla="*/ 3442280 w 3442280"/>
              <a:gd name="connsiteY70" fmla="*/ 2571950 h 5920066"/>
              <a:gd name="connsiteX71" fmla="*/ 3442280 w 3442280"/>
              <a:gd name="connsiteY71" fmla="*/ 2699732 h 5920066"/>
              <a:gd name="connsiteX72" fmla="*/ 3442280 w 3442280"/>
              <a:gd name="connsiteY72" fmla="*/ 2763831 h 5920066"/>
              <a:gd name="connsiteX73" fmla="*/ 3442280 w 3442280"/>
              <a:gd name="connsiteY73" fmla="*/ 2801851 h 5920066"/>
              <a:gd name="connsiteX74" fmla="*/ 3442280 w 3442280"/>
              <a:gd name="connsiteY74" fmla="*/ 2819097 h 5920066"/>
              <a:gd name="connsiteX75" fmla="*/ 3442280 w 3442280"/>
              <a:gd name="connsiteY75" fmla="*/ 2928965 h 5920066"/>
              <a:gd name="connsiteX76" fmla="*/ 3442280 w 3442280"/>
              <a:gd name="connsiteY76" fmla="*/ 2973972 h 5920066"/>
              <a:gd name="connsiteX77" fmla="*/ 3442280 w 3442280"/>
              <a:gd name="connsiteY77" fmla="*/ 3093337 h 5920066"/>
              <a:gd name="connsiteX78" fmla="*/ 3442280 w 3442280"/>
              <a:gd name="connsiteY78" fmla="*/ 3132995 h 5920066"/>
              <a:gd name="connsiteX79" fmla="*/ 3442280 w 3442280"/>
              <a:gd name="connsiteY79" fmla="*/ 3178119 h 5920066"/>
              <a:gd name="connsiteX80" fmla="*/ 3442280 w 3442280"/>
              <a:gd name="connsiteY80" fmla="*/ 3203205 h 5920066"/>
              <a:gd name="connsiteX81" fmla="*/ 3442280 w 3442280"/>
              <a:gd name="connsiteY81" fmla="*/ 3407236 h 5920066"/>
              <a:gd name="connsiteX82" fmla="*/ 3442280 w 3442280"/>
              <a:gd name="connsiteY82" fmla="*/ 3448024 h 5920066"/>
              <a:gd name="connsiteX83" fmla="*/ 3442280 w 3442280"/>
              <a:gd name="connsiteY83" fmla="*/ 3452359 h 5920066"/>
              <a:gd name="connsiteX84" fmla="*/ 3442280 w 3442280"/>
              <a:gd name="connsiteY84" fmla="*/ 3470135 h 5920066"/>
              <a:gd name="connsiteX85" fmla="*/ 3442280 w 3442280"/>
              <a:gd name="connsiteY85" fmla="*/ 3722265 h 5920066"/>
              <a:gd name="connsiteX86" fmla="*/ 3442280 w 3442280"/>
              <a:gd name="connsiteY86" fmla="*/ 3739511 h 5920066"/>
              <a:gd name="connsiteX87" fmla="*/ 3442280 w 3442280"/>
              <a:gd name="connsiteY87" fmla="*/ 3744375 h 5920066"/>
              <a:gd name="connsiteX88" fmla="*/ 3442280 w 3442280"/>
              <a:gd name="connsiteY88" fmla="*/ 3831346 h 5920066"/>
              <a:gd name="connsiteX89" fmla="*/ 3442280 w 3442280"/>
              <a:gd name="connsiteY89" fmla="*/ 4013751 h 5920066"/>
              <a:gd name="connsiteX90" fmla="*/ 3442280 w 3442280"/>
              <a:gd name="connsiteY90" fmla="*/ 4053409 h 5920066"/>
              <a:gd name="connsiteX91" fmla="*/ 3442280 w 3442280"/>
              <a:gd name="connsiteY91" fmla="*/ 4105586 h 5920066"/>
              <a:gd name="connsiteX92" fmla="*/ 3442280 w 3442280"/>
              <a:gd name="connsiteY92" fmla="*/ 4217459 h 5920066"/>
              <a:gd name="connsiteX93" fmla="*/ 3442280 w 3442280"/>
              <a:gd name="connsiteY93" fmla="*/ 4327650 h 5920066"/>
              <a:gd name="connsiteX94" fmla="*/ 3442280 w 3442280"/>
              <a:gd name="connsiteY94" fmla="*/ 4390549 h 5920066"/>
              <a:gd name="connsiteX95" fmla="*/ 3442280 w 3442280"/>
              <a:gd name="connsiteY95" fmla="*/ 4491699 h 5920066"/>
              <a:gd name="connsiteX96" fmla="*/ 3442280 w 3442280"/>
              <a:gd name="connsiteY96" fmla="*/ 4629303 h 5920066"/>
              <a:gd name="connsiteX97" fmla="*/ 3442280 w 3442280"/>
              <a:gd name="connsiteY97" fmla="*/ 4664789 h 5920066"/>
              <a:gd name="connsiteX98" fmla="*/ 3442280 w 3442280"/>
              <a:gd name="connsiteY98" fmla="*/ 4751760 h 5920066"/>
              <a:gd name="connsiteX99" fmla="*/ 3442280 w 3442280"/>
              <a:gd name="connsiteY99" fmla="*/ 4903543 h 5920066"/>
              <a:gd name="connsiteX100" fmla="*/ 3442280 w 3442280"/>
              <a:gd name="connsiteY100" fmla="*/ 5026000 h 5920066"/>
              <a:gd name="connsiteX101" fmla="*/ 3442280 w 3442280"/>
              <a:gd name="connsiteY101" fmla="*/ 5137873 h 5920066"/>
              <a:gd name="connsiteX102" fmla="*/ 3442280 w 3442280"/>
              <a:gd name="connsiteY102" fmla="*/ 5412113 h 5920066"/>
              <a:gd name="connsiteX103" fmla="*/ 3442280 w 3442280"/>
              <a:gd name="connsiteY103" fmla="*/ 5549717 h 5920066"/>
              <a:gd name="connsiteX104" fmla="*/ 3442280 w 3442280"/>
              <a:gd name="connsiteY104" fmla="*/ 5823957 h 5920066"/>
              <a:gd name="connsiteX105" fmla="*/ 3361283 w 3442280"/>
              <a:gd name="connsiteY105" fmla="*/ 5918566 h 5920066"/>
              <a:gd name="connsiteX106" fmla="*/ 3346294 w 3442280"/>
              <a:gd name="connsiteY106" fmla="*/ 5920066 h 5920066"/>
              <a:gd name="connsiteX107" fmla="*/ 0 w 3442280"/>
              <a:gd name="connsiteY107" fmla="*/ 5920066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442280" h="5920066">
                <a:moveTo>
                  <a:pt x="0" y="0"/>
                </a:moveTo>
                <a:lnTo>
                  <a:pt x="3346283" y="0"/>
                </a:lnTo>
                <a:cubicBezTo>
                  <a:pt x="3442280" y="0"/>
                  <a:pt x="3442280" y="96110"/>
                  <a:pt x="3442280" y="96110"/>
                </a:cubicBezTo>
                <a:cubicBezTo>
                  <a:pt x="3442280" y="96110"/>
                  <a:pt x="3442280" y="96110"/>
                  <a:pt x="3442280" y="335165"/>
                </a:cubicBezTo>
                <a:lnTo>
                  <a:pt x="3442280" y="370350"/>
                </a:lnTo>
                <a:cubicBezTo>
                  <a:pt x="3442280" y="370350"/>
                  <a:pt x="3442280" y="370350"/>
                  <a:pt x="3442280" y="379204"/>
                </a:cubicBezTo>
                <a:lnTo>
                  <a:pt x="3442280" y="400048"/>
                </a:lnTo>
                <a:lnTo>
                  <a:pt x="3442280" y="400232"/>
                </a:lnTo>
                <a:cubicBezTo>
                  <a:pt x="3442280" y="415173"/>
                  <a:pt x="3442280" y="437585"/>
                  <a:pt x="3442280" y="471202"/>
                </a:cubicBezTo>
                <a:lnTo>
                  <a:pt x="3442280" y="475721"/>
                </a:lnTo>
                <a:lnTo>
                  <a:pt x="3442280" y="508692"/>
                </a:lnTo>
                <a:cubicBezTo>
                  <a:pt x="3442280" y="522527"/>
                  <a:pt x="3442280" y="537744"/>
                  <a:pt x="3442280" y="554484"/>
                </a:cubicBezTo>
                <a:lnTo>
                  <a:pt x="3442280" y="563015"/>
                </a:lnTo>
                <a:lnTo>
                  <a:pt x="3442280" y="609405"/>
                </a:lnTo>
                <a:lnTo>
                  <a:pt x="3442280" y="662759"/>
                </a:lnTo>
                <a:lnTo>
                  <a:pt x="3442280" y="674288"/>
                </a:lnTo>
                <a:cubicBezTo>
                  <a:pt x="3442280" y="697668"/>
                  <a:pt x="3442280" y="722846"/>
                  <a:pt x="3442280" y="749961"/>
                </a:cubicBezTo>
                <a:lnTo>
                  <a:pt x="3442280" y="775785"/>
                </a:lnTo>
                <a:lnTo>
                  <a:pt x="3442280" y="837255"/>
                </a:lnTo>
                <a:lnTo>
                  <a:pt x="3442280" y="902921"/>
                </a:lnTo>
                <a:lnTo>
                  <a:pt x="3442280" y="936999"/>
                </a:lnTo>
                <a:lnTo>
                  <a:pt x="3442280" y="1016524"/>
                </a:lnTo>
                <a:cubicBezTo>
                  <a:pt x="3442280" y="1016524"/>
                  <a:pt x="3442280" y="1016524"/>
                  <a:pt x="3442280" y="1029131"/>
                </a:cubicBezTo>
                <a:lnTo>
                  <a:pt x="3442280" y="1044999"/>
                </a:lnTo>
                <a:lnTo>
                  <a:pt x="3442280" y="1046406"/>
                </a:lnTo>
                <a:lnTo>
                  <a:pt x="3442280" y="1050025"/>
                </a:lnTo>
                <a:lnTo>
                  <a:pt x="3442280" y="1074887"/>
                </a:lnTo>
                <a:cubicBezTo>
                  <a:pt x="3442280" y="1098232"/>
                  <a:pt x="3442280" y="1130916"/>
                  <a:pt x="3442280" y="1176672"/>
                </a:cubicBezTo>
                <a:lnTo>
                  <a:pt x="3442280" y="1177161"/>
                </a:lnTo>
                <a:lnTo>
                  <a:pt x="3442280" y="1202847"/>
                </a:lnTo>
                <a:lnTo>
                  <a:pt x="3442280" y="1255579"/>
                </a:lnTo>
                <a:lnTo>
                  <a:pt x="3442280" y="1290764"/>
                </a:lnTo>
                <a:cubicBezTo>
                  <a:pt x="3442280" y="1290764"/>
                  <a:pt x="3442280" y="1290764"/>
                  <a:pt x="3442280" y="1299618"/>
                </a:cubicBezTo>
                <a:lnTo>
                  <a:pt x="3442280" y="1319239"/>
                </a:lnTo>
                <a:lnTo>
                  <a:pt x="3442280" y="1320462"/>
                </a:lnTo>
                <a:lnTo>
                  <a:pt x="3442280" y="1320646"/>
                </a:lnTo>
                <a:cubicBezTo>
                  <a:pt x="3442280" y="1328117"/>
                  <a:pt x="3442280" y="1337455"/>
                  <a:pt x="3442280" y="1349128"/>
                </a:cubicBezTo>
                <a:lnTo>
                  <a:pt x="3442280" y="1377296"/>
                </a:lnTo>
                <a:lnTo>
                  <a:pt x="3442280" y="1391616"/>
                </a:lnTo>
                <a:lnTo>
                  <a:pt x="3442280" y="1396135"/>
                </a:lnTo>
                <a:lnTo>
                  <a:pt x="3442280" y="1429106"/>
                </a:lnTo>
                <a:cubicBezTo>
                  <a:pt x="3442280" y="1442941"/>
                  <a:pt x="3442280" y="1458158"/>
                  <a:pt x="3442280" y="1474898"/>
                </a:cubicBezTo>
                <a:lnTo>
                  <a:pt x="3442280" y="1477087"/>
                </a:lnTo>
                <a:lnTo>
                  <a:pt x="3442280" y="1483429"/>
                </a:lnTo>
                <a:lnTo>
                  <a:pt x="3442280" y="1529819"/>
                </a:lnTo>
                <a:lnTo>
                  <a:pt x="3442280" y="1569177"/>
                </a:lnTo>
                <a:lnTo>
                  <a:pt x="3442280" y="1583173"/>
                </a:lnTo>
                <a:lnTo>
                  <a:pt x="3442280" y="1594702"/>
                </a:lnTo>
                <a:lnTo>
                  <a:pt x="3442280" y="1651536"/>
                </a:lnTo>
                <a:lnTo>
                  <a:pt x="3442280" y="1670375"/>
                </a:lnTo>
                <a:lnTo>
                  <a:pt x="3442280" y="1696199"/>
                </a:lnTo>
                <a:lnTo>
                  <a:pt x="3442280" y="1757669"/>
                </a:lnTo>
                <a:lnTo>
                  <a:pt x="3442280" y="1779318"/>
                </a:lnTo>
                <a:lnTo>
                  <a:pt x="3442280" y="1823335"/>
                </a:lnTo>
                <a:lnTo>
                  <a:pt x="3442280" y="1843417"/>
                </a:lnTo>
                <a:lnTo>
                  <a:pt x="3442280" y="1857413"/>
                </a:lnTo>
                <a:lnTo>
                  <a:pt x="3442280" y="1965413"/>
                </a:lnTo>
                <a:lnTo>
                  <a:pt x="3442280" y="1970439"/>
                </a:lnTo>
                <a:lnTo>
                  <a:pt x="3442280" y="2008551"/>
                </a:lnTo>
                <a:lnTo>
                  <a:pt x="3442280" y="2053558"/>
                </a:lnTo>
                <a:lnTo>
                  <a:pt x="3442280" y="2097575"/>
                </a:lnTo>
                <a:lnTo>
                  <a:pt x="3442280" y="2123261"/>
                </a:lnTo>
                <a:lnTo>
                  <a:pt x="3442280" y="2239653"/>
                </a:lnTo>
                <a:lnTo>
                  <a:pt x="3442280" y="2257705"/>
                </a:lnTo>
                <a:lnTo>
                  <a:pt x="3442280" y="2282791"/>
                </a:lnTo>
                <a:lnTo>
                  <a:pt x="3442280" y="2297710"/>
                </a:lnTo>
                <a:lnTo>
                  <a:pt x="3442280" y="2397501"/>
                </a:lnTo>
                <a:lnTo>
                  <a:pt x="3442280" y="2489591"/>
                </a:lnTo>
                <a:lnTo>
                  <a:pt x="3442280" y="2527610"/>
                </a:lnTo>
                <a:lnTo>
                  <a:pt x="3442280" y="2531945"/>
                </a:lnTo>
                <a:lnTo>
                  <a:pt x="3442280" y="2571950"/>
                </a:lnTo>
                <a:lnTo>
                  <a:pt x="3442280" y="2699732"/>
                </a:lnTo>
                <a:lnTo>
                  <a:pt x="3442280" y="2763831"/>
                </a:lnTo>
                <a:lnTo>
                  <a:pt x="3442280" y="2801851"/>
                </a:lnTo>
                <a:lnTo>
                  <a:pt x="3442280" y="2819097"/>
                </a:lnTo>
                <a:lnTo>
                  <a:pt x="3442280" y="2928965"/>
                </a:lnTo>
                <a:lnTo>
                  <a:pt x="3442280" y="2973972"/>
                </a:lnTo>
                <a:lnTo>
                  <a:pt x="3442280" y="3093337"/>
                </a:lnTo>
                <a:lnTo>
                  <a:pt x="3442280" y="3132995"/>
                </a:lnTo>
                <a:lnTo>
                  <a:pt x="3442280" y="3178119"/>
                </a:lnTo>
                <a:lnTo>
                  <a:pt x="3442280" y="3203205"/>
                </a:lnTo>
                <a:lnTo>
                  <a:pt x="3442280" y="3407236"/>
                </a:lnTo>
                <a:lnTo>
                  <a:pt x="3442280" y="3448024"/>
                </a:lnTo>
                <a:lnTo>
                  <a:pt x="3442280" y="3452359"/>
                </a:lnTo>
                <a:lnTo>
                  <a:pt x="3442280" y="3470135"/>
                </a:lnTo>
                <a:lnTo>
                  <a:pt x="3442280" y="3722265"/>
                </a:lnTo>
                <a:lnTo>
                  <a:pt x="3442280" y="3739511"/>
                </a:lnTo>
                <a:lnTo>
                  <a:pt x="3442280" y="3744375"/>
                </a:lnTo>
                <a:lnTo>
                  <a:pt x="3442280" y="3831346"/>
                </a:lnTo>
                <a:lnTo>
                  <a:pt x="3442280" y="4013751"/>
                </a:lnTo>
                <a:lnTo>
                  <a:pt x="3442280" y="4053409"/>
                </a:lnTo>
                <a:lnTo>
                  <a:pt x="3442280" y="4105586"/>
                </a:lnTo>
                <a:lnTo>
                  <a:pt x="3442280" y="4217459"/>
                </a:lnTo>
                <a:lnTo>
                  <a:pt x="3442280" y="4327650"/>
                </a:lnTo>
                <a:lnTo>
                  <a:pt x="3442280" y="4390549"/>
                </a:lnTo>
                <a:lnTo>
                  <a:pt x="3442280" y="4491699"/>
                </a:lnTo>
                <a:lnTo>
                  <a:pt x="3442280" y="4629303"/>
                </a:lnTo>
                <a:lnTo>
                  <a:pt x="3442280" y="4664789"/>
                </a:lnTo>
                <a:lnTo>
                  <a:pt x="3442280" y="4751760"/>
                </a:lnTo>
                <a:lnTo>
                  <a:pt x="3442280" y="4903543"/>
                </a:lnTo>
                <a:lnTo>
                  <a:pt x="3442280" y="5026000"/>
                </a:lnTo>
                <a:lnTo>
                  <a:pt x="3442280" y="5137873"/>
                </a:lnTo>
                <a:lnTo>
                  <a:pt x="3442280" y="5412113"/>
                </a:lnTo>
                <a:lnTo>
                  <a:pt x="3442280" y="5549717"/>
                </a:lnTo>
                <a:lnTo>
                  <a:pt x="3442280" y="5823957"/>
                </a:lnTo>
                <a:cubicBezTo>
                  <a:pt x="3442280" y="5896040"/>
                  <a:pt x="3388282" y="5914060"/>
                  <a:pt x="3361283" y="5918566"/>
                </a:cubicBezTo>
                <a:lnTo>
                  <a:pt x="3346294" y="5920066"/>
                </a:lnTo>
                <a:lnTo>
                  <a:pt x="0" y="5920066"/>
                </a:ln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59964" tIns="359964">
            <a:noAutofit/>
          </a:bodyPr>
          <a:lstStyle>
            <a:lvl1pPr algn="ctr">
              <a:defRPr sz="1400" b="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45576" y="280734"/>
            <a:ext cx="677862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572318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806">
          <p15:clr>
            <a:srgbClr val="FBAE40"/>
          </p15:clr>
        </p15:guide>
        <p15:guide id="2" pos="5322">
          <p15:clr>
            <a:srgbClr val="FBAE40"/>
          </p15:clr>
        </p15:guide>
      </p15:sldGuideLst>
    </p:ext>
  </p:extLs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696912" y="1201147"/>
            <a:ext cx="11199600" cy="4999652"/>
          </a:xfrm>
          <a:custGeom>
            <a:avLst/>
            <a:gdLst>
              <a:gd name="connsiteX0" fmla="*/ 95997 w 11199600"/>
              <a:gd name="connsiteY0" fmla="*/ 0 h 4999652"/>
              <a:gd name="connsiteX1" fmla="*/ 11103603 w 11199600"/>
              <a:gd name="connsiteY1" fmla="*/ 0 h 4999652"/>
              <a:gd name="connsiteX2" fmla="*/ 11199600 w 11199600"/>
              <a:gd name="connsiteY2" fmla="*/ 96110 h 4999652"/>
              <a:gd name="connsiteX3" fmla="*/ 11199600 w 11199600"/>
              <a:gd name="connsiteY3" fmla="*/ 335165 h 4999652"/>
              <a:gd name="connsiteX4" fmla="*/ 11199600 w 11199600"/>
              <a:gd name="connsiteY4" fmla="*/ 370350 h 4999652"/>
              <a:gd name="connsiteX5" fmla="*/ 11199600 w 11199600"/>
              <a:gd name="connsiteY5" fmla="*/ 379204 h 4999652"/>
              <a:gd name="connsiteX6" fmla="*/ 11199600 w 11199600"/>
              <a:gd name="connsiteY6" fmla="*/ 400048 h 4999652"/>
              <a:gd name="connsiteX7" fmla="*/ 11199600 w 11199600"/>
              <a:gd name="connsiteY7" fmla="*/ 400232 h 4999652"/>
              <a:gd name="connsiteX8" fmla="*/ 11199600 w 11199600"/>
              <a:gd name="connsiteY8" fmla="*/ 471202 h 4999652"/>
              <a:gd name="connsiteX9" fmla="*/ 11199600 w 11199600"/>
              <a:gd name="connsiteY9" fmla="*/ 475721 h 4999652"/>
              <a:gd name="connsiteX10" fmla="*/ 11199600 w 11199600"/>
              <a:gd name="connsiteY10" fmla="*/ 508692 h 4999652"/>
              <a:gd name="connsiteX11" fmla="*/ 11199600 w 11199600"/>
              <a:gd name="connsiteY11" fmla="*/ 554484 h 4999652"/>
              <a:gd name="connsiteX12" fmla="*/ 11199600 w 11199600"/>
              <a:gd name="connsiteY12" fmla="*/ 563015 h 4999652"/>
              <a:gd name="connsiteX13" fmla="*/ 11199600 w 11199600"/>
              <a:gd name="connsiteY13" fmla="*/ 609405 h 4999652"/>
              <a:gd name="connsiteX14" fmla="*/ 11199600 w 11199600"/>
              <a:gd name="connsiteY14" fmla="*/ 662759 h 4999652"/>
              <a:gd name="connsiteX15" fmla="*/ 11199600 w 11199600"/>
              <a:gd name="connsiteY15" fmla="*/ 674288 h 4999652"/>
              <a:gd name="connsiteX16" fmla="*/ 11199600 w 11199600"/>
              <a:gd name="connsiteY16" fmla="*/ 749961 h 4999652"/>
              <a:gd name="connsiteX17" fmla="*/ 11199600 w 11199600"/>
              <a:gd name="connsiteY17" fmla="*/ 775785 h 4999652"/>
              <a:gd name="connsiteX18" fmla="*/ 11199600 w 11199600"/>
              <a:gd name="connsiteY18" fmla="*/ 837255 h 4999652"/>
              <a:gd name="connsiteX19" fmla="*/ 11199600 w 11199600"/>
              <a:gd name="connsiteY19" fmla="*/ 902921 h 4999652"/>
              <a:gd name="connsiteX20" fmla="*/ 11199600 w 11199600"/>
              <a:gd name="connsiteY20" fmla="*/ 936999 h 4999652"/>
              <a:gd name="connsiteX21" fmla="*/ 11199600 w 11199600"/>
              <a:gd name="connsiteY21" fmla="*/ 1016524 h 4999652"/>
              <a:gd name="connsiteX22" fmla="*/ 11199600 w 11199600"/>
              <a:gd name="connsiteY22" fmla="*/ 1029131 h 4999652"/>
              <a:gd name="connsiteX23" fmla="*/ 11199600 w 11199600"/>
              <a:gd name="connsiteY23" fmla="*/ 1044999 h 4999652"/>
              <a:gd name="connsiteX24" fmla="*/ 11199600 w 11199600"/>
              <a:gd name="connsiteY24" fmla="*/ 1046406 h 4999652"/>
              <a:gd name="connsiteX25" fmla="*/ 11199600 w 11199600"/>
              <a:gd name="connsiteY25" fmla="*/ 1050025 h 4999652"/>
              <a:gd name="connsiteX26" fmla="*/ 11199600 w 11199600"/>
              <a:gd name="connsiteY26" fmla="*/ 1074887 h 4999652"/>
              <a:gd name="connsiteX27" fmla="*/ 11199600 w 11199600"/>
              <a:gd name="connsiteY27" fmla="*/ 1176672 h 4999652"/>
              <a:gd name="connsiteX28" fmla="*/ 11199600 w 11199600"/>
              <a:gd name="connsiteY28" fmla="*/ 1177161 h 4999652"/>
              <a:gd name="connsiteX29" fmla="*/ 11199600 w 11199600"/>
              <a:gd name="connsiteY29" fmla="*/ 1202847 h 4999652"/>
              <a:gd name="connsiteX30" fmla="*/ 11199600 w 11199600"/>
              <a:gd name="connsiteY30" fmla="*/ 1208224 h 4999652"/>
              <a:gd name="connsiteX31" fmla="*/ 11199600 w 11199600"/>
              <a:gd name="connsiteY31" fmla="*/ 1255579 h 4999652"/>
              <a:gd name="connsiteX32" fmla="*/ 11199600 w 11199600"/>
              <a:gd name="connsiteY32" fmla="*/ 1290764 h 4999652"/>
              <a:gd name="connsiteX33" fmla="*/ 11199600 w 11199600"/>
              <a:gd name="connsiteY33" fmla="*/ 1299618 h 4999652"/>
              <a:gd name="connsiteX34" fmla="*/ 11199600 w 11199600"/>
              <a:gd name="connsiteY34" fmla="*/ 1319238 h 4999652"/>
              <a:gd name="connsiteX35" fmla="*/ 11199600 w 11199600"/>
              <a:gd name="connsiteY35" fmla="*/ 1319239 h 4999652"/>
              <a:gd name="connsiteX36" fmla="*/ 11199600 w 11199600"/>
              <a:gd name="connsiteY36" fmla="*/ 1320462 h 4999652"/>
              <a:gd name="connsiteX37" fmla="*/ 11199600 w 11199600"/>
              <a:gd name="connsiteY37" fmla="*/ 1320646 h 4999652"/>
              <a:gd name="connsiteX38" fmla="*/ 11199600 w 11199600"/>
              <a:gd name="connsiteY38" fmla="*/ 1337290 h 4999652"/>
              <a:gd name="connsiteX39" fmla="*/ 11199600 w 11199600"/>
              <a:gd name="connsiteY39" fmla="*/ 1349128 h 4999652"/>
              <a:gd name="connsiteX40" fmla="*/ 11199600 w 11199600"/>
              <a:gd name="connsiteY40" fmla="*/ 1362376 h 4999652"/>
              <a:gd name="connsiteX41" fmla="*/ 11199600 w 11199600"/>
              <a:gd name="connsiteY41" fmla="*/ 1377295 h 4999652"/>
              <a:gd name="connsiteX42" fmla="*/ 11199600 w 11199600"/>
              <a:gd name="connsiteY42" fmla="*/ 1377296 h 4999652"/>
              <a:gd name="connsiteX43" fmla="*/ 11199600 w 11199600"/>
              <a:gd name="connsiteY43" fmla="*/ 1391616 h 4999652"/>
              <a:gd name="connsiteX44" fmla="*/ 11199600 w 11199600"/>
              <a:gd name="connsiteY44" fmla="*/ 1396135 h 4999652"/>
              <a:gd name="connsiteX45" fmla="*/ 11199600 w 11199600"/>
              <a:gd name="connsiteY45" fmla="*/ 1429106 h 4999652"/>
              <a:gd name="connsiteX46" fmla="*/ 11199600 w 11199600"/>
              <a:gd name="connsiteY46" fmla="*/ 1474898 h 4999652"/>
              <a:gd name="connsiteX47" fmla="*/ 11199600 w 11199600"/>
              <a:gd name="connsiteY47" fmla="*/ 1477086 h 4999652"/>
              <a:gd name="connsiteX48" fmla="*/ 11199600 w 11199600"/>
              <a:gd name="connsiteY48" fmla="*/ 1477087 h 4999652"/>
              <a:gd name="connsiteX49" fmla="*/ 11199600 w 11199600"/>
              <a:gd name="connsiteY49" fmla="*/ 1483429 h 4999652"/>
              <a:gd name="connsiteX50" fmla="*/ 11199600 w 11199600"/>
              <a:gd name="connsiteY50" fmla="*/ 1529819 h 4999652"/>
              <a:gd name="connsiteX51" fmla="*/ 11199600 w 11199600"/>
              <a:gd name="connsiteY51" fmla="*/ 1569176 h 4999652"/>
              <a:gd name="connsiteX52" fmla="*/ 11199600 w 11199600"/>
              <a:gd name="connsiteY52" fmla="*/ 1569177 h 4999652"/>
              <a:gd name="connsiteX53" fmla="*/ 11199600 w 11199600"/>
              <a:gd name="connsiteY53" fmla="*/ 1583173 h 4999652"/>
              <a:gd name="connsiteX54" fmla="*/ 11199600 w 11199600"/>
              <a:gd name="connsiteY54" fmla="*/ 1594702 h 4999652"/>
              <a:gd name="connsiteX55" fmla="*/ 11199600 w 11199600"/>
              <a:gd name="connsiteY55" fmla="*/ 1607195 h 4999652"/>
              <a:gd name="connsiteX56" fmla="*/ 11199600 w 11199600"/>
              <a:gd name="connsiteY56" fmla="*/ 1611530 h 4999652"/>
              <a:gd name="connsiteX57" fmla="*/ 11199600 w 11199600"/>
              <a:gd name="connsiteY57" fmla="*/ 1651535 h 4999652"/>
              <a:gd name="connsiteX58" fmla="*/ 11199600 w 11199600"/>
              <a:gd name="connsiteY58" fmla="*/ 1651536 h 4999652"/>
              <a:gd name="connsiteX59" fmla="*/ 11199600 w 11199600"/>
              <a:gd name="connsiteY59" fmla="*/ 1670375 h 4999652"/>
              <a:gd name="connsiteX60" fmla="*/ 11199600 w 11199600"/>
              <a:gd name="connsiteY60" fmla="*/ 1696199 h 4999652"/>
              <a:gd name="connsiteX61" fmla="*/ 11199600 w 11199600"/>
              <a:gd name="connsiteY61" fmla="*/ 1757669 h 4999652"/>
              <a:gd name="connsiteX62" fmla="*/ 11199600 w 11199600"/>
              <a:gd name="connsiteY62" fmla="*/ 1779317 h 4999652"/>
              <a:gd name="connsiteX63" fmla="*/ 11199600 w 11199600"/>
              <a:gd name="connsiteY63" fmla="*/ 1779318 h 4999652"/>
              <a:gd name="connsiteX64" fmla="*/ 11199600 w 11199600"/>
              <a:gd name="connsiteY64" fmla="*/ 1823335 h 4999652"/>
              <a:gd name="connsiteX65" fmla="*/ 11199600 w 11199600"/>
              <a:gd name="connsiteY65" fmla="*/ 1843416 h 4999652"/>
              <a:gd name="connsiteX66" fmla="*/ 11199600 w 11199600"/>
              <a:gd name="connsiteY66" fmla="*/ 1843417 h 4999652"/>
              <a:gd name="connsiteX67" fmla="*/ 11199600 w 11199600"/>
              <a:gd name="connsiteY67" fmla="*/ 1857413 h 4999652"/>
              <a:gd name="connsiteX68" fmla="*/ 11199600 w 11199600"/>
              <a:gd name="connsiteY68" fmla="*/ 1881436 h 4999652"/>
              <a:gd name="connsiteX69" fmla="*/ 11199600 w 11199600"/>
              <a:gd name="connsiteY69" fmla="*/ 1898682 h 4999652"/>
              <a:gd name="connsiteX70" fmla="*/ 11199600 w 11199600"/>
              <a:gd name="connsiteY70" fmla="*/ 1965413 h 4999652"/>
              <a:gd name="connsiteX71" fmla="*/ 11199600 w 11199600"/>
              <a:gd name="connsiteY71" fmla="*/ 1970439 h 4999652"/>
              <a:gd name="connsiteX72" fmla="*/ 11199600 w 11199600"/>
              <a:gd name="connsiteY72" fmla="*/ 2008550 h 4999652"/>
              <a:gd name="connsiteX73" fmla="*/ 11199600 w 11199600"/>
              <a:gd name="connsiteY73" fmla="*/ 2008551 h 4999652"/>
              <a:gd name="connsiteX74" fmla="*/ 11199600 w 11199600"/>
              <a:gd name="connsiteY74" fmla="*/ 2053557 h 4999652"/>
              <a:gd name="connsiteX75" fmla="*/ 11199600 w 11199600"/>
              <a:gd name="connsiteY75" fmla="*/ 2053558 h 4999652"/>
              <a:gd name="connsiteX76" fmla="*/ 11199600 w 11199600"/>
              <a:gd name="connsiteY76" fmla="*/ 2097575 h 4999652"/>
              <a:gd name="connsiteX77" fmla="*/ 11199600 w 11199600"/>
              <a:gd name="connsiteY77" fmla="*/ 2123261 h 4999652"/>
              <a:gd name="connsiteX78" fmla="*/ 11199600 w 11199600"/>
              <a:gd name="connsiteY78" fmla="*/ 2172922 h 4999652"/>
              <a:gd name="connsiteX79" fmla="*/ 11199600 w 11199600"/>
              <a:gd name="connsiteY79" fmla="*/ 2212580 h 4999652"/>
              <a:gd name="connsiteX80" fmla="*/ 11199600 w 11199600"/>
              <a:gd name="connsiteY80" fmla="*/ 2239653 h 4999652"/>
              <a:gd name="connsiteX81" fmla="*/ 11199600 w 11199600"/>
              <a:gd name="connsiteY81" fmla="*/ 2257704 h 4999652"/>
              <a:gd name="connsiteX82" fmla="*/ 11199600 w 11199600"/>
              <a:gd name="connsiteY82" fmla="*/ 2257705 h 4999652"/>
              <a:gd name="connsiteX83" fmla="*/ 11199600 w 11199600"/>
              <a:gd name="connsiteY83" fmla="*/ 2282790 h 4999652"/>
              <a:gd name="connsiteX84" fmla="*/ 11199600 w 11199600"/>
              <a:gd name="connsiteY84" fmla="*/ 2282791 h 4999652"/>
              <a:gd name="connsiteX85" fmla="*/ 11199600 w 11199600"/>
              <a:gd name="connsiteY85" fmla="*/ 2297710 h 4999652"/>
              <a:gd name="connsiteX86" fmla="*/ 11199600 w 11199600"/>
              <a:gd name="connsiteY86" fmla="*/ 2397501 h 4999652"/>
              <a:gd name="connsiteX87" fmla="*/ 11199600 w 11199600"/>
              <a:gd name="connsiteY87" fmla="*/ 2486821 h 4999652"/>
              <a:gd name="connsiteX88" fmla="*/ 11199600 w 11199600"/>
              <a:gd name="connsiteY88" fmla="*/ 2489591 h 4999652"/>
              <a:gd name="connsiteX89" fmla="*/ 11199600 w 11199600"/>
              <a:gd name="connsiteY89" fmla="*/ 2527609 h 4999652"/>
              <a:gd name="connsiteX90" fmla="*/ 11199600 w 11199600"/>
              <a:gd name="connsiteY90" fmla="*/ 2527610 h 4999652"/>
              <a:gd name="connsiteX91" fmla="*/ 11199600 w 11199600"/>
              <a:gd name="connsiteY91" fmla="*/ 2531944 h 4999652"/>
              <a:gd name="connsiteX92" fmla="*/ 11199600 w 11199600"/>
              <a:gd name="connsiteY92" fmla="*/ 2531945 h 4999652"/>
              <a:gd name="connsiteX93" fmla="*/ 11199600 w 11199600"/>
              <a:gd name="connsiteY93" fmla="*/ 2549720 h 4999652"/>
              <a:gd name="connsiteX94" fmla="*/ 11199600 w 11199600"/>
              <a:gd name="connsiteY94" fmla="*/ 2571950 h 4999652"/>
              <a:gd name="connsiteX95" fmla="*/ 11199600 w 11199600"/>
              <a:gd name="connsiteY95" fmla="*/ 2699732 h 4999652"/>
              <a:gd name="connsiteX96" fmla="*/ 11199600 w 11199600"/>
              <a:gd name="connsiteY96" fmla="*/ 2763831 h 4999652"/>
              <a:gd name="connsiteX97" fmla="*/ 11199600 w 11199600"/>
              <a:gd name="connsiteY97" fmla="*/ 2790282 h 4999652"/>
              <a:gd name="connsiteX98" fmla="*/ 11199600 w 11199600"/>
              <a:gd name="connsiteY98" fmla="*/ 2801850 h 4999652"/>
              <a:gd name="connsiteX99" fmla="*/ 11199600 w 11199600"/>
              <a:gd name="connsiteY99" fmla="*/ 2819096 h 4999652"/>
              <a:gd name="connsiteX100" fmla="*/ 11199600 w 11199600"/>
              <a:gd name="connsiteY100" fmla="*/ 2823960 h 4999652"/>
              <a:gd name="connsiteX101" fmla="*/ 11199600 w 11199600"/>
              <a:gd name="connsiteY101" fmla="*/ 2910931 h 4999652"/>
              <a:gd name="connsiteX102" fmla="*/ 11199600 w 11199600"/>
              <a:gd name="connsiteY102" fmla="*/ 3093336 h 4999652"/>
              <a:gd name="connsiteX103" fmla="*/ 11199600 w 11199600"/>
              <a:gd name="connsiteY103" fmla="*/ 3132994 h 4999652"/>
              <a:gd name="connsiteX104" fmla="*/ 11199600 w 11199600"/>
              <a:gd name="connsiteY104" fmla="*/ 3185171 h 4999652"/>
              <a:gd name="connsiteX105" fmla="*/ 11199600 w 11199600"/>
              <a:gd name="connsiteY105" fmla="*/ 3297044 h 4999652"/>
              <a:gd name="connsiteX106" fmla="*/ 11199600 w 11199600"/>
              <a:gd name="connsiteY106" fmla="*/ 3407235 h 4999652"/>
              <a:gd name="connsiteX107" fmla="*/ 11199600 w 11199600"/>
              <a:gd name="connsiteY107" fmla="*/ 3470134 h 4999652"/>
              <a:gd name="connsiteX108" fmla="*/ 11199600 w 11199600"/>
              <a:gd name="connsiteY108" fmla="*/ 3571284 h 4999652"/>
              <a:gd name="connsiteX109" fmla="*/ 11199600 w 11199600"/>
              <a:gd name="connsiteY109" fmla="*/ 3708888 h 4999652"/>
              <a:gd name="connsiteX110" fmla="*/ 11199600 w 11199600"/>
              <a:gd name="connsiteY110" fmla="*/ 3744374 h 4999652"/>
              <a:gd name="connsiteX111" fmla="*/ 11199600 w 11199600"/>
              <a:gd name="connsiteY111" fmla="*/ 3831345 h 4999652"/>
              <a:gd name="connsiteX112" fmla="*/ 11199600 w 11199600"/>
              <a:gd name="connsiteY112" fmla="*/ 3983128 h 4999652"/>
              <a:gd name="connsiteX113" fmla="*/ 11199600 w 11199600"/>
              <a:gd name="connsiteY113" fmla="*/ 4105585 h 4999652"/>
              <a:gd name="connsiteX114" fmla="*/ 11199600 w 11199600"/>
              <a:gd name="connsiteY114" fmla="*/ 4217458 h 4999652"/>
              <a:gd name="connsiteX115" fmla="*/ 11199600 w 11199600"/>
              <a:gd name="connsiteY115" fmla="*/ 4491698 h 4999652"/>
              <a:gd name="connsiteX116" fmla="*/ 11199600 w 11199600"/>
              <a:gd name="connsiteY116" fmla="*/ 4629302 h 4999652"/>
              <a:gd name="connsiteX117" fmla="*/ 11199600 w 11199600"/>
              <a:gd name="connsiteY117" fmla="*/ 4903542 h 4999652"/>
              <a:gd name="connsiteX118" fmla="*/ 11103603 w 11199600"/>
              <a:gd name="connsiteY118" fmla="*/ 4999652 h 4999652"/>
              <a:gd name="connsiteX119" fmla="*/ 95997 w 11199600"/>
              <a:gd name="connsiteY119" fmla="*/ 4999652 h 4999652"/>
              <a:gd name="connsiteX120" fmla="*/ 0 w 11199600"/>
              <a:gd name="connsiteY120" fmla="*/ 4903542 h 4999652"/>
              <a:gd name="connsiteX121" fmla="*/ 0 w 11199600"/>
              <a:gd name="connsiteY121" fmla="*/ 4899807 h 4999652"/>
              <a:gd name="connsiteX122" fmla="*/ 0 w 11199600"/>
              <a:gd name="connsiteY122" fmla="*/ 4890936 h 4999652"/>
              <a:gd name="connsiteX123" fmla="*/ 0 w 11199600"/>
              <a:gd name="connsiteY123" fmla="*/ 4873660 h 4999652"/>
              <a:gd name="connsiteX124" fmla="*/ 0 w 11199600"/>
              <a:gd name="connsiteY124" fmla="*/ 4845179 h 4999652"/>
              <a:gd name="connsiteX125" fmla="*/ 0 w 11199600"/>
              <a:gd name="connsiteY125" fmla="*/ 4802691 h 4999652"/>
              <a:gd name="connsiteX126" fmla="*/ 0 w 11199600"/>
              <a:gd name="connsiteY126" fmla="*/ 4743394 h 4999652"/>
              <a:gd name="connsiteX127" fmla="*/ 0 w 11199600"/>
              <a:gd name="connsiteY127" fmla="*/ 4664487 h 4999652"/>
              <a:gd name="connsiteX128" fmla="*/ 0 w 11199600"/>
              <a:gd name="connsiteY128" fmla="*/ 4629302 h 4999652"/>
              <a:gd name="connsiteX129" fmla="*/ 0 w 11199600"/>
              <a:gd name="connsiteY129" fmla="*/ 4628196 h 4999652"/>
              <a:gd name="connsiteX130" fmla="*/ 0 w 11199600"/>
              <a:gd name="connsiteY130" fmla="*/ 4620448 h 4999652"/>
              <a:gd name="connsiteX131" fmla="*/ 0 w 11199600"/>
              <a:gd name="connsiteY131" fmla="*/ 4599605 h 4999652"/>
              <a:gd name="connsiteX132" fmla="*/ 0 w 11199600"/>
              <a:gd name="connsiteY132" fmla="*/ 4599420 h 4999652"/>
              <a:gd name="connsiteX133" fmla="*/ 0 w 11199600"/>
              <a:gd name="connsiteY133" fmla="*/ 4558471 h 4999652"/>
              <a:gd name="connsiteX134" fmla="*/ 0 w 11199600"/>
              <a:gd name="connsiteY134" fmla="*/ 4528451 h 4999652"/>
              <a:gd name="connsiteX135" fmla="*/ 0 w 11199600"/>
              <a:gd name="connsiteY135" fmla="*/ 4523932 h 4999652"/>
              <a:gd name="connsiteX136" fmla="*/ 0 w 11199600"/>
              <a:gd name="connsiteY136" fmla="*/ 4490960 h 4999652"/>
              <a:gd name="connsiteX137" fmla="*/ 0 w 11199600"/>
              <a:gd name="connsiteY137" fmla="*/ 4445169 h 4999652"/>
              <a:gd name="connsiteX138" fmla="*/ 0 w 11199600"/>
              <a:gd name="connsiteY138" fmla="*/ 4436638 h 4999652"/>
              <a:gd name="connsiteX139" fmla="*/ 0 w 11199600"/>
              <a:gd name="connsiteY139" fmla="*/ 4390247 h 4999652"/>
              <a:gd name="connsiteX140" fmla="*/ 0 w 11199600"/>
              <a:gd name="connsiteY140" fmla="*/ 4336893 h 4999652"/>
              <a:gd name="connsiteX141" fmla="*/ 0 w 11199600"/>
              <a:gd name="connsiteY141" fmla="*/ 4325365 h 4999652"/>
              <a:gd name="connsiteX142" fmla="*/ 0 w 11199600"/>
              <a:gd name="connsiteY142" fmla="*/ 4249692 h 4999652"/>
              <a:gd name="connsiteX143" fmla="*/ 0 w 11199600"/>
              <a:gd name="connsiteY143" fmla="*/ 4223868 h 4999652"/>
              <a:gd name="connsiteX144" fmla="*/ 0 w 11199600"/>
              <a:gd name="connsiteY144" fmla="*/ 4162398 h 4999652"/>
              <a:gd name="connsiteX145" fmla="*/ 0 w 11199600"/>
              <a:gd name="connsiteY145" fmla="*/ 4096731 h 4999652"/>
              <a:gd name="connsiteX146" fmla="*/ 0 w 11199600"/>
              <a:gd name="connsiteY146" fmla="*/ 4062653 h 4999652"/>
              <a:gd name="connsiteX147" fmla="*/ 0 w 11199600"/>
              <a:gd name="connsiteY147" fmla="*/ 3983128 h 4999652"/>
              <a:gd name="connsiteX148" fmla="*/ 0 w 11199600"/>
              <a:gd name="connsiteY148" fmla="*/ 3979393 h 4999652"/>
              <a:gd name="connsiteX149" fmla="*/ 0 w 11199600"/>
              <a:gd name="connsiteY149" fmla="*/ 3970522 h 4999652"/>
              <a:gd name="connsiteX150" fmla="*/ 0 w 11199600"/>
              <a:gd name="connsiteY150" fmla="*/ 3954654 h 4999652"/>
              <a:gd name="connsiteX151" fmla="*/ 0 w 11199600"/>
              <a:gd name="connsiteY151" fmla="*/ 3953246 h 4999652"/>
              <a:gd name="connsiteX152" fmla="*/ 0 w 11199600"/>
              <a:gd name="connsiteY152" fmla="*/ 3949628 h 4999652"/>
              <a:gd name="connsiteX153" fmla="*/ 0 w 11199600"/>
              <a:gd name="connsiteY153" fmla="*/ 3924765 h 4999652"/>
              <a:gd name="connsiteX154" fmla="*/ 0 w 11199600"/>
              <a:gd name="connsiteY154" fmla="*/ 3882277 h 4999652"/>
              <a:gd name="connsiteX155" fmla="*/ 0 w 11199600"/>
              <a:gd name="connsiteY155" fmla="*/ 3822980 h 4999652"/>
              <a:gd name="connsiteX156" fmla="*/ 0 w 11199600"/>
              <a:gd name="connsiteY156" fmla="*/ 3822491 h 4999652"/>
              <a:gd name="connsiteX157" fmla="*/ 0 w 11199600"/>
              <a:gd name="connsiteY157" fmla="*/ 3796806 h 4999652"/>
              <a:gd name="connsiteX158" fmla="*/ 0 w 11199600"/>
              <a:gd name="connsiteY158" fmla="*/ 3744073 h 4999652"/>
              <a:gd name="connsiteX159" fmla="*/ 0 w 11199600"/>
              <a:gd name="connsiteY159" fmla="*/ 3708888 h 4999652"/>
              <a:gd name="connsiteX160" fmla="*/ 0 w 11199600"/>
              <a:gd name="connsiteY160" fmla="*/ 3707782 h 4999652"/>
              <a:gd name="connsiteX161" fmla="*/ 0 w 11199600"/>
              <a:gd name="connsiteY161" fmla="*/ 3700034 h 4999652"/>
              <a:gd name="connsiteX162" fmla="*/ 0 w 11199600"/>
              <a:gd name="connsiteY162" fmla="*/ 3680414 h 4999652"/>
              <a:gd name="connsiteX163" fmla="*/ 0 w 11199600"/>
              <a:gd name="connsiteY163" fmla="*/ 3679191 h 4999652"/>
              <a:gd name="connsiteX164" fmla="*/ 0 w 11199600"/>
              <a:gd name="connsiteY164" fmla="*/ 3679006 h 4999652"/>
              <a:gd name="connsiteX165" fmla="*/ 0 w 11199600"/>
              <a:gd name="connsiteY165" fmla="*/ 3638057 h 4999652"/>
              <a:gd name="connsiteX166" fmla="*/ 0 w 11199600"/>
              <a:gd name="connsiteY166" fmla="*/ 3622356 h 4999652"/>
              <a:gd name="connsiteX167" fmla="*/ 0 w 11199600"/>
              <a:gd name="connsiteY167" fmla="*/ 3608037 h 4999652"/>
              <a:gd name="connsiteX168" fmla="*/ 0 w 11199600"/>
              <a:gd name="connsiteY168" fmla="*/ 3603518 h 4999652"/>
              <a:gd name="connsiteX169" fmla="*/ 0 w 11199600"/>
              <a:gd name="connsiteY169" fmla="*/ 3570546 h 4999652"/>
              <a:gd name="connsiteX170" fmla="*/ 0 w 11199600"/>
              <a:gd name="connsiteY170" fmla="*/ 3524755 h 4999652"/>
              <a:gd name="connsiteX171" fmla="*/ 0 w 11199600"/>
              <a:gd name="connsiteY171" fmla="*/ 3522566 h 4999652"/>
              <a:gd name="connsiteX172" fmla="*/ 0 w 11199600"/>
              <a:gd name="connsiteY172" fmla="*/ 3516224 h 4999652"/>
              <a:gd name="connsiteX173" fmla="*/ 0 w 11199600"/>
              <a:gd name="connsiteY173" fmla="*/ 3469833 h 4999652"/>
              <a:gd name="connsiteX174" fmla="*/ 0 w 11199600"/>
              <a:gd name="connsiteY174" fmla="*/ 3430476 h 4999652"/>
              <a:gd name="connsiteX175" fmla="*/ 0 w 11199600"/>
              <a:gd name="connsiteY175" fmla="*/ 3416479 h 4999652"/>
              <a:gd name="connsiteX176" fmla="*/ 0 w 11199600"/>
              <a:gd name="connsiteY176" fmla="*/ 3404951 h 4999652"/>
              <a:gd name="connsiteX177" fmla="*/ 0 w 11199600"/>
              <a:gd name="connsiteY177" fmla="*/ 3348116 h 4999652"/>
              <a:gd name="connsiteX178" fmla="*/ 0 w 11199600"/>
              <a:gd name="connsiteY178" fmla="*/ 3329278 h 4999652"/>
              <a:gd name="connsiteX179" fmla="*/ 0 w 11199600"/>
              <a:gd name="connsiteY179" fmla="*/ 3303454 h 4999652"/>
              <a:gd name="connsiteX180" fmla="*/ 0 w 11199600"/>
              <a:gd name="connsiteY180" fmla="*/ 3241984 h 4999652"/>
              <a:gd name="connsiteX181" fmla="*/ 0 w 11199600"/>
              <a:gd name="connsiteY181" fmla="*/ 3220334 h 4999652"/>
              <a:gd name="connsiteX182" fmla="*/ 0 w 11199600"/>
              <a:gd name="connsiteY182" fmla="*/ 3176317 h 4999652"/>
              <a:gd name="connsiteX183" fmla="*/ 0 w 11199600"/>
              <a:gd name="connsiteY183" fmla="*/ 3156236 h 4999652"/>
              <a:gd name="connsiteX184" fmla="*/ 0 w 11199600"/>
              <a:gd name="connsiteY184" fmla="*/ 3142239 h 4999652"/>
              <a:gd name="connsiteX185" fmla="*/ 0 w 11199600"/>
              <a:gd name="connsiteY185" fmla="*/ 3034240 h 4999652"/>
              <a:gd name="connsiteX186" fmla="*/ 0 w 11199600"/>
              <a:gd name="connsiteY186" fmla="*/ 3029214 h 4999652"/>
              <a:gd name="connsiteX187" fmla="*/ 0 w 11199600"/>
              <a:gd name="connsiteY187" fmla="*/ 2991101 h 4999652"/>
              <a:gd name="connsiteX188" fmla="*/ 0 w 11199600"/>
              <a:gd name="connsiteY188" fmla="*/ 2946094 h 4999652"/>
              <a:gd name="connsiteX189" fmla="*/ 0 w 11199600"/>
              <a:gd name="connsiteY189" fmla="*/ 2902077 h 4999652"/>
              <a:gd name="connsiteX190" fmla="*/ 0 w 11199600"/>
              <a:gd name="connsiteY190" fmla="*/ 2876392 h 4999652"/>
              <a:gd name="connsiteX191" fmla="*/ 0 w 11199600"/>
              <a:gd name="connsiteY191" fmla="*/ 2790282 h 4999652"/>
              <a:gd name="connsiteX192" fmla="*/ 0 w 11199600"/>
              <a:gd name="connsiteY192" fmla="*/ 2787072 h 4999652"/>
              <a:gd name="connsiteX193" fmla="*/ 0 w 11199600"/>
              <a:gd name="connsiteY193" fmla="*/ 2760000 h 4999652"/>
              <a:gd name="connsiteX194" fmla="*/ 0 w 11199600"/>
              <a:gd name="connsiteY194" fmla="*/ 2741948 h 4999652"/>
              <a:gd name="connsiteX195" fmla="*/ 0 w 11199600"/>
              <a:gd name="connsiteY195" fmla="*/ 2741947 h 4999652"/>
              <a:gd name="connsiteX196" fmla="*/ 0 w 11199600"/>
              <a:gd name="connsiteY196" fmla="*/ 2716862 h 4999652"/>
              <a:gd name="connsiteX197" fmla="*/ 0 w 11199600"/>
              <a:gd name="connsiteY197" fmla="*/ 2716861 h 4999652"/>
              <a:gd name="connsiteX198" fmla="*/ 0 w 11199600"/>
              <a:gd name="connsiteY198" fmla="*/ 2701942 h 4999652"/>
              <a:gd name="connsiteX199" fmla="*/ 0 w 11199600"/>
              <a:gd name="connsiteY199" fmla="*/ 2602152 h 4999652"/>
              <a:gd name="connsiteX200" fmla="*/ 0 w 11199600"/>
              <a:gd name="connsiteY200" fmla="*/ 2512832 h 4999652"/>
              <a:gd name="connsiteX201" fmla="*/ 0 w 11199600"/>
              <a:gd name="connsiteY201" fmla="*/ 2510062 h 4999652"/>
              <a:gd name="connsiteX202" fmla="*/ 0 w 11199600"/>
              <a:gd name="connsiteY202" fmla="*/ 2472043 h 4999652"/>
              <a:gd name="connsiteX203" fmla="*/ 0 w 11199600"/>
              <a:gd name="connsiteY203" fmla="*/ 2472042 h 4999652"/>
              <a:gd name="connsiteX204" fmla="*/ 0 w 11199600"/>
              <a:gd name="connsiteY204" fmla="*/ 2467708 h 4999652"/>
              <a:gd name="connsiteX205" fmla="*/ 0 w 11199600"/>
              <a:gd name="connsiteY205" fmla="*/ 2467707 h 4999652"/>
              <a:gd name="connsiteX206" fmla="*/ 0 w 11199600"/>
              <a:gd name="connsiteY206" fmla="*/ 2449933 h 4999652"/>
              <a:gd name="connsiteX207" fmla="*/ 0 w 11199600"/>
              <a:gd name="connsiteY207" fmla="*/ 2427702 h 4999652"/>
              <a:gd name="connsiteX208" fmla="*/ 0 w 11199600"/>
              <a:gd name="connsiteY208" fmla="*/ 2299920 h 4999652"/>
              <a:gd name="connsiteX209" fmla="*/ 0 w 11199600"/>
              <a:gd name="connsiteY209" fmla="*/ 2235822 h 4999652"/>
              <a:gd name="connsiteX210" fmla="*/ 0 w 11199600"/>
              <a:gd name="connsiteY210" fmla="*/ 2197803 h 4999652"/>
              <a:gd name="connsiteX211" fmla="*/ 0 w 11199600"/>
              <a:gd name="connsiteY211" fmla="*/ 2197802 h 4999652"/>
              <a:gd name="connsiteX212" fmla="*/ 0 w 11199600"/>
              <a:gd name="connsiteY212" fmla="*/ 2180556 h 4999652"/>
              <a:gd name="connsiteX213" fmla="*/ 0 w 11199600"/>
              <a:gd name="connsiteY213" fmla="*/ 2180555 h 4999652"/>
              <a:gd name="connsiteX214" fmla="*/ 0 w 11199600"/>
              <a:gd name="connsiteY214" fmla="*/ 2175692 h 4999652"/>
              <a:gd name="connsiteX215" fmla="*/ 0 w 11199600"/>
              <a:gd name="connsiteY215" fmla="*/ 2088721 h 4999652"/>
              <a:gd name="connsiteX216" fmla="*/ 0 w 11199600"/>
              <a:gd name="connsiteY216" fmla="*/ 2070687 h 4999652"/>
              <a:gd name="connsiteX217" fmla="*/ 0 w 11199600"/>
              <a:gd name="connsiteY217" fmla="*/ 2025680 h 4999652"/>
              <a:gd name="connsiteX218" fmla="*/ 0 w 11199600"/>
              <a:gd name="connsiteY218" fmla="*/ 1906316 h 4999652"/>
              <a:gd name="connsiteX219" fmla="*/ 0 w 11199600"/>
              <a:gd name="connsiteY219" fmla="*/ 1906315 h 4999652"/>
              <a:gd name="connsiteX220" fmla="*/ 0 w 11199600"/>
              <a:gd name="connsiteY220" fmla="*/ 1866658 h 4999652"/>
              <a:gd name="connsiteX221" fmla="*/ 0 w 11199600"/>
              <a:gd name="connsiteY221" fmla="*/ 1866657 h 4999652"/>
              <a:gd name="connsiteX222" fmla="*/ 0 w 11199600"/>
              <a:gd name="connsiteY222" fmla="*/ 1821533 h 4999652"/>
              <a:gd name="connsiteX223" fmla="*/ 0 w 11199600"/>
              <a:gd name="connsiteY223" fmla="*/ 1814481 h 4999652"/>
              <a:gd name="connsiteX224" fmla="*/ 0 w 11199600"/>
              <a:gd name="connsiteY224" fmla="*/ 1796447 h 4999652"/>
              <a:gd name="connsiteX225" fmla="*/ 0 w 11199600"/>
              <a:gd name="connsiteY225" fmla="*/ 1702609 h 4999652"/>
              <a:gd name="connsiteX226" fmla="*/ 0 w 11199600"/>
              <a:gd name="connsiteY226" fmla="*/ 1592418 h 4999652"/>
              <a:gd name="connsiteX227" fmla="*/ 0 w 11199600"/>
              <a:gd name="connsiteY227" fmla="*/ 1592417 h 4999652"/>
              <a:gd name="connsiteX228" fmla="*/ 0 w 11199600"/>
              <a:gd name="connsiteY228" fmla="*/ 1551628 h 4999652"/>
              <a:gd name="connsiteX229" fmla="*/ 0 w 11199600"/>
              <a:gd name="connsiteY229" fmla="*/ 1547293 h 4999652"/>
              <a:gd name="connsiteX230" fmla="*/ 0 w 11199600"/>
              <a:gd name="connsiteY230" fmla="*/ 1529519 h 4999652"/>
              <a:gd name="connsiteX231" fmla="*/ 0 w 11199600"/>
              <a:gd name="connsiteY231" fmla="*/ 1529518 h 4999652"/>
              <a:gd name="connsiteX232" fmla="*/ 0 w 11199600"/>
              <a:gd name="connsiteY232" fmla="*/ 1428369 h 4999652"/>
              <a:gd name="connsiteX233" fmla="*/ 0 w 11199600"/>
              <a:gd name="connsiteY233" fmla="*/ 1290764 h 4999652"/>
              <a:gd name="connsiteX234" fmla="*/ 0 w 11199600"/>
              <a:gd name="connsiteY234" fmla="*/ 1277388 h 4999652"/>
              <a:gd name="connsiteX235" fmla="*/ 0 w 11199600"/>
              <a:gd name="connsiteY235" fmla="*/ 1260141 h 4999652"/>
              <a:gd name="connsiteX236" fmla="*/ 0 w 11199600"/>
              <a:gd name="connsiteY236" fmla="*/ 1255278 h 4999652"/>
              <a:gd name="connsiteX237" fmla="*/ 0 w 11199600"/>
              <a:gd name="connsiteY237" fmla="*/ 1255277 h 4999652"/>
              <a:gd name="connsiteX238" fmla="*/ 0 w 11199600"/>
              <a:gd name="connsiteY238" fmla="*/ 1208224 h 4999652"/>
              <a:gd name="connsiteX239" fmla="*/ 0 w 11199600"/>
              <a:gd name="connsiteY239" fmla="*/ 1168307 h 4999652"/>
              <a:gd name="connsiteX240" fmla="*/ 0 w 11199600"/>
              <a:gd name="connsiteY240" fmla="*/ 1016524 h 4999652"/>
              <a:gd name="connsiteX241" fmla="*/ 0 w 11199600"/>
              <a:gd name="connsiteY241" fmla="*/ 894067 h 4999652"/>
              <a:gd name="connsiteX242" fmla="*/ 0 w 11199600"/>
              <a:gd name="connsiteY242" fmla="*/ 782195 h 4999652"/>
              <a:gd name="connsiteX243" fmla="*/ 0 w 11199600"/>
              <a:gd name="connsiteY243" fmla="*/ 507955 h 4999652"/>
              <a:gd name="connsiteX244" fmla="*/ 0 w 11199600"/>
              <a:gd name="connsiteY244" fmla="*/ 370350 h 4999652"/>
              <a:gd name="connsiteX245" fmla="*/ 0 w 11199600"/>
              <a:gd name="connsiteY245" fmla="*/ 96110 h 4999652"/>
              <a:gd name="connsiteX246" fmla="*/ 95997 w 11199600"/>
              <a:gd name="connsiteY246" fmla="*/ 0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</a:cxnLst>
            <a:rect l="l" t="t" r="r" b="b"/>
            <a:pathLst>
              <a:path w="11199600" h="4999652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08224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8"/>
                </a:ln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lnTo>
                  <a:pt x="11199600" y="1337290"/>
                </a:lnTo>
                <a:lnTo>
                  <a:pt x="11199600" y="1349128"/>
                </a:lnTo>
                <a:lnTo>
                  <a:pt x="11199600" y="1362376"/>
                </a:lnTo>
                <a:lnTo>
                  <a:pt x="11199600" y="1377295"/>
                </a:ln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6"/>
                </a:ln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6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07195"/>
                </a:lnTo>
                <a:lnTo>
                  <a:pt x="11199600" y="1611530"/>
                </a:lnTo>
                <a:lnTo>
                  <a:pt x="11199600" y="1651535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7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6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881436"/>
                </a:lnTo>
                <a:lnTo>
                  <a:pt x="11199600" y="1898682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0"/>
                </a:lnTo>
                <a:lnTo>
                  <a:pt x="11199600" y="2008551"/>
                </a:lnTo>
                <a:lnTo>
                  <a:pt x="11199600" y="2053557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172922"/>
                </a:lnTo>
                <a:lnTo>
                  <a:pt x="11199600" y="2212580"/>
                </a:lnTo>
                <a:lnTo>
                  <a:pt x="11199600" y="2239653"/>
                </a:lnTo>
                <a:lnTo>
                  <a:pt x="11199600" y="2257704"/>
                </a:lnTo>
                <a:lnTo>
                  <a:pt x="11199600" y="2257705"/>
                </a:lnTo>
                <a:lnTo>
                  <a:pt x="11199600" y="2282790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6821"/>
                </a:lnTo>
                <a:lnTo>
                  <a:pt x="11199600" y="2489591"/>
                </a:lnTo>
                <a:lnTo>
                  <a:pt x="11199600" y="2527609"/>
                </a:lnTo>
                <a:lnTo>
                  <a:pt x="11199600" y="2527610"/>
                </a:lnTo>
                <a:lnTo>
                  <a:pt x="11199600" y="2531944"/>
                </a:lnTo>
                <a:lnTo>
                  <a:pt x="11199600" y="2531945"/>
                </a:lnTo>
                <a:lnTo>
                  <a:pt x="11199600" y="2549720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790282"/>
                </a:lnTo>
                <a:lnTo>
                  <a:pt x="11199600" y="2801850"/>
                </a:lnTo>
                <a:lnTo>
                  <a:pt x="11199600" y="2819096"/>
                </a:lnTo>
                <a:lnTo>
                  <a:pt x="11199600" y="2823960"/>
                </a:lnTo>
                <a:lnTo>
                  <a:pt x="11199600" y="2910931"/>
                </a:lnTo>
                <a:lnTo>
                  <a:pt x="11199600" y="3093336"/>
                </a:lnTo>
                <a:lnTo>
                  <a:pt x="11199600" y="3132994"/>
                </a:lnTo>
                <a:lnTo>
                  <a:pt x="11199600" y="3185171"/>
                </a:lnTo>
                <a:lnTo>
                  <a:pt x="11199600" y="3297044"/>
                </a:lnTo>
                <a:lnTo>
                  <a:pt x="11199600" y="3407235"/>
                </a:lnTo>
                <a:lnTo>
                  <a:pt x="11199600" y="3470134"/>
                </a:lnTo>
                <a:lnTo>
                  <a:pt x="11199600" y="3571284"/>
                </a:lnTo>
                <a:lnTo>
                  <a:pt x="11199600" y="3708888"/>
                </a:lnTo>
                <a:lnTo>
                  <a:pt x="11199600" y="3744374"/>
                </a:lnTo>
                <a:lnTo>
                  <a:pt x="11199600" y="3831345"/>
                </a:lnTo>
                <a:lnTo>
                  <a:pt x="11199600" y="3983128"/>
                </a:lnTo>
                <a:lnTo>
                  <a:pt x="11199600" y="4105585"/>
                </a:lnTo>
                <a:lnTo>
                  <a:pt x="11199600" y="4217458"/>
                </a:lnTo>
                <a:lnTo>
                  <a:pt x="11199600" y="4491698"/>
                </a:lnTo>
                <a:lnTo>
                  <a:pt x="11199600" y="4629302"/>
                </a:lnTo>
                <a:lnTo>
                  <a:pt x="11199600" y="4903542"/>
                </a:lnTo>
                <a:cubicBezTo>
                  <a:pt x="11199600" y="4999652"/>
                  <a:pt x="11103603" y="4999652"/>
                  <a:pt x="11103603" y="4999652"/>
                </a:cubicBezTo>
                <a:cubicBezTo>
                  <a:pt x="11103603" y="4999652"/>
                  <a:pt x="11103603" y="4999652"/>
                  <a:pt x="95997" y="4999652"/>
                </a:cubicBezTo>
                <a:cubicBezTo>
                  <a:pt x="0" y="4999652"/>
                  <a:pt x="0" y="4903542"/>
                  <a:pt x="0" y="4903542"/>
                </a:cubicBezTo>
                <a:lnTo>
                  <a:pt x="0" y="4899807"/>
                </a:lnTo>
                <a:lnTo>
                  <a:pt x="0" y="4890936"/>
                </a:lnTo>
                <a:lnTo>
                  <a:pt x="0" y="4873660"/>
                </a:lnTo>
                <a:lnTo>
                  <a:pt x="0" y="4845179"/>
                </a:lnTo>
                <a:lnTo>
                  <a:pt x="0" y="4802691"/>
                </a:lnTo>
                <a:lnTo>
                  <a:pt x="0" y="4743394"/>
                </a:lnTo>
                <a:lnTo>
                  <a:pt x="0" y="4664487"/>
                </a:lnTo>
                <a:lnTo>
                  <a:pt x="0" y="4629302"/>
                </a:lnTo>
                <a:lnTo>
                  <a:pt x="0" y="4628196"/>
                </a:lnTo>
                <a:lnTo>
                  <a:pt x="0" y="4620448"/>
                </a:lnTo>
                <a:lnTo>
                  <a:pt x="0" y="4599605"/>
                </a:lnTo>
                <a:lnTo>
                  <a:pt x="0" y="4599420"/>
                </a:lnTo>
                <a:lnTo>
                  <a:pt x="0" y="4558471"/>
                </a:lnTo>
                <a:lnTo>
                  <a:pt x="0" y="4528451"/>
                </a:lnTo>
                <a:lnTo>
                  <a:pt x="0" y="4523932"/>
                </a:lnTo>
                <a:lnTo>
                  <a:pt x="0" y="4490960"/>
                </a:lnTo>
                <a:lnTo>
                  <a:pt x="0" y="4445169"/>
                </a:lnTo>
                <a:lnTo>
                  <a:pt x="0" y="4436638"/>
                </a:lnTo>
                <a:lnTo>
                  <a:pt x="0" y="4390247"/>
                </a:lnTo>
                <a:lnTo>
                  <a:pt x="0" y="4336893"/>
                </a:lnTo>
                <a:lnTo>
                  <a:pt x="0" y="4325365"/>
                </a:lnTo>
                <a:lnTo>
                  <a:pt x="0" y="4249692"/>
                </a:lnTo>
                <a:lnTo>
                  <a:pt x="0" y="4223868"/>
                </a:lnTo>
                <a:lnTo>
                  <a:pt x="0" y="4162398"/>
                </a:lnTo>
                <a:lnTo>
                  <a:pt x="0" y="4096731"/>
                </a:lnTo>
                <a:lnTo>
                  <a:pt x="0" y="4062653"/>
                </a:lnTo>
                <a:lnTo>
                  <a:pt x="0" y="3983128"/>
                </a:lnTo>
                <a:lnTo>
                  <a:pt x="0" y="3979393"/>
                </a:lnTo>
                <a:lnTo>
                  <a:pt x="0" y="3970522"/>
                </a:lnTo>
                <a:lnTo>
                  <a:pt x="0" y="3954654"/>
                </a:lnTo>
                <a:lnTo>
                  <a:pt x="0" y="3953246"/>
                </a:lnTo>
                <a:lnTo>
                  <a:pt x="0" y="3949628"/>
                </a:lnTo>
                <a:lnTo>
                  <a:pt x="0" y="3924765"/>
                </a:lnTo>
                <a:lnTo>
                  <a:pt x="0" y="3882277"/>
                </a:lnTo>
                <a:lnTo>
                  <a:pt x="0" y="3822980"/>
                </a:lnTo>
                <a:lnTo>
                  <a:pt x="0" y="3822491"/>
                </a:lnTo>
                <a:lnTo>
                  <a:pt x="0" y="3796806"/>
                </a:lnTo>
                <a:lnTo>
                  <a:pt x="0" y="3744073"/>
                </a:lnTo>
                <a:lnTo>
                  <a:pt x="0" y="3708888"/>
                </a:lnTo>
                <a:lnTo>
                  <a:pt x="0" y="3707782"/>
                </a:lnTo>
                <a:lnTo>
                  <a:pt x="0" y="3700034"/>
                </a:lnTo>
                <a:lnTo>
                  <a:pt x="0" y="3680414"/>
                </a:lnTo>
                <a:lnTo>
                  <a:pt x="0" y="3679191"/>
                </a:lnTo>
                <a:lnTo>
                  <a:pt x="0" y="3679006"/>
                </a:lnTo>
                <a:lnTo>
                  <a:pt x="0" y="3638057"/>
                </a:lnTo>
                <a:lnTo>
                  <a:pt x="0" y="3622356"/>
                </a:lnTo>
                <a:lnTo>
                  <a:pt x="0" y="3608037"/>
                </a:lnTo>
                <a:lnTo>
                  <a:pt x="0" y="3603518"/>
                </a:lnTo>
                <a:lnTo>
                  <a:pt x="0" y="3570546"/>
                </a:lnTo>
                <a:lnTo>
                  <a:pt x="0" y="3524755"/>
                </a:lnTo>
                <a:lnTo>
                  <a:pt x="0" y="3522566"/>
                </a:lnTo>
                <a:lnTo>
                  <a:pt x="0" y="3516224"/>
                </a:lnTo>
                <a:lnTo>
                  <a:pt x="0" y="3469833"/>
                </a:lnTo>
                <a:lnTo>
                  <a:pt x="0" y="3430476"/>
                </a:lnTo>
                <a:lnTo>
                  <a:pt x="0" y="3416479"/>
                </a:lnTo>
                <a:lnTo>
                  <a:pt x="0" y="3404951"/>
                </a:lnTo>
                <a:lnTo>
                  <a:pt x="0" y="3348116"/>
                </a:lnTo>
                <a:lnTo>
                  <a:pt x="0" y="3329278"/>
                </a:lnTo>
                <a:lnTo>
                  <a:pt x="0" y="3303454"/>
                </a:lnTo>
                <a:lnTo>
                  <a:pt x="0" y="3241984"/>
                </a:lnTo>
                <a:lnTo>
                  <a:pt x="0" y="3220334"/>
                </a:lnTo>
                <a:lnTo>
                  <a:pt x="0" y="3176317"/>
                </a:lnTo>
                <a:lnTo>
                  <a:pt x="0" y="3156236"/>
                </a:lnTo>
                <a:lnTo>
                  <a:pt x="0" y="3142239"/>
                </a:lnTo>
                <a:lnTo>
                  <a:pt x="0" y="3034240"/>
                </a:lnTo>
                <a:lnTo>
                  <a:pt x="0" y="3029214"/>
                </a:lnTo>
                <a:lnTo>
                  <a:pt x="0" y="2991101"/>
                </a:lnTo>
                <a:lnTo>
                  <a:pt x="0" y="2946094"/>
                </a:lnTo>
                <a:lnTo>
                  <a:pt x="0" y="2902077"/>
                </a:lnTo>
                <a:lnTo>
                  <a:pt x="0" y="2876392"/>
                </a:lnTo>
                <a:lnTo>
                  <a:pt x="0" y="2790282"/>
                </a:lnTo>
                <a:lnTo>
                  <a:pt x="0" y="2787072"/>
                </a:lnTo>
                <a:lnTo>
                  <a:pt x="0" y="2760000"/>
                </a:lnTo>
                <a:lnTo>
                  <a:pt x="0" y="2741948"/>
                </a:lnTo>
                <a:lnTo>
                  <a:pt x="0" y="2741947"/>
                </a:lnTo>
                <a:lnTo>
                  <a:pt x="0" y="2716862"/>
                </a:lnTo>
                <a:lnTo>
                  <a:pt x="0" y="2716861"/>
                </a:lnTo>
                <a:lnTo>
                  <a:pt x="0" y="2701942"/>
                </a:lnTo>
                <a:lnTo>
                  <a:pt x="0" y="2602152"/>
                </a:lnTo>
                <a:lnTo>
                  <a:pt x="0" y="2512832"/>
                </a:lnTo>
                <a:lnTo>
                  <a:pt x="0" y="2510062"/>
                </a:lnTo>
                <a:lnTo>
                  <a:pt x="0" y="2472043"/>
                </a:lnTo>
                <a:lnTo>
                  <a:pt x="0" y="2472042"/>
                </a:lnTo>
                <a:lnTo>
                  <a:pt x="0" y="2467708"/>
                </a:lnTo>
                <a:lnTo>
                  <a:pt x="0" y="2467707"/>
                </a:lnTo>
                <a:lnTo>
                  <a:pt x="0" y="2449933"/>
                </a:lnTo>
                <a:lnTo>
                  <a:pt x="0" y="2427702"/>
                </a:lnTo>
                <a:lnTo>
                  <a:pt x="0" y="2299920"/>
                </a:lnTo>
                <a:lnTo>
                  <a:pt x="0" y="2235822"/>
                </a:lnTo>
                <a:lnTo>
                  <a:pt x="0" y="2197803"/>
                </a:lnTo>
                <a:lnTo>
                  <a:pt x="0" y="2197802"/>
                </a:lnTo>
                <a:lnTo>
                  <a:pt x="0" y="2180556"/>
                </a:lnTo>
                <a:lnTo>
                  <a:pt x="0" y="2180555"/>
                </a:lnTo>
                <a:lnTo>
                  <a:pt x="0" y="2175692"/>
                </a:lnTo>
                <a:lnTo>
                  <a:pt x="0" y="2088721"/>
                </a:lnTo>
                <a:lnTo>
                  <a:pt x="0" y="2070687"/>
                </a:lnTo>
                <a:lnTo>
                  <a:pt x="0" y="2025680"/>
                </a:lnTo>
                <a:lnTo>
                  <a:pt x="0" y="1906316"/>
                </a:lnTo>
                <a:lnTo>
                  <a:pt x="0" y="1906315"/>
                </a:lnTo>
                <a:lnTo>
                  <a:pt x="0" y="1866658"/>
                </a:lnTo>
                <a:lnTo>
                  <a:pt x="0" y="1866657"/>
                </a:lnTo>
                <a:lnTo>
                  <a:pt x="0" y="1821533"/>
                </a:lnTo>
                <a:lnTo>
                  <a:pt x="0" y="1814481"/>
                </a:lnTo>
                <a:lnTo>
                  <a:pt x="0" y="1796447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92417"/>
                </a:lnTo>
                <a:lnTo>
                  <a:pt x="0" y="1551628"/>
                </a:lnTo>
                <a:lnTo>
                  <a:pt x="0" y="1547293"/>
                </a:lnTo>
                <a:lnTo>
                  <a:pt x="0" y="1529519"/>
                </a:lnTo>
                <a:lnTo>
                  <a:pt x="0" y="1529518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77388"/>
                </a:lnTo>
                <a:lnTo>
                  <a:pt x="0" y="1260141"/>
                </a:lnTo>
                <a:lnTo>
                  <a:pt x="0" y="1255278"/>
                </a:lnTo>
                <a:lnTo>
                  <a:pt x="0" y="1255277"/>
                </a:lnTo>
                <a:lnTo>
                  <a:pt x="0" y="1208224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39676" tIns="35996" rIns="35996" bIns="35996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234588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2">
          <p15:clr>
            <a:srgbClr val="FBAE40"/>
          </p15:clr>
        </p15:guide>
      </p15:sldGuideLst>
    </p:ext>
  </p:extLs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696912" y="280733"/>
            <a:ext cx="11199600" cy="5920067"/>
          </a:xfrm>
          <a:custGeom>
            <a:avLst/>
            <a:gdLst>
              <a:gd name="connsiteX0" fmla="*/ 95997 w 11199600"/>
              <a:gd name="connsiteY0" fmla="*/ 0 h 5920067"/>
              <a:gd name="connsiteX1" fmla="*/ 11103603 w 11199600"/>
              <a:gd name="connsiteY1" fmla="*/ 0 h 5920067"/>
              <a:gd name="connsiteX2" fmla="*/ 11199600 w 11199600"/>
              <a:gd name="connsiteY2" fmla="*/ 96110 h 5920067"/>
              <a:gd name="connsiteX3" fmla="*/ 11199600 w 11199600"/>
              <a:gd name="connsiteY3" fmla="*/ 335165 h 5920067"/>
              <a:gd name="connsiteX4" fmla="*/ 11199600 w 11199600"/>
              <a:gd name="connsiteY4" fmla="*/ 370350 h 5920067"/>
              <a:gd name="connsiteX5" fmla="*/ 11199600 w 11199600"/>
              <a:gd name="connsiteY5" fmla="*/ 379204 h 5920067"/>
              <a:gd name="connsiteX6" fmla="*/ 11199600 w 11199600"/>
              <a:gd name="connsiteY6" fmla="*/ 400048 h 5920067"/>
              <a:gd name="connsiteX7" fmla="*/ 11199600 w 11199600"/>
              <a:gd name="connsiteY7" fmla="*/ 400232 h 5920067"/>
              <a:gd name="connsiteX8" fmla="*/ 11199600 w 11199600"/>
              <a:gd name="connsiteY8" fmla="*/ 471202 h 5920067"/>
              <a:gd name="connsiteX9" fmla="*/ 11199600 w 11199600"/>
              <a:gd name="connsiteY9" fmla="*/ 475721 h 5920067"/>
              <a:gd name="connsiteX10" fmla="*/ 11199600 w 11199600"/>
              <a:gd name="connsiteY10" fmla="*/ 508692 h 5920067"/>
              <a:gd name="connsiteX11" fmla="*/ 11199600 w 11199600"/>
              <a:gd name="connsiteY11" fmla="*/ 554484 h 5920067"/>
              <a:gd name="connsiteX12" fmla="*/ 11199600 w 11199600"/>
              <a:gd name="connsiteY12" fmla="*/ 563015 h 5920067"/>
              <a:gd name="connsiteX13" fmla="*/ 11199600 w 11199600"/>
              <a:gd name="connsiteY13" fmla="*/ 609405 h 5920067"/>
              <a:gd name="connsiteX14" fmla="*/ 11199600 w 11199600"/>
              <a:gd name="connsiteY14" fmla="*/ 662759 h 5920067"/>
              <a:gd name="connsiteX15" fmla="*/ 11199600 w 11199600"/>
              <a:gd name="connsiteY15" fmla="*/ 674288 h 5920067"/>
              <a:gd name="connsiteX16" fmla="*/ 11199600 w 11199600"/>
              <a:gd name="connsiteY16" fmla="*/ 749961 h 5920067"/>
              <a:gd name="connsiteX17" fmla="*/ 11199600 w 11199600"/>
              <a:gd name="connsiteY17" fmla="*/ 775785 h 5920067"/>
              <a:gd name="connsiteX18" fmla="*/ 11199600 w 11199600"/>
              <a:gd name="connsiteY18" fmla="*/ 837255 h 5920067"/>
              <a:gd name="connsiteX19" fmla="*/ 11199600 w 11199600"/>
              <a:gd name="connsiteY19" fmla="*/ 902921 h 5920067"/>
              <a:gd name="connsiteX20" fmla="*/ 11199600 w 11199600"/>
              <a:gd name="connsiteY20" fmla="*/ 936999 h 5920067"/>
              <a:gd name="connsiteX21" fmla="*/ 11199600 w 11199600"/>
              <a:gd name="connsiteY21" fmla="*/ 1016524 h 5920067"/>
              <a:gd name="connsiteX22" fmla="*/ 11199600 w 11199600"/>
              <a:gd name="connsiteY22" fmla="*/ 1029131 h 5920067"/>
              <a:gd name="connsiteX23" fmla="*/ 11199600 w 11199600"/>
              <a:gd name="connsiteY23" fmla="*/ 1044999 h 5920067"/>
              <a:gd name="connsiteX24" fmla="*/ 11199600 w 11199600"/>
              <a:gd name="connsiteY24" fmla="*/ 1046406 h 5920067"/>
              <a:gd name="connsiteX25" fmla="*/ 11199600 w 11199600"/>
              <a:gd name="connsiteY25" fmla="*/ 1050025 h 5920067"/>
              <a:gd name="connsiteX26" fmla="*/ 11199600 w 11199600"/>
              <a:gd name="connsiteY26" fmla="*/ 1074887 h 5920067"/>
              <a:gd name="connsiteX27" fmla="*/ 11199600 w 11199600"/>
              <a:gd name="connsiteY27" fmla="*/ 1176672 h 5920067"/>
              <a:gd name="connsiteX28" fmla="*/ 11199600 w 11199600"/>
              <a:gd name="connsiteY28" fmla="*/ 1177161 h 5920067"/>
              <a:gd name="connsiteX29" fmla="*/ 11199600 w 11199600"/>
              <a:gd name="connsiteY29" fmla="*/ 1202847 h 5920067"/>
              <a:gd name="connsiteX30" fmla="*/ 11199600 w 11199600"/>
              <a:gd name="connsiteY30" fmla="*/ 1255579 h 5920067"/>
              <a:gd name="connsiteX31" fmla="*/ 11199600 w 11199600"/>
              <a:gd name="connsiteY31" fmla="*/ 1290764 h 5920067"/>
              <a:gd name="connsiteX32" fmla="*/ 11199600 w 11199600"/>
              <a:gd name="connsiteY32" fmla="*/ 1299618 h 5920067"/>
              <a:gd name="connsiteX33" fmla="*/ 11199600 w 11199600"/>
              <a:gd name="connsiteY33" fmla="*/ 1319239 h 5920067"/>
              <a:gd name="connsiteX34" fmla="*/ 11199600 w 11199600"/>
              <a:gd name="connsiteY34" fmla="*/ 1320462 h 5920067"/>
              <a:gd name="connsiteX35" fmla="*/ 11199600 w 11199600"/>
              <a:gd name="connsiteY35" fmla="*/ 1320646 h 5920067"/>
              <a:gd name="connsiteX36" fmla="*/ 11199600 w 11199600"/>
              <a:gd name="connsiteY36" fmla="*/ 1349128 h 5920067"/>
              <a:gd name="connsiteX37" fmla="*/ 11199600 w 11199600"/>
              <a:gd name="connsiteY37" fmla="*/ 1377296 h 5920067"/>
              <a:gd name="connsiteX38" fmla="*/ 11199600 w 11199600"/>
              <a:gd name="connsiteY38" fmla="*/ 1391616 h 5920067"/>
              <a:gd name="connsiteX39" fmla="*/ 11199600 w 11199600"/>
              <a:gd name="connsiteY39" fmla="*/ 1396135 h 5920067"/>
              <a:gd name="connsiteX40" fmla="*/ 11199600 w 11199600"/>
              <a:gd name="connsiteY40" fmla="*/ 1429106 h 5920067"/>
              <a:gd name="connsiteX41" fmla="*/ 11199600 w 11199600"/>
              <a:gd name="connsiteY41" fmla="*/ 1474898 h 5920067"/>
              <a:gd name="connsiteX42" fmla="*/ 11199600 w 11199600"/>
              <a:gd name="connsiteY42" fmla="*/ 1477087 h 5920067"/>
              <a:gd name="connsiteX43" fmla="*/ 11199600 w 11199600"/>
              <a:gd name="connsiteY43" fmla="*/ 1483429 h 5920067"/>
              <a:gd name="connsiteX44" fmla="*/ 11199600 w 11199600"/>
              <a:gd name="connsiteY44" fmla="*/ 1529819 h 5920067"/>
              <a:gd name="connsiteX45" fmla="*/ 11199600 w 11199600"/>
              <a:gd name="connsiteY45" fmla="*/ 1569177 h 5920067"/>
              <a:gd name="connsiteX46" fmla="*/ 11199600 w 11199600"/>
              <a:gd name="connsiteY46" fmla="*/ 1583173 h 5920067"/>
              <a:gd name="connsiteX47" fmla="*/ 11199600 w 11199600"/>
              <a:gd name="connsiteY47" fmla="*/ 1594702 h 5920067"/>
              <a:gd name="connsiteX48" fmla="*/ 11199600 w 11199600"/>
              <a:gd name="connsiteY48" fmla="*/ 1651536 h 5920067"/>
              <a:gd name="connsiteX49" fmla="*/ 11199600 w 11199600"/>
              <a:gd name="connsiteY49" fmla="*/ 1670375 h 5920067"/>
              <a:gd name="connsiteX50" fmla="*/ 11199600 w 11199600"/>
              <a:gd name="connsiteY50" fmla="*/ 1696199 h 5920067"/>
              <a:gd name="connsiteX51" fmla="*/ 11199600 w 11199600"/>
              <a:gd name="connsiteY51" fmla="*/ 1757669 h 5920067"/>
              <a:gd name="connsiteX52" fmla="*/ 11199600 w 11199600"/>
              <a:gd name="connsiteY52" fmla="*/ 1779318 h 5920067"/>
              <a:gd name="connsiteX53" fmla="*/ 11199600 w 11199600"/>
              <a:gd name="connsiteY53" fmla="*/ 1823335 h 5920067"/>
              <a:gd name="connsiteX54" fmla="*/ 11199600 w 11199600"/>
              <a:gd name="connsiteY54" fmla="*/ 1843417 h 5920067"/>
              <a:gd name="connsiteX55" fmla="*/ 11199600 w 11199600"/>
              <a:gd name="connsiteY55" fmla="*/ 1857413 h 5920067"/>
              <a:gd name="connsiteX56" fmla="*/ 11199600 w 11199600"/>
              <a:gd name="connsiteY56" fmla="*/ 1965413 h 5920067"/>
              <a:gd name="connsiteX57" fmla="*/ 11199600 w 11199600"/>
              <a:gd name="connsiteY57" fmla="*/ 1970439 h 5920067"/>
              <a:gd name="connsiteX58" fmla="*/ 11199600 w 11199600"/>
              <a:gd name="connsiteY58" fmla="*/ 2008551 h 5920067"/>
              <a:gd name="connsiteX59" fmla="*/ 11199600 w 11199600"/>
              <a:gd name="connsiteY59" fmla="*/ 2053558 h 5920067"/>
              <a:gd name="connsiteX60" fmla="*/ 11199600 w 11199600"/>
              <a:gd name="connsiteY60" fmla="*/ 2097575 h 5920067"/>
              <a:gd name="connsiteX61" fmla="*/ 11199600 w 11199600"/>
              <a:gd name="connsiteY61" fmla="*/ 2123261 h 5920067"/>
              <a:gd name="connsiteX62" fmla="*/ 11199600 w 11199600"/>
              <a:gd name="connsiteY62" fmla="*/ 2239653 h 5920067"/>
              <a:gd name="connsiteX63" fmla="*/ 11199600 w 11199600"/>
              <a:gd name="connsiteY63" fmla="*/ 2257705 h 5920067"/>
              <a:gd name="connsiteX64" fmla="*/ 11199600 w 11199600"/>
              <a:gd name="connsiteY64" fmla="*/ 2282791 h 5920067"/>
              <a:gd name="connsiteX65" fmla="*/ 11199600 w 11199600"/>
              <a:gd name="connsiteY65" fmla="*/ 2297710 h 5920067"/>
              <a:gd name="connsiteX66" fmla="*/ 11199600 w 11199600"/>
              <a:gd name="connsiteY66" fmla="*/ 2397501 h 5920067"/>
              <a:gd name="connsiteX67" fmla="*/ 11199600 w 11199600"/>
              <a:gd name="connsiteY67" fmla="*/ 2489591 h 5920067"/>
              <a:gd name="connsiteX68" fmla="*/ 11199600 w 11199600"/>
              <a:gd name="connsiteY68" fmla="*/ 2527610 h 5920067"/>
              <a:gd name="connsiteX69" fmla="*/ 11199600 w 11199600"/>
              <a:gd name="connsiteY69" fmla="*/ 2531945 h 5920067"/>
              <a:gd name="connsiteX70" fmla="*/ 11199600 w 11199600"/>
              <a:gd name="connsiteY70" fmla="*/ 2571950 h 5920067"/>
              <a:gd name="connsiteX71" fmla="*/ 11199600 w 11199600"/>
              <a:gd name="connsiteY71" fmla="*/ 2699732 h 5920067"/>
              <a:gd name="connsiteX72" fmla="*/ 11199600 w 11199600"/>
              <a:gd name="connsiteY72" fmla="*/ 2763831 h 5920067"/>
              <a:gd name="connsiteX73" fmla="*/ 11199600 w 11199600"/>
              <a:gd name="connsiteY73" fmla="*/ 2801851 h 5920067"/>
              <a:gd name="connsiteX74" fmla="*/ 11199600 w 11199600"/>
              <a:gd name="connsiteY74" fmla="*/ 2819097 h 5920067"/>
              <a:gd name="connsiteX75" fmla="*/ 11199600 w 11199600"/>
              <a:gd name="connsiteY75" fmla="*/ 2928965 h 5920067"/>
              <a:gd name="connsiteX76" fmla="*/ 11199600 w 11199600"/>
              <a:gd name="connsiteY76" fmla="*/ 2973972 h 5920067"/>
              <a:gd name="connsiteX77" fmla="*/ 11199600 w 11199600"/>
              <a:gd name="connsiteY77" fmla="*/ 3093337 h 5920067"/>
              <a:gd name="connsiteX78" fmla="*/ 11199600 w 11199600"/>
              <a:gd name="connsiteY78" fmla="*/ 3132995 h 5920067"/>
              <a:gd name="connsiteX79" fmla="*/ 11199600 w 11199600"/>
              <a:gd name="connsiteY79" fmla="*/ 3178119 h 5920067"/>
              <a:gd name="connsiteX80" fmla="*/ 11199600 w 11199600"/>
              <a:gd name="connsiteY80" fmla="*/ 3203205 h 5920067"/>
              <a:gd name="connsiteX81" fmla="*/ 11199600 w 11199600"/>
              <a:gd name="connsiteY81" fmla="*/ 3407236 h 5920067"/>
              <a:gd name="connsiteX82" fmla="*/ 11199600 w 11199600"/>
              <a:gd name="connsiteY82" fmla="*/ 3448024 h 5920067"/>
              <a:gd name="connsiteX83" fmla="*/ 11199600 w 11199600"/>
              <a:gd name="connsiteY83" fmla="*/ 3452359 h 5920067"/>
              <a:gd name="connsiteX84" fmla="*/ 11199600 w 11199600"/>
              <a:gd name="connsiteY84" fmla="*/ 3470135 h 5920067"/>
              <a:gd name="connsiteX85" fmla="*/ 11199600 w 11199600"/>
              <a:gd name="connsiteY85" fmla="*/ 3722265 h 5920067"/>
              <a:gd name="connsiteX86" fmla="*/ 11199600 w 11199600"/>
              <a:gd name="connsiteY86" fmla="*/ 3739511 h 5920067"/>
              <a:gd name="connsiteX87" fmla="*/ 11199600 w 11199600"/>
              <a:gd name="connsiteY87" fmla="*/ 3744375 h 5920067"/>
              <a:gd name="connsiteX88" fmla="*/ 11199600 w 11199600"/>
              <a:gd name="connsiteY88" fmla="*/ 3831346 h 5920067"/>
              <a:gd name="connsiteX89" fmla="*/ 11199600 w 11199600"/>
              <a:gd name="connsiteY89" fmla="*/ 4013751 h 5920067"/>
              <a:gd name="connsiteX90" fmla="*/ 11199600 w 11199600"/>
              <a:gd name="connsiteY90" fmla="*/ 4053409 h 5920067"/>
              <a:gd name="connsiteX91" fmla="*/ 11199600 w 11199600"/>
              <a:gd name="connsiteY91" fmla="*/ 4105586 h 5920067"/>
              <a:gd name="connsiteX92" fmla="*/ 11199600 w 11199600"/>
              <a:gd name="connsiteY92" fmla="*/ 4217459 h 5920067"/>
              <a:gd name="connsiteX93" fmla="*/ 11199600 w 11199600"/>
              <a:gd name="connsiteY93" fmla="*/ 4327650 h 5920067"/>
              <a:gd name="connsiteX94" fmla="*/ 11199600 w 11199600"/>
              <a:gd name="connsiteY94" fmla="*/ 4390549 h 5920067"/>
              <a:gd name="connsiteX95" fmla="*/ 11199600 w 11199600"/>
              <a:gd name="connsiteY95" fmla="*/ 4491699 h 5920067"/>
              <a:gd name="connsiteX96" fmla="*/ 11199600 w 11199600"/>
              <a:gd name="connsiteY96" fmla="*/ 4629303 h 5920067"/>
              <a:gd name="connsiteX97" fmla="*/ 11199600 w 11199600"/>
              <a:gd name="connsiteY97" fmla="*/ 4664789 h 5920067"/>
              <a:gd name="connsiteX98" fmla="*/ 11199600 w 11199600"/>
              <a:gd name="connsiteY98" fmla="*/ 4751760 h 5920067"/>
              <a:gd name="connsiteX99" fmla="*/ 11199600 w 11199600"/>
              <a:gd name="connsiteY99" fmla="*/ 4903543 h 5920067"/>
              <a:gd name="connsiteX100" fmla="*/ 11199600 w 11199600"/>
              <a:gd name="connsiteY100" fmla="*/ 5026000 h 5920067"/>
              <a:gd name="connsiteX101" fmla="*/ 11199600 w 11199600"/>
              <a:gd name="connsiteY101" fmla="*/ 5137873 h 5920067"/>
              <a:gd name="connsiteX102" fmla="*/ 11199600 w 11199600"/>
              <a:gd name="connsiteY102" fmla="*/ 5412113 h 5920067"/>
              <a:gd name="connsiteX103" fmla="*/ 11199600 w 11199600"/>
              <a:gd name="connsiteY103" fmla="*/ 5549717 h 5920067"/>
              <a:gd name="connsiteX104" fmla="*/ 11199600 w 11199600"/>
              <a:gd name="connsiteY104" fmla="*/ 5823957 h 5920067"/>
              <a:gd name="connsiteX105" fmla="*/ 11103603 w 11199600"/>
              <a:gd name="connsiteY105" fmla="*/ 5920067 h 5920067"/>
              <a:gd name="connsiteX106" fmla="*/ 95997 w 11199600"/>
              <a:gd name="connsiteY106" fmla="*/ 5920067 h 5920067"/>
              <a:gd name="connsiteX107" fmla="*/ 0 w 11199600"/>
              <a:gd name="connsiteY107" fmla="*/ 5823957 h 5920067"/>
              <a:gd name="connsiteX108" fmla="*/ 0 w 11199600"/>
              <a:gd name="connsiteY108" fmla="*/ 5820222 h 5920067"/>
              <a:gd name="connsiteX109" fmla="*/ 0 w 11199600"/>
              <a:gd name="connsiteY109" fmla="*/ 5811351 h 5920067"/>
              <a:gd name="connsiteX110" fmla="*/ 0 w 11199600"/>
              <a:gd name="connsiteY110" fmla="*/ 5794075 h 5920067"/>
              <a:gd name="connsiteX111" fmla="*/ 0 w 11199600"/>
              <a:gd name="connsiteY111" fmla="*/ 5765594 h 5920067"/>
              <a:gd name="connsiteX112" fmla="*/ 0 w 11199600"/>
              <a:gd name="connsiteY112" fmla="*/ 5723106 h 5920067"/>
              <a:gd name="connsiteX113" fmla="*/ 0 w 11199600"/>
              <a:gd name="connsiteY113" fmla="*/ 5663809 h 5920067"/>
              <a:gd name="connsiteX114" fmla="*/ 0 w 11199600"/>
              <a:gd name="connsiteY114" fmla="*/ 5584902 h 5920067"/>
              <a:gd name="connsiteX115" fmla="*/ 0 w 11199600"/>
              <a:gd name="connsiteY115" fmla="*/ 5549717 h 5920067"/>
              <a:gd name="connsiteX116" fmla="*/ 0 w 11199600"/>
              <a:gd name="connsiteY116" fmla="*/ 5548611 h 5920067"/>
              <a:gd name="connsiteX117" fmla="*/ 0 w 11199600"/>
              <a:gd name="connsiteY117" fmla="*/ 5540863 h 5920067"/>
              <a:gd name="connsiteX118" fmla="*/ 0 w 11199600"/>
              <a:gd name="connsiteY118" fmla="*/ 5520020 h 5920067"/>
              <a:gd name="connsiteX119" fmla="*/ 0 w 11199600"/>
              <a:gd name="connsiteY119" fmla="*/ 5519835 h 5920067"/>
              <a:gd name="connsiteX120" fmla="*/ 0 w 11199600"/>
              <a:gd name="connsiteY120" fmla="*/ 5478886 h 5920067"/>
              <a:gd name="connsiteX121" fmla="*/ 0 w 11199600"/>
              <a:gd name="connsiteY121" fmla="*/ 5448866 h 5920067"/>
              <a:gd name="connsiteX122" fmla="*/ 0 w 11199600"/>
              <a:gd name="connsiteY122" fmla="*/ 5444347 h 5920067"/>
              <a:gd name="connsiteX123" fmla="*/ 0 w 11199600"/>
              <a:gd name="connsiteY123" fmla="*/ 5411375 h 5920067"/>
              <a:gd name="connsiteX124" fmla="*/ 0 w 11199600"/>
              <a:gd name="connsiteY124" fmla="*/ 5365584 h 5920067"/>
              <a:gd name="connsiteX125" fmla="*/ 0 w 11199600"/>
              <a:gd name="connsiteY125" fmla="*/ 5357053 h 5920067"/>
              <a:gd name="connsiteX126" fmla="*/ 0 w 11199600"/>
              <a:gd name="connsiteY126" fmla="*/ 5310662 h 5920067"/>
              <a:gd name="connsiteX127" fmla="*/ 0 w 11199600"/>
              <a:gd name="connsiteY127" fmla="*/ 5257308 h 5920067"/>
              <a:gd name="connsiteX128" fmla="*/ 0 w 11199600"/>
              <a:gd name="connsiteY128" fmla="*/ 5245780 h 5920067"/>
              <a:gd name="connsiteX129" fmla="*/ 0 w 11199600"/>
              <a:gd name="connsiteY129" fmla="*/ 5170107 h 5920067"/>
              <a:gd name="connsiteX130" fmla="*/ 0 w 11199600"/>
              <a:gd name="connsiteY130" fmla="*/ 5144283 h 5920067"/>
              <a:gd name="connsiteX131" fmla="*/ 0 w 11199600"/>
              <a:gd name="connsiteY131" fmla="*/ 5082813 h 5920067"/>
              <a:gd name="connsiteX132" fmla="*/ 0 w 11199600"/>
              <a:gd name="connsiteY132" fmla="*/ 5017146 h 5920067"/>
              <a:gd name="connsiteX133" fmla="*/ 0 w 11199600"/>
              <a:gd name="connsiteY133" fmla="*/ 4983068 h 5920067"/>
              <a:gd name="connsiteX134" fmla="*/ 0 w 11199600"/>
              <a:gd name="connsiteY134" fmla="*/ 4903543 h 5920067"/>
              <a:gd name="connsiteX135" fmla="*/ 0 w 11199600"/>
              <a:gd name="connsiteY135" fmla="*/ 4899808 h 5920067"/>
              <a:gd name="connsiteX136" fmla="*/ 0 w 11199600"/>
              <a:gd name="connsiteY136" fmla="*/ 4890937 h 5920067"/>
              <a:gd name="connsiteX137" fmla="*/ 0 w 11199600"/>
              <a:gd name="connsiteY137" fmla="*/ 4875069 h 5920067"/>
              <a:gd name="connsiteX138" fmla="*/ 0 w 11199600"/>
              <a:gd name="connsiteY138" fmla="*/ 4873661 h 5920067"/>
              <a:gd name="connsiteX139" fmla="*/ 0 w 11199600"/>
              <a:gd name="connsiteY139" fmla="*/ 4870043 h 5920067"/>
              <a:gd name="connsiteX140" fmla="*/ 0 w 11199600"/>
              <a:gd name="connsiteY140" fmla="*/ 4845180 h 5920067"/>
              <a:gd name="connsiteX141" fmla="*/ 0 w 11199600"/>
              <a:gd name="connsiteY141" fmla="*/ 4802692 h 5920067"/>
              <a:gd name="connsiteX142" fmla="*/ 0 w 11199600"/>
              <a:gd name="connsiteY142" fmla="*/ 4743395 h 5920067"/>
              <a:gd name="connsiteX143" fmla="*/ 0 w 11199600"/>
              <a:gd name="connsiteY143" fmla="*/ 4742906 h 5920067"/>
              <a:gd name="connsiteX144" fmla="*/ 0 w 11199600"/>
              <a:gd name="connsiteY144" fmla="*/ 4717221 h 5920067"/>
              <a:gd name="connsiteX145" fmla="*/ 0 w 11199600"/>
              <a:gd name="connsiteY145" fmla="*/ 4664488 h 5920067"/>
              <a:gd name="connsiteX146" fmla="*/ 0 w 11199600"/>
              <a:gd name="connsiteY146" fmla="*/ 4629303 h 5920067"/>
              <a:gd name="connsiteX147" fmla="*/ 0 w 11199600"/>
              <a:gd name="connsiteY147" fmla="*/ 4628197 h 5920067"/>
              <a:gd name="connsiteX148" fmla="*/ 0 w 11199600"/>
              <a:gd name="connsiteY148" fmla="*/ 4620449 h 5920067"/>
              <a:gd name="connsiteX149" fmla="*/ 0 w 11199600"/>
              <a:gd name="connsiteY149" fmla="*/ 4600829 h 5920067"/>
              <a:gd name="connsiteX150" fmla="*/ 0 w 11199600"/>
              <a:gd name="connsiteY150" fmla="*/ 4599606 h 5920067"/>
              <a:gd name="connsiteX151" fmla="*/ 0 w 11199600"/>
              <a:gd name="connsiteY151" fmla="*/ 4599421 h 5920067"/>
              <a:gd name="connsiteX152" fmla="*/ 0 w 11199600"/>
              <a:gd name="connsiteY152" fmla="*/ 4558472 h 5920067"/>
              <a:gd name="connsiteX153" fmla="*/ 0 w 11199600"/>
              <a:gd name="connsiteY153" fmla="*/ 4542771 h 5920067"/>
              <a:gd name="connsiteX154" fmla="*/ 0 w 11199600"/>
              <a:gd name="connsiteY154" fmla="*/ 4528452 h 5920067"/>
              <a:gd name="connsiteX155" fmla="*/ 0 w 11199600"/>
              <a:gd name="connsiteY155" fmla="*/ 4523933 h 5920067"/>
              <a:gd name="connsiteX156" fmla="*/ 0 w 11199600"/>
              <a:gd name="connsiteY156" fmla="*/ 4490961 h 5920067"/>
              <a:gd name="connsiteX157" fmla="*/ 0 w 11199600"/>
              <a:gd name="connsiteY157" fmla="*/ 4445170 h 5920067"/>
              <a:gd name="connsiteX158" fmla="*/ 0 w 11199600"/>
              <a:gd name="connsiteY158" fmla="*/ 4442981 h 5920067"/>
              <a:gd name="connsiteX159" fmla="*/ 0 w 11199600"/>
              <a:gd name="connsiteY159" fmla="*/ 4436639 h 5920067"/>
              <a:gd name="connsiteX160" fmla="*/ 0 w 11199600"/>
              <a:gd name="connsiteY160" fmla="*/ 4390248 h 5920067"/>
              <a:gd name="connsiteX161" fmla="*/ 0 w 11199600"/>
              <a:gd name="connsiteY161" fmla="*/ 4350891 h 5920067"/>
              <a:gd name="connsiteX162" fmla="*/ 0 w 11199600"/>
              <a:gd name="connsiteY162" fmla="*/ 4336894 h 5920067"/>
              <a:gd name="connsiteX163" fmla="*/ 0 w 11199600"/>
              <a:gd name="connsiteY163" fmla="*/ 4325366 h 5920067"/>
              <a:gd name="connsiteX164" fmla="*/ 0 w 11199600"/>
              <a:gd name="connsiteY164" fmla="*/ 4268531 h 5920067"/>
              <a:gd name="connsiteX165" fmla="*/ 0 w 11199600"/>
              <a:gd name="connsiteY165" fmla="*/ 4249693 h 5920067"/>
              <a:gd name="connsiteX166" fmla="*/ 0 w 11199600"/>
              <a:gd name="connsiteY166" fmla="*/ 4223869 h 5920067"/>
              <a:gd name="connsiteX167" fmla="*/ 0 w 11199600"/>
              <a:gd name="connsiteY167" fmla="*/ 4162399 h 5920067"/>
              <a:gd name="connsiteX168" fmla="*/ 0 w 11199600"/>
              <a:gd name="connsiteY168" fmla="*/ 4140749 h 5920067"/>
              <a:gd name="connsiteX169" fmla="*/ 0 w 11199600"/>
              <a:gd name="connsiteY169" fmla="*/ 4096732 h 5920067"/>
              <a:gd name="connsiteX170" fmla="*/ 0 w 11199600"/>
              <a:gd name="connsiteY170" fmla="*/ 4076651 h 5920067"/>
              <a:gd name="connsiteX171" fmla="*/ 0 w 11199600"/>
              <a:gd name="connsiteY171" fmla="*/ 4062654 h 5920067"/>
              <a:gd name="connsiteX172" fmla="*/ 0 w 11199600"/>
              <a:gd name="connsiteY172" fmla="*/ 3954655 h 5920067"/>
              <a:gd name="connsiteX173" fmla="*/ 0 w 11199600"/>
              <a:gd name="connsiteY173" fmla="*/ 3949629 h 5920067"/>
              <a:gd name="connsiteX174" fmla="*/ 0 w 11199600"/>
              <a:gd name="connsiteY174" fmla="*/ 3911516 h 5920067"/>
              <a:gd name="connsiteX175" fmla="*/ 0 w 11199600"/>
              <a:gd name="connsiteY175" fmla="*/ 3866509 h 5920067"/>
              <a:gd name="connsiteX176" fmla="*/ 0 w 11199600"/>
              <a:gd name="connsiteY176" fmla="*/ 3822492 h 5920067"/>
              <a:gd name="connsiteX177" fmla="*/ 0 w 11199600"/>
              <a:gd name="connsiteY177" fmla="*/ 3796807 h 5920067"/>
              <a:gd name="connsiteX178" fmla="*/ 0 w 11199600"/>
              <a:gd name="connsiteY178" fmla="*/ 3680415 h 5920067"/>
              <a:gd name="connsiteX179" fmla="*/ 0 w 11199600"/>
              <a:gd name="connsiteY179" fmla="*/ 3662362 h 5920067"/>
              <a:gd name="connsiteX180" fmla="*/ 0 w 11199600"/>
              <a:gd name="connsiteY180" fmla="*/ 3637276 h 5920067"/>
              <a:gd name="connsiteX181" fmla="*/ 0 w 11199600"/>
              <a:gd name="connsiteY181" fmla="*/ 3622357 h 5920067"/>
              <a:gd name="connsiteX182" fmla="*/ 0 w 11199600"/>
              <a:gd name="connsiteY182" fmla="*/ 3522567 h 5920067"/>
              <a:gd name="connsiteX183" fmla="*/ 0 w 11199600"/>
              <a:gd name="connsiteY183" fmla="*/ 3430477 h 5920067"/>
              <a:gd name="connsiteX184" fmla="*/ 0 w 11199600"/>
              <a:gd name="connsiteY184" fmla="*/ 3392457 h 5920067"/>
              <a:gd name="connsiteX185" fmla="*/ 0 w 11199600"/>
              <a:gd name="connsiteY185" fmla="*/ 3388122 h 5920067"/>
              <a:gd name="connsiteX186" fmla="*/ 0 w 11199600"/>
              <a:gd name="connsiteY186" fmla="*/ 3348117 h 5920067"/>
              <a:gd name="connsiteX187" fmla="*/ 0 w 11199600"/>
              <a:gd name="connsiteY187" fmla="*/ 3220335 h 5920067"/>
              <a:gd name="connsiteX188" fmla="*/ 0 w 11199600"/>
              <a:gd name="connsiteY188" fmla="*/ 3156237 h 5920067"/>
              <a:gd name="connsiteX189" fmla="*/ 0 w 11199600"/>
              <a:gd name="connsiteY189" fmla="*/ 3118217 h 5920067"/>
              <a:gd name="connsiteX190" fmla="*/ 0 w 11199600"/>
              <a:gd name="connsiteY190" fmla="*/ 3100970 h 5920067"/>
              <a:gd name="connsiteX191" fmla="*/ 0 w 11199600"/>
              <a:gd name="connsiteY191" fmla="*/ 2991102 h 5920067"/>
              <a:gd name="connsiteX192" fmla="*/ 0 w 11199600"/>
              <a:gd name="connsiteY192" fmla="*/ 2946095 h 5920067"/>
              <a:gd name="connsiteX193" fmla="*/ 0 w 11199600"/>
              <a:gd name="connsiteY193" fmla="*/ 2826730 h 5920067"/>
              <a:gd name="connsiteX194" fmla="*/ 0 w 11199600"/>
              <a:gd name="connsiteY194" fmla="*/ 2787072 h 5920067"/>
              <a:gd name="connsiteX195" fmla="*/ 0 w 11199600"/>
              <a:gd name="connsiteY195" fmla="*/ 2741948 h 5920067"/>
              <a:gd name="connsiteX196" fmla="*/ 0 w 11199600"/>
              <a:gd name="connsiteY196" fmla="*/ 2716862 h 5920067"/>
              <a:gd name="connsiteX197" fmla="*/ 0 w 11199600"/>
              <a:gd name="connsiteY197" fmla="*/ 2512832 h 5920067"/>
              <a:gd name="connsiteX198" fmla="*/ 0 w 11199600"/>
              <a:gd name="connsiteY198" fmla="*/ 2472043 h 5920067"/>
              <a:gd name="connsiteX199" fmla="*/ 0 w 11199600"/>
              <a:gd name="connsiteY199" fmla="*/ 2467708 h 5920067"/>
              <a:gd name="connsiteX200" fmla="*/ 0 w 11199600"/>
              <a:gd name="connsiteY200" fmla="*/ 2449933 h 5920067"/>
              <a:gd name="connsiteX201" fmla="*/ 0 w 11199600"/>
              <a:gd name="connsiteY201" fmla="*/ 2197803 h 5920067"/>
              <a:gd name="connsiteX202" fmla="*/ 0 w 11199600"/>
              <a:gd name="connsiteY202" fmla="*/ 2180556 h 5920067"/>
              <a:gd name="connsiteX203" fmla="*/ 0 w 11199600"/>
              <a:gd name="connsiteY203" fmla="*/ 2175692 h 5920067"/>
              <a:gd name="connsiteX204" fmla="*/ 0 w 11199600"/>
              <a:gd name="connsiteY204" fmla="*/ 2088721 h 5920067"/>
              <a:gd name="connsiteX205" fmla="*/ 0 w 11199600"/>
              <a:gd name="connsiteY205" fmla="*/ 1906316 h 5920067"/>
              <a:gd name="connsiteX206" fmla="*/ 0 w 11199600"/>
              <a:gd name="connsiteY206" fmla="*/ 1866658 h 5920067"/>
              <a:gd name="connsiteX207" fmla="*/ 0 w 11199600"/>
              <a:gd name="connsiteY207" fmla="*/ 1814481 h 5920067"/>
              <a:gd name="connsiteX208" fmla="*/ 0 w 11199600"/>
              <a:gd name="connsiteY208" fmla="*/ 1702609 h 5920067"/>
              <a:gd name="connsiteX209" fmla="*/ 0 w 11199600"/>
              <a:gd name="connsiteY209" fmla="*/ 1592418 h 5920067"/>
              <a:gd name="connsiteX210" fmla="*/ 0 w 11199600"/>
              <a:gd name="connsiteY210" fmla="*/ 1529519 h 5920067"/>
              <a:gd name="connsiteX211" fmla="*/ 0 w 11199600"/>
              <a:gd name="connsiteY211" fmla="*/ 1428369 h 5920067"/>
              <a:gd name="connsiteX212" fmla="*/ 0 w 11199600"/>
              <a:gd name="connsiteY212" fmla="*/ 1290764 h 5920067"/>
              <a:gd name="connsiteX213" fmla="*/ 0 w 11199600"/>
              <a:gd name="connsiteY213" fmla="*/ 1255278 h 5920067"/>
              <a:gd name="connsiteX214" fmla="*/ 0 w 11199600"/>
              <a:gd name="connsiteY214" fmla="*/ 1168307 h 5920067"/>
              <a:gd name="connsiteX215" fmla="*/ 0 w 11199600"/>
              <a:gd name="connsiteY215" fmla="*/ 1016524 h 5920067"/>
              <a:gd name="connsiteX216" fmla="*/ 0 w 11199600"/>
              <a:gd name="connsiteY216" fmla="*/ 894067 h 5920067"/>
              <a:gd name="connsiteX217" fmla="*/ 0 w 11199600"/>
              <a:gd name="connsiteY217" fmla="*/ 782195 h 5920067"/>
              <a:gd name="connsiteX218" fmla="*/ 0 w 11199600"/>
              <a:gd name="connsiteY218" fmla="*/ 507955 h 5920067"/>
              <a:gd name="connsiteX219" fmla="*/ 0 w 11199600"/>
              <a:gd name="connsiteY219" fmla="*/ 370350 h 5920067"/>
              <a:gd name="connsiteX220" fmla="*/ 0 w 11199600"/>
              <a:gd name="connsiteY220" fmla="*/ 96110 h 5920067"/>
              <a:gd name="connsiteX221" fmla="*/ 95997 w 11199600"/>
              <a:gd name="connsiteY221" fmla="*/ 0 h 5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11199600" h="5920067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cubicBezTo>
                  <a:pt x="11199600" y="1328117"/>
                  <a:pt x="11199600" y="1337455"/>
                  <a:pt x="11199600" y="1349128"/>
                </a:cubicBez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239653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9591"/>
                </a:lnTo>
                <a:lnTo>
                  <a:pt x="11199600" y="2527610"/>
                </a:lnTo>
                <a:lnTo>
                  <a:pt x="11199600" y="2531945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801851"/>
                </a:lnTo>
                <a:lnTo>
                  <a:pt x="11199600" y="2819097"/>
                </a:lnTo>
                <a:lnTo>
                  <a:pt x="11199600" y="2928965"/>
                </a:lnTo>
                <a:lnTo>
                  <a:pt x="11199600" y="2973972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178119"/>
                </a:lnTo>
                <a:lnTo>
                  <a:pt x="11199600" y="3203205"/>
                </a:lnTo>
                <a:lnTo>
                  <a:pt x="11199600" y="3407236"/>
                </a:lnTo>
                <a:lnTo>
                  <a:pt x="11199600" y="3448024"/>
                </a:lnTo>
                <a:lnTo>
                  <a:pt x="11199600" y="3452359"/>
                </a:lnTo>
                <a:lnTo>
                  <a:pt x="11199600" y="3470135"/>
                </a:lnTo>
                <a:lnTo>
                  <a:pt x="11199600" y="3722265"/>
                </a:lnTo>
                <a:lnTo>
                  <a:pt x="11199600" y="3739511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013751"/>
                </a:lnTo>
                <a:lnTo>
                  <a:pt x="11199600" y="4053409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327650"/>
                </a:lnTo>
                <a:lnTo>
                  <a:pt x="11199600" y="439054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664789"/>
                </a:lnTo>
                <a:lnTo>
                  <a:pt x="11199600" y="4751760"/>
                </a:lnTo>
                <a:lnTo>
                  <a:pt x="11199600" y="4903543"/>
                </a:lnTo>
                <a:lnTo>
                  <a:pt x="11199600" y="5026000"/>
                </a:lnTo>
                <a:lnTo>
                  <a:pt x="11199600" y="5137873"/>
                </a:lnTo>
                <a:lnTo>
                  <a:pt x="11199600" y="5412113"/>
                </a:lnTo>
                <a:lnTo>
                  <a:pt x="11199600" y="5549717"/>
                </a:lnTo>
                <a:lnTo>
                  <a:pt x="11199600" y="5823957"/>
                </a:lnTo>
                <a:cubicBezTo>
                  <a:pt x="11199600" y="5920067"/>
                  <a:pt x="11103603" y="5920067"/>
                  <a:pt x="11103603" y="5920067"/>
                </a:cubicBezTo>
                <a:cubicBezTo>
                  <a:pt x="11103603" y="5920067"/>
                  <a:pt x="11103603" y="5920067"/>
                  <a:pt x="95997" y="5920067"/>
                </a:cubicBezTo>
                <a:cubicBezTo>
                  <a:pt x="0" y="5920067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  <a:alpha val="10000"/>
            </a:schemeClr>
          </a:solidFill>
        </p:spPr>
        <p:txBody>
          <a:bodyPr wrap="square" lIns="3239676" tIns="35996" rIns="35996" bIns="35996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13424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48298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696912" y="1201147"/>
            <a:ext cx="11199600" cy="4999652"/>
          </a:xfrm>
          <a:custGeom>
            <a:avLst/>
            <a:gdLst>
              <a:gd name="connsiteX0" fmla="*/ 95997 w 11199600"/>
              <a:gd name="connsiteY0" fmla="*/ 0 h 4999652"/>
              <a:gd name="connsiteX1" fmla="*/ 11103603 w 11199600"/>
              <a:gd name="connsiteY1" fmla="*/ 0 h 4999652"/>
              <a:gd name="connsiteX2" fmla="*/ 11199600 w 11199600"/>
              <a:gd name="connsiteY2" fmla="*/ 96110 h 4999652"/>
              <a:gd name="connsiteX3" fmla="*/ 11199600 w 11199600"/>
              <a:gd name="connsiteY3" fmla="*/ 335165 h 4999652"/>
              <a:gd name="connsiteX4" fmla="*/ 11199600 w 11199600"/>
              <a:gd name="connsiteY4" fmla="*/ 370350 h 4999652"/>
              <a:gd name="connsiteX5" fmla="*/ 11199600 w 11199600"/>
              <a:gd name="connsiteY5" fmla="*/ 379204 h 4999652"/>
              <a:gd name="connsiteX6" fmla="*/ 11199600 w 11199600"/>
              <a:gd name="connsiteY6" fmla="*/ 400048 h 4999652"/>
              <a:gd name="connsiteX7" fmla="*/ 11199600 w 11199600"/>
              <a:gd name="connsiteY7" fmla="*/ 400232 h 4999652"/>
              <a:gd name="connsiteX8" fmla="*/ 11199600 w 11199600"/>
              <a:gd name="connsiteY8" fmla="*/ 471202 h 4999652"/>
              <a:gd name="connsiteX9" fmla="*/ 11199600 w 11199600"/>
              <a:gd name="connsiteY9" fmla="*/ 475721 h 4999652"/>
              <a:gd name="connsiteX10" fmla="*/ 11199600 w 11199600"/>
              <a:gd name="connsiteY10" fmla="*/ 508692 h 4999652"/>
              <a:gd name="connsiteX11" fmla="*/ 11199600 w 11199600"/>
              <a:gd name="connsiteY11" fmla="*/ 554484 h 4999652"/>
              <a:gd name="connsiteX12" fmla="*/ 11199600 w 11199600"/>
              <a:gd name="connsiteY12" fmla="*/ 563015 h 4999652"/>
              <a:gd name="connsiteX13" fmla="*/ 11199600 w 11199600"/>
              <a:gd name="connsiteY13" fmla="*/ 609405 h 4999652"/>
              <a:gd name="connsiteX14" fmla="*/ 11199600 w 11199600"/>
              <a:gd name="connsiteY14" fmla="*/ 662759 h 4999652"/>
              <a:gd name="connsiteX15" fmla="*/ 11199600 w 11199600"/>
              <a:gd name="connsiteY15" fmla="*/ 674288 h 4999652"/>
              <a:gd name="connsiteX16" fmla="*/ 11199600 w 11199600"/>
              <a:gd name="connsiteY16" fmla="*/ 749961 h 4999652"/>
              <a:gd name="connsiteX17" fmla="*/ 11199600 w 11199600"/>
              <a:gd name="connsiteY17" fmla="*/ 775785 h 4999652"/>
              <a:gd name="connsiteX18" fmla="*/ 11199600 w 11199600"/>
              <a:gd name="connsiteY18" fmla="*/ 837255 h 4999652"/>
              <a:gd name="connsiteX19" fmla="*/ 11199600 w 11199600"/>
              <a:gd name="connsiteY19" fmla="*/ 902921 h 4999652"/>
              <a:gd name="connsiteX20" fmla="*/ 11199600 w 11199600"/>
              <a:gd name="connsiteY20" fmla="*/ 936999 h 4999652"/>
              <a:gd name="connsiteX21" fmla="*/ 11199600 w 11199600"/>
              <a:gd name="connsiteY21" fmla="*/ 1016524 h 4999652"/>
              <a:gd name="connsiteX22" fmla="*/ 11199600 w 11199600"/>
              <a:gd name="connsiteY22" fmla="*/ 1029131 h 4999652"/>
              <a:gd name="connsiteX23" fmla="*/ 11199600 w 11199600"/>
              <a:gd name="connsiteY23" fmla="*/ 1044999 h 4999652"/>
              <a:gd name="connsiteX24" fmla="*/ 11199600 w 11199600"/>
              <a:gd name="connsiteY24" fmla="*/ 1046406 h 4999652"/>
              <a:gd name="connsiteX25" fmla="*/ 11199600 w 11199600"/>
              <a:gd name="connsiteY25" fmla="*/ 1050025 h 4999652"/>
              <a:gd name="connsiteX26" fmla="*/ 11199600 w 11199600"/>
              <a:gd name="connsiteY26" fmla="*/ 1074887 h 4999652"/>
              <a:gd name="connsiteX27" fmla="*/ 11199600 w 11199600"/>
              <a:gd name="connsiteY27" fmla="*/ 1176672 h 4999652"/>
              <a:gd name="connsiteX28" fmla="*/ 11199600 w 11199600"/>
              <a:gd name="connsiteY28" fmla="*/ 1177161 h 4999652"/>
              <a:gd name="connsiteX29" fmla="*/ 11199600 w 11199600"/>
              <a:gd name="connsiteY29" fmla="*/ 1202847 h 4999652"/>
              <a:gd name="connsiteX30" fmla="*/ 11199600 w 11199600"/>
              <a:gd name="connsiteY30" fmla="*/ 1208224 h 4999652"/>
              <a:gd name="connsiteX31" fmla="*/ 11199600 w 11199600"/>
              <a:gd name="connsiteY31" fmla="*/ 1255579 h 4999652"/>
              <a:gd name="connsiteX32" fmla="*/ 11199600 w 11199600"/>
              <a:gd name="connsiteY32" fmla="*/ 1290764 h 4999652"/>
              <a:gd name="connsiteX33" fmla="*/ 11199600 w 11199600"/>
              <a:gd name="connsiteY33" fmla="*/ 1299618 h 4999652"/>
              <a:gd name="connsiteX34" fmla="*/ 11199600 w 11199600"/>
              <a:gd name="connsiteY34" fmla="*/ 1319238 h 4999652"/>
              <a:gd name="connsiteX35" fmla="*/ 11199600 w 11199600"/>
              <a:gd name="connsiteY35" fmla="*/ 1319239 h 4999652"/>
              <a:gd name="connsiteX36" fmla="*/ 11199600 w 11199600"/>
              <a:gd name="connsiteY36" fmla="*/ 1320462 h 4999652"/>
              <a:gd name="connsiteX37" fmla="*/ 11199600 w 11199600"/>
              <a:gd name="connsiteY37" fmla="*/ 1320646 h 4999652"/>
              <a:gd name="connsiteX38" fmla="*/ 11199600 w 11199600"/>
              <a:gd name="connsiteY38" fmla="*/ 1337290 h 4999652"/>
              <a:gd name="connsiteX39" fmla="*/ 11199600 w 11199600"/>
              <a:gd name="connsiteY39" fmla="*/ 1349128 h 4999652"/>
              <a:gd name="connsiteX40" fmla="*/ 11199600 w 11199600"/>
              <a:gd name="connsiteY40" fmla="*/ 1362376 h 4999652"/>
              <a:gd name="connsiteX41" fmla="*/ 11199600 w 11199600"/>
              <a:gd name="connsiteY41" fmla="*/ 1377295 h 4999652"/>
              <a:gd name="connsiteX42" fmla="*/ 11199600 w 11199600"/>
              <a:gd name="connsiteY42" fmla="*/ 1377296 h 4999652"/>
              <a:gd name="connsiteX43" fmla="*/ 11199600 w 11199600"/>
              <a:gd name="connsiteY43" fmla="*/ 1391616 h 4999652"/>
              <a:gd name="connsiteX44" fmla="*/ 11199600 w 11199600"/>
              <a:gd name="connsiteY44" fmla="*/ 1396135 h 4999652"/>
              <a:gd name="connsiteX45" fmla="*/ 11199600 w 11199600"/>
              <a:gd name="connsiteY45" fmla="*/ 1429106 h 4999652"/>
              <a:gd name="connsiteX46" fmla="*/ 11199600 w 11199600"/>
              <a:gd name="connsiteY46" fmla="*/ 1474898 h 4999652"/>
              <a:gd name="connsiteX47" fmla="*/ 11199600 w 11199600"/>
              <a:gd name="connsiteY47" fmla="*/ 1477086 h 4999652"/>
              <a:gd name="connsiteX48" fmla="*/ 11199600 w 11199600"/>
              <a:gd name="connsiteY48" fmla="*/ 1477087 h 4999652"/>
              <a:gd name="connsiteX49" fmla="*/ 11199600 w 11199600"/>
              <a:gd name="connsiteY49" fmla="*/ 1483429 h 4999652"/>
              <a:gd name="connsiteX50" fmla="*/ 11199600 w 11199600"/>
              <a:gd name="connsiteY50" fmla="*/ 1529819 h 4999652"/>
              <a:gd name="connsiteX51" fmla="*/ 11199600 w 11199600"/>
              <a:gd name="connsiteY51" fmla="*/ 1569176 h 4999652"/>
              <a:gd name="connsiteX52" fmla="*/ 11199600 w 11199600"/>
              <a:gd name="connsiteY52" fmla="*/ 1569177 h 4999652"/>
              <a:gd name="connsiteX53" fmla="*/ 11199600 w 11199600"/>
              <a:gd name="connsiteY53" fmla="*/ 1583173 h 4999652"/>
              <a:gd name="connsiteX54" fmla="*/ 11199600 w 11199600"/>
              <a:gd name="connsiteY54" fmla="*/ 1594702 h 4999652"/>
              <a:gd name="connsiteX55" fmla="*/ 11199600 w 11199600"/>
              <a:gd name="connsiteY55" fmla="*/ 1607195 h 4999652"/>
              <a:gd name="connsiteX56" fmla="*/ 11199600 w 11199600"/>
              <a:gd name="connsiteY56" fmla="*/ 1611530 h 4999652"/>
              <a:gd name="connsiteX57" fmla="*/ 11199600 w 11199600"/>
              <a:gd name="connsiteY57" fmla="*/ 1651535 h 4999652"/>
              <a:gd name="connsiteX58" fmla="*/ 11199600 w 11199600"/>
              <a:gd name="connsiteY58" fmla="*/ 1651536 h 4999652"/>
              <a:gd name="connsiteX59" fmla="*/ 11199600 w 11199600"/>
              <a:gd name="connsiteY59" fmla="*/ 1670375 h 4999652"/>
              <a:gd name="connsiteX60" fmla="*/ 11199600 w 11199600"/>
              <a:gd name="connsiteY60" fmla="*/ 1696199 h 4999652"/>
              <a:gd name="connsiteX61" fmla="*/ 11199600 w 11199600"/>
              <a:gd name="connsiteY61" fmla="*/ 1757669 h 4999652"/>
              <a:gd name="connsiteX62" fmla="*/ 11199600 w 11199600"/>
              <a:gd name="connsiteY62" fmla="*/ 1779317 h 4999652"/>
              <a:gd name="connsiteX63" fmla="*/ 11199600 w 11199600"/>
              <a:gd name="connsiteY63" fmla="*/ 1779318 h 4999652"/>
              <a:gd name="connsiteX64" fmla="*/ 11199600 w 11199600"/>
              <a:gd name="connsiteY64" fmla="*/ 1823335 h 4999652"/>
              <a:gd name="connsiteX65" fmla="*/ 11199600 w 11199600"/>
              <a:gd name="connsiteY65" fmla="*/ 1843416 h 4999652"/>
              <a:gd name="connsiteX66" fmla="*/ 11199600 w 11199600"/>
              <a:gd name="connsiteY66" fmla="*/ 1843417 h 4999652"/>
              <a:gd name="connsiteX67" fmla="*/ 11199600 w 11199600"/>
              <a:gd name="connsiteY67" fmla="*/ 1857413 h 4999652"/>
              <a:gd name="connsiteX68" fmla="*/ 11199600 w 11199600"/>
              <a:gd name="connsiteY68" fmla="*/ 1881436 h 4999652"/>
              <a:gd name="connsiteX69" fmla="*/ 11199600 w 11199600"/>
              <a:gd name="connsiteY69" fmla="*/ 1898682 h 4999652"/>
              <a:gd name="connsiteX70" fmla="*/ 11199600 w 11199600"/>
              <a:gd name="connsiteY70" fmla="*/ 1965413 h 4999652"/>
              <a:gd name="connsiteX71" fmla="*/ 11199600 w 11199600"/>
              <a:gd name="connsiteY71" fmla="*/ 1970439 h 4999652"/>
              <a:gd name="connsiteX72" fmla="*/ 11199600 w 11199600"/>
              <a:gd name="connsiteY72" fmla="*/ 2008550 h 4999652"/>
              <a:gd name="connsiteX73" fmla="*/ 11199600 w 11199600"/>
              <a:gd name="connsiteY73" fmla="*/ 2008551 h 4999652"/>
              <a:gd name="connsiteX74" fmla="*/ 11199600 w 11199600"/>
              <a:gd name="connsiteY74" fmla="*/ 2053557 h 4999652"/>
              <a:gd name="connsiteX75" fmla="*/ 11199600 w 11199600"/>
              <a:gd name="connsiteY75" fmla="*/ 2053558 h 4999652"/>
              <a:gd name="connsiteX76" fmla="*/ 11199600 w 11199600"/>
              <a:gd name="connsiteY76" fmla="*/ 2097575 h 4999652"/>
              <a:gd name="connsiteX77" fmla="*/ 11199600 w 11199600"/>
              <a:gd name="connsiteY77" fmla="*/ 2123261 h 4999652"/>
              <a:gd name="connsiteX78" fmla="*/ 11199600 w 11199600"/>
              <a:gd name="connsiteY78" fmla="*/ 2172922 h 4999652"/>
              <a:gd name="connsiteX79" fmla="*/ 11199600 w 11199600"/>
              <a:gd name="connsiteY79" fmla="*/ 2212580 h 4999652"/>
              <a:gd name="connsiteX80" fmla="*/ 11199600 w 11199600"/>
              <a:gd name="connsiteY80" fmla="*/ 2239653 h 4999652"/>
              <a:gd name="connsiteX81" fmla="*/ 11199600 w 11199600"/>
              <a:gd name="connsiteY81" fmla="*/ 2257704 h 4999652"/>
              <a:gd name="connsiteX82" fmla="*/ 11199600 w 11199600"/>
              <a:gd name="connsiteY82" fmla="*/ 2257705 h 4999652"/>
              <a:gd name="connsiteX83" fmla="*/ 11199600 w 11199600"/>
              <a:gd name="connsiteY83" fmla="*/ 2282790 h 4999652"/>
              <a:gd name="connsiteX84" fmla="*/ 11199600 w 11199600"/>
              <a:gd name="connsiteY84" fmla="*/ 2282791 h 4999652"/>
              <a:gd name="connsiteX85" fmla="*/ 11199600 w 11199600"/>
              <a:gd name="connsiteY85" fmla="*/ 2297710 h 4999652"/>
              <a:gd name="connsiteX86" fmla="*/ 11199600 w 11199600"/>
              <a:gd name="connsiteY86" fmla="*/ 2397501 h 4999652"/>
              <a:gd name="connsiteX87" fmla="*/ 11199600 w 11199600"/>
              <a:gd name="connsiteY87" fmla="*/ 2486821 h 4999652"/>
              <a:gd name="connsiteX88" fmla="*/ 11199600 w 11199600"/>
              <a:gd name="connsiteY88" fmla="*/ 2489591 h 4999652"/>
              <a:gd name="connsiteX89" fmla="*/ 11199600 w 11199600"/>
              <a:gd name="connsiteY89" fmla="*/ 2527609 h 4999652"/>
              <a:gd name="connsiteX90" fmla="*/ 11199600 w 11199600"/>
              <a:gd name="connsiteY90" fmla="*/ 2527610 h 4999652"/>
              <a:gd name="connsiteX91" fmla="*/ 11199600 w 11199600"/>
              <a:gd name="connsiteY91" fmla="*/ 2531944 h 4999652"/>
              <a:gd name="connsiteX92" fmla="*/ 11199600 w 11199600"/>
              <a:gd name="connsiteY92" fmla="*/ 2531945 h 4999652"/>
              <a:gd name="connsiteX93" fmla="*/ 11199600 w 11199600"/>
              <a:gd name="connsiteY93" fmla="*/ 2549720 h 4999652"/>
              <a:gd name="connsiteX94" fmla="*/ 11199600 w 11199600"/>
              <a:gd name="connsiteY94" fmla="*/ 2571950 h 4999652"/>
              <a:gd name="connsiteX95" fmla="*/ 11199600 w 11199600"/>
              <a:gd name="connsiteY95" fmla="*/ 2699732 h 4999652"/>
              <a:gd name="connsiteX96" fmla="*/ 11199600 w 11199600"/>
              <a:gd name="connsiteY96" fmla="*/ 2763831 h 4999652"/>
              <a:gd name="connsiteX97" fmla="*/ 11199600 w 11199600"/>
              <a:gd name="connsiteY97" fmla="*/ 2790282 h 4999652"/>
              <a:gd name="connsiteX98" fmla="*/ 11199600 w 11199600"/>
              <a:gd name="connsiteY98" fmla="*/ 2801850 h 4999652"/>
              <a:gd name="connsiteX99" fmla="*/ 11199600 w 11199600"/>
              <a:gd name="connsiteY99" fmla="*/ 2819096 h 4999652"/>
              <a:gd name="connsiteX100" fmla="*/ 11199600 w 11199600"/>
              <a:gd name="connsiteY100" fmla="*/ 2823960 h 4999652"/>
              <a:gd name="connsiteX101" fmla="*/ 11199600 w 11199600"/>
              <a:gd name="connsiteY101" fmla="*/ 2910931 h 4999652"/>
              <a:gd name="connsiteX102" fmla="*/ 11199600 w 11199600"/>
              <a:gd name="connsiteY102" fmla="*/ 3093336 h 4999652"/>
              <a:gd name="connsiteX103" fmla="*/ 11199600 w 11199600"/>
              <a:gd name="connsiteY103" fmla="*/ 3132994 h 4999652"/>
              <a:gd name="connsiteX104" fmla="*/ 11199600 w 11199600"/>
              <a:gd name="connsiteY104" fmla="*/ 3185171 h 4999652"/>
              <a:gd name="connsiteX105" fmla="*/ 11199600 w 11199600"/>
              <a:gd name="connsiteY105" fmla="*/ 3297044 h 4999652"/>
              <a:gd name="connsiteX106" fmla="*/ 11199600 w 11199600"/>
              <a:gd name="connsiteY106" fmla="*/ 3407235 h 4999652"/>
              <a:gd name="connsiteX107" fmla="*/ 11199600 w 11199600"/>
              <a:gd name="connsiteY107" fmla="*/ 3470134 h 4999652"/>
              <a:gd name="connsiteX108" fmla="*/ 11199600 w 11199600"/>
              <a:gd name="connsiteY108" fmla="*/ 3571284 h 4999652"/>
              <a:gd name="connsiteX109" fmla="*/ 11199600 w 11199600"/>
              <a:gd name="connsiteY109" fmla="*/ 3708888 h 4999652"/>
              <a:gd name="connsiteX110" fmla="*/ 11199600 w 11199600"/>
              <a:gd name="connsiteY110" fmla="*/ 3744374 h 4999652"/>
              <a:gd name="connsiteX111" fmla="*/ 11199600 w 11199600"/>
              <a:gd name="connsiteY111" fmla="*/ 3831345 h 4999652"/>
              <a:gd name="connsiteX112" fmla="*/ 11199600 w 11199600"/>
              <a:gd name="connsiteY112" fmla="*/ 3983128 h 4999652"/>
              <a:gd name="connsiteX113" fmla="*/ 11199600 w 11199600"/>
              <a:gd name="connsiteY113" fmla="*/ 4105585 h 4999652"/>
              <a:gd name="connsiteX114" fmla="*/ 11199600 w 11199600"/>
              <a:gd name="connsiteY114" fmla="*/ 4217458 h 4999652"/>
              <a:gd name="connsiteX115" fmla="*/ 11199600 w 11199600"/>
              <a:gd name="connsiteY115" fmla="*/ 4491698 h 4999652"/>
              <a:gd name="connsiteX116" fmla="*/ 11199600 w 11199600"/>
              <a:gd name="connsiteY116" fmla="*/ 4629302 h 4999652"/>
              <a:gd name="connsiteX117" fmla="*/ 11199600 w 11199600"/>
              <a:gd name="connsiteY117" fmla="*/ 4903542 h 4999652"/>
              <a:gd name="connsiteX118" fmla="*/ 11103603 w 11199600"/>
              <a:gd name="connsiteY118" fmla="*/ 4999652 h 4999652"/>
              <a:gd name="connsiteX119" fmla="*/ 95997 w 11199600"/>
              <a:gd name="connsiteY119" fmla="*/ 4999652 h 4999652"/>
              <a:gd name="connsiteX120" fmla="*/ 0 w 11199600"/>
              <a:gd name="connsiteY120" fmla="*/ 4903542 h 4999652"/>
              <a:gd name="connsiteX121" fmla="*/ 0 w 11199600"/>
              <a:gd name="connsiteY121" fmla="*/ 4899807 h 4999652"/>
              <a:gd name="connsiteX122" fmla="*/ 0 w 11199600"/>
              <a:gd name="connsiteY122" fmla="*/ 4890936 h 4999652"/>
              <a:gd name="connsiteX123" fmla="*/ 0 w 11199600"/>
              <a:gd name="connsiteY123" fmla="*/ 4873660 h 4999652"/>
              <a:gd name="connsiteX124" fmla="*/ 0 w 11199600"/>
              <a:gd name="connsiteY124" fmla="*/ 4845179 h 4999652"/>
              <a:gd name="connsiteX125" fmla="*/ 0 w 11199600"/>
              <a:gd name="connsiteY125" fmla="*/ 4802691 h 4999652"/>
              <a:gd name="connsiteX126" fmla="*/ 0 w 11199600"/>
              <a:gd name="connsiteY126" fmla="*/ 4743394 h 4999652"/>
              <a:gd name="connsiteX127" fmla="*/ 0 w 11199600"/>
              <a:gd name="connsiteY127" fmla="*/ 4664487 h 4999652"/>
              <a:gd name="connsiteX128" fmla="*/ 0 w 11199600"/>
              <a:gd name="connsiteY128" fmla="*/ 4629302 h 4999652"/>
              <a:gd name="connsiteX129" fmla="*/ 0 w 11199600"/>
              <a:gd name="connsiteY129" fmla="*/ 4628196 h 4999652"/>
              <a:gd name="connsiteX130" fmla="*/ 0 w 11199600"/>
              <a:gd name="connsiteY130" fmla="*/ 4620448 h 4999652"/>
              <a:gd name="connsiteX131" fmla="*/ 0 w 11199600"/>
              <a:gd name="connsiteY131" fmla="*/ 4599605 h 4999652"/>
              <a:gd name="connsiteX132" fmla="*/ 0 w 11199600"/>
              <a:gd name="connsiteY132" fmla="*/ 4599420 h 4999652"/>
              <a:gd name="connsiteX133" fmla="*/ 0 w 11199600"/>
              <a:gd name="connsiteY133" fmla="*/ 4558471 h 4999652"/>
              <a:gd name="connsiteX134" fmla="*/ 0 w 11199600"/>
              <a:gd name="connsiteY134" fmla="*/ 4528451 h 4999652"/>
              <a:gd name="connsiteX135" fmla="*/ 0 w 11199600"/>
              <a:gd name="connsiteY135" fmla="*/ 4523932 h 4999652"/>
              <a:gd name="connsiteX136" fmla="*/ 0 w 11199600"/>
              <a:gd name="connsiteY136" fmla="*/ 4490960 h 4999652"/>
              <a:gd name="connsiteX137" fmla="*/ 0 w 11199600"/>
              <a:gd name="connsiteY137" fmla="*/ 4445169 h 4999652"/>
              <a:gd name="connsiteX138" fmla="*/ 0 w 11199600"/>
              <a:gd name="connsiteY138" fmla="*/ 4436638 h 4999652"/>
              <a:gd name="connsiteX139" fmla="*/ 0 w 11199600"/>
              <a:gd name="connsiteY139" fmla="*/ 4390247 h 4999652"/>
              <a:gd name="connsiteX140" fmla="*/ 0 w 11199600"/>
              <a:gd name="connsiteY140" fmla="*/ 4336893 h 4999652"/>
              <a:gd name="connsiteX141" fmla="*/ 0 w 11199600"/>
              <a:gd name="connsiteY141" fmla="*/ 4325365 h 4999652"/>
              <a:gd name="connsiteX142" fmla="*/ 0 w 11199600"/>
              <a:gd name="connsiteY142" fmla="*/ 4249692 h 4999652"/>
              <a:gd name="connsiteX143" fmla="*/ 0 w 11199600"/>
              <a:gd name="connsiteY143" fmla="*/ 4223868 h 4999652"/>
              <a:gd name="connsiteX144" fmla="*/ 0 w 11199600"/>
              <a:gd name="connsiteY144" fmla="*/ 4162398 h 4999652"/>
              <a:gd name="connsiteX145" fmla="*/ 0 w 11199600"/>
              <a:gd name="connsiteY145" fmla="*/ 4096731 h 4999652"/>
              <a:gd name="connsiteX146" fmla="*/ 0 w 11199600"/>
              <a:gd name="connsiteY146" fmla="*/ 4062653 h 4999652"/>
              <a:gd name="connsiteX147" fmla="*/ 0 w 11199600"/>
              <a:gd name="connsiteY147" fmla="*/ 3983128 h 4999652"/>
              <a:gd name="connsiteX148" fmla="*/ 0 w 11199600"/>
              <a:gd name="connsiteY148" fmla="*/ 3979393 h 4999652"/>
              <a:gd name="connsiteX149" fmla="*/ 0 w 11199600"/>
              <a:gd name="connsiteY149" fmla="*/ 3970522 h 4999652"/>
              <a:gd name="connsiteX150" fmla="*/ 0 w 11199600"/>
              <a:gd name="connsiteY150" fmla="*/ 3954654 h 4999652"/>
              <a:gd name="connsiteX151" fmla="*/ 0 w 11199600"/>
              <a:gd name="connsiteY151" fmla="*/ 3953246 h 4999652"/>
              <a:gd name="connsiteX152" fmla="*/ 0 w 11199600"/>
              <a:gd name="connsiteY152" fmla="*/ 3949628 h 4999652"/>
              <a:gd name="connsiteX153" fmla="*/ 0 w 11199600"/>
              <a:gd name="connsiteY153" fmla="*/ 3924765 h 4999652"/>
              <a:gd name="connsiteX154" fmla="*/ 0 w 11199600"/>
              <a:gd name="connsiteY154" fmla="*/ 3882277 h 4999652"/>
              <a:gd name="connsiteX155" fmla="*/ 0 w 11199600"/>
              <a:gd name="connsiteY155" fmla="*/ 3822980 h 4999652"/>
              <a:gd name="connsiteX156" fmla="*/ 0 w 11199600"/>
              <a:gd name="connsiteY156" fmla="*/ 3822491 h 4999652"/>
              <a:gd name="connsiteX157" fmla="*/ 0 w 11199600"/>
              <a:gd name="connsiteY157" fmla="*/ 3796806 h 4999652"/>
              <a:gd name="connsiteX158" fmla="*/ 0 w 11199600"/>
              <a:gd name="connsiteY158" fmla="*/ 3744073 h 4999652"/>
              <a:gd name="connsiteX159" fmla="*/ 0 w 11199600"/>
              <a:gd name="connsiteY159" fmla="*/ 3708888 h 4999652"/>
              <a:gd name="connsiteX160" fmla="*/ 0 w 11199600"/>
              <a:gd name="connsiteY160" fmla="*/ 3707782 h 4999652"/>
              <a:gd name="connsiteX161" fmla="*/ 0 w 11199600"/>
              <a:gd name="connsiteY161" fmla="*/ 3700034 h 4999652"/>
              <a:gd name="connsiteX162" fmla="*/ 0 w 11199600"/>
              <a:gd name="connsiteY162" fmla="*/ 3680414 h 4999652"/>
              <a:gd name="connsiteX163" fmla="*/ 0 w 11199600"/>
              <a:gd name="connsiteY163" fmla="*/ 3679191 h 4999652"/>
              <a:gd name="connsiteX164" fmla="*/ 0 w 11199600"/>
              <a:gd name="connsiteY164" fmla="*/ 3679006 h 4999652"/>
              <a:gd name="connsiteX165" fmla="*/ 0 w 11199600"/>
              <a:gd name="connsiteY165" fmla="*/ 3638057 h 4999652"/>
              <a:gd name="connsiteX166" fmla="*/ 0 w 11199600"/>
              <a:gd name="connsiteY166" fmla="*/ 3622356 h 4999652"/>
              <a:gd name="connsiteX167" fmla="*/ 0 w 11199600"/>
              <a:gd name="connsiteY167" fmla="*/ 3608037 h 4999652"/>
              <a:gd name="connsiteX168" fmla="*/ 0 w 11199600"/>
              <a:gd name="connsiteY168" fmla="*/ 3603518 h 4999652"/>
              <a:gd name="connsiteX169" fmla="*/ 0 w 11199600"/>
              <a:gd name="connsiteY169" fmla="*/ 3570546 h 4999652"/>
              <a:gd name="connsiteX170" fmla="*/ 0 w 11199600"/>
              <a:gd name="connsiteY170" fmla="*/ 3524755 h 4999652"/>
              <a:gd name="connsiteX171" fmla="*/ 0 w 11199600"/>
              <a:gd name="connsiteY171" fmla="*/ 3522566 h 4999652"/>
              <a:gd name="connsiteX172" fmla="*/ 0 w 11199600"/>
              <a:gd name="connsiteY172" fmla="*/ 3516224 h 4999652"/>
              <a:gd name="connsiteX173" fmla="*/ 0 w 11199600"/>
              <a:gd name="connsiteY173" fmla="*/ 3469833 h 4999652"/>
              <a:gd name="connsiteX174" fmla="*/ 0 w 11199600"/>
              <a:gd name="connsiteY174" fmla="*/ 3430476 h 4999652"/>
              <a:gd name="connsiteX175" fmla="*/ 0 w 11199600"/>
              <a:gd name="connsiteY175" fmla="*/ 3416479 h 4999652"/>
              <a:gd name="connsiteX176" fmla="*/ 0 w 11199600"/>
              <a:gd name="connsiteY176" fmla="*/ 3404951 h 4999652"/>
              <a:gd name="connsiteX177" fmla="*/ 0 w 11199600"/>
              <a:gd name="connsiteY177" fmla="*/ 3348116 h 4999652"/>
              <a:gd name="connsiteX178" fmla="*/ 0 w 11199600"/>
              <a:gd name="connsiteY178" fmla="*/ 3329278 h 4999652"/>
              <a:gd name="connsiteX179" fmla="*/ 0 w 11199600"/>
              <a:gd name="connsiteY179" fmla="*/ 3303454 h 4999652"/>
              <a:gd name="connsiteX180" fmla="*/ 0 w 11199600"/>
              <a:gd name="connsiteY180" fmla="*/ 3241984 h 4999652"/>
              <a:gd name="connsiteX181" fmla="*/ 0 w 11199600"/>
              <a:gd name="connsiteY181" fmla="*/ 3220334 h 4999652"/>
              <a:gd name="connsiteX182" fmla="*/ 0 w 11199600"/>
              <a:gd name="connsiteY182" fmla="*/ 3176317 h 4999652"/>
              <a:gd name="connsiteX183" fmla="*/ 0 w 11199600"/>
              <a:gd name="connsiteY183" fmla="*/ 3156236 h 4999652"/>
              <a:gd name="connsiteX184" fmla="*/ 0 w 11199600"/>
              <a:gd name="connsiteY184" fmla="*/ 3142239 h 4999652"/>
              <a:gd name="connsiteX185" fmla="*/ 0 w 11199600"/>
              <a:gd name="connsiteY185" fmla="*/ 3034240 h 4999652"/>
              <a:gd name="connsiteX186" fmla="*/ 0 w 11199600"/>
              <a:gd name="connsiteY186" fmla="*/ 3029214 h 4999652"/>
              <a:gd name="connsiteX187" fmla="*/ 0 w 11199600"/>
              <a:gd name="connsiteY187" fmla="*/ 2991101 h 4999652"/>
              <a:gd name="connsiteX188" fmla="*/ 0 w 11199600"/>
              <a:gd name="connsiteY188" fmla="*/ 2946094 h 4999652"/>
              <a:gd name="connsiteX189" fmla="*/ 0 w 11199600"/>
              <a:gd name="connsiteY189" fmla="*/ 2902077 h 4999652"/>
              <a:gd name="connsiteX190" fmla="*/ 0 w 11199600"/>
              <a:gd name="connsiteY190" fmla="*/ 2876392 h 4999652"/>
              <a:gd name="connsiteX191" fmla="*/ 0 w 11199600"/>
              <a:gd name="connsiteY191" fmla="*/ 2790282 h 4999652"/>
              <a:gd name="connsiteX192" fmla="*/ 0 w 11199600"/>
              <a:gd name="connsiteY192" fmla="*/ 2787072 h 4999652"/>
              <a:gd name="connsiteX193" fmla="*/ 0 w 11199600"/>
              <a:gd name="connsiteY193" fmla="*/ 2760000 h 4999652"/>
              <a:gd name="connsiteX194" fmla="*/ 0 w 11199600"/>
              <a:gd name="connsiteY194" fmla="*/ 2741948 h 4999652"/>
              <a:gd name="connsiteX195" fmla="*/ 0 w 11199600"/>
              <a:gd name="connsiteY195" fmla="*/ 2741947 h 4999652"/>
              <a:gd name="connsiteX196" fmla="*/ 0 w 11199600"/>
              <a:gd name="connsiteY196" fmla="*/ 2716862 h 4999652"/>
              <a:gd name="connsiteX197" fmla="*/ 0 w 11199600"/>
              <a:gd name="connsiteY197" fmla="*/ 2716861 h 4999652"/>
              <a:gd name="connsiteX198" fmla="*/ 0 w 11199600"/>
              <a:gd name="connsiteY198" fmla="*/ 2701942 h 4999652"/>
              <a:gd name="connsiteX199" fmla="*/ 0 w 11199600"/>
              <a:gd name="connsiteY199" fmla="*/ 2602152 h 4999652"/>
              <a:gd name="connsiteX200" fmla="*/ 0 w 11199600"/>
              <a:gd name="connsiteY200" fmla="*/ 2512832 h 4999652"/>
              <a:gd name="connsiteX201" fmla="*/ 0 w 11199600"/>
              <a:gd name="connsiteY201" fmla="*/ 2510062 h 4999652"/>
              <a:gd name="connsiteX202" fmla="*/ 0 w 11199600"/>
              <a:gd name="connsiteY202" fmla="*/ 2472043 h 4999652"/>
              <a:gd name="connsiteX203" fmla="*/ 0 w 11199600"/>
              <a:gd name="connsiteY203" fmla="*/ 2472042 h 4999652"/>
              <a:gd name="connsiteX204" fmla="*/ 0 w 11199600"/>
              <a:gd name="connsiteY204" fmla="*/ 2467708 h 4999652"/>
              <a:gd name="connsiteX205" fmla="*/ 0 w 11199600"/>
              <a:gd name="connsiteY205" fmla="*/ 2467707 h 4999652"/>
              <a:gd name="connsiteX206" fmla="*/ 0 w 11199600"/>
              <a:gd name="connsiteY206" fmla="*/ 2449933 h 4999652"/>
              <a:gd name="connsiteX207" fmla="*/ 0 w 11199600"/>
              <a:gd name="connsiteY207" fmla="*/ 2427702 h 4999652"/>
              <a:gd name="connsiteX208" fmla="*/ 0 w 11199600"/>
              <a:gd name="connsiteY208" fmla="*/ 2299920 h 4999652"/>
              <a:gd name="connsiteX209" fmla="*/ 0 w 11199600"/>
              <a:gd name="connsiteY209" fmla="*/ 2235822 h 4999652"/>
              <a:gd name="connsiteX210" fmla="*/ 0 w 11199600"/>
              <a:gd name="connsiteY210" fmla="*/ 2197803 h 4999652"/>
              <a:gd name="connsiteX211" fmla="*/ 0 w 11199600"/>
              <a:gd name="connsiteY211" fmla="*/ 2197802 h 4999652"/>
              <a:gd name="connsiteX212" fmla="*/ 0 w 11199600"/>
              <a:gd name="connsiteY212" fmla="*/ 2180556 h 4999652"/>
              <a:gd name="connsiteX213" fmla="*/ 0 w 11199600"/>
              <a:gd name="connsiteY213" fmla="*/ 2180555 h 4999652"/>
              <a:gd name="connsiteX214" fmla="*/ 0 w 11199600"/>
              <a:gd name="connsiteY214" fmla="*/ 2175692 h 4999652"/>
              <a:gd name="connsiteX215" fmla="*/ 0 w 11199600"/>
              <a:gd name="connsiteY215" fmla="*/ 2088721 h 4999652"/>
              <a:gd name="connsiteX216" fmla="*/ 0 w 11199600"/>
              <a:gd name="connsiteY216" fmla="*/ 2070687 h 4999652"/>
              <a:gd name="connsiteX217" fmla="*/ 0 w 11199600"/>
              <a:gd name="connsiteY217" fmla="*/ 2025680 h 4999652"/>
              <a:gd name="connsiteX218" fmla="*/ 0 w 11199600"/>
              <a:gd name="connsiteY218" fmla="*/ 1906316 h 4999652"/>
              <a:gd name="connsiteX219" fmla="*/ 0 w 11199600"/>
              <a:gd name="connsiteY219" fmla="*/ 1906315 h 4999652"/>
              <a:gd name="connsiteX220" fmla="*/ 0 w 11199600"/>
              <a:gd name="connsiteY220" fmla="*/ 1866658 h 4999652"/>
              <a:gd name="connsiteX221" fmla="*/ 0 w 11199600"/>
              <a:gd name="connsiteY221" fmla="*/ 1866657 h 4999652"/>
              <a:gd name="connsiteX222" fmla="*/ 0 w 11199600"/>
              <a:gd name="connsiteY222" fmla="*/ 1821533 h 4999652"/>
              <a:gd name="connsiteX223" fmla="*/ 0 w 11199600"/>
              <a:gd name="connsiteY223" fmla="*/ 1814481 h 4999652"/>
              <a:gd name="connsiteX224" fmla="*/ 0 w 11199600"/>
              <a:gd name="connsiteY224" fmla="*/ 1796447 h 4999652"/>
              <a:gd name="connsiteX225" fmla="*/ 0 w 11199600"/>
              <a:gd name="connsiteY225" fmla="*/ 1702609 h 4999652"/>
              <a:gd name="connsiteX226" fmla="*/ 0 w 11199600"/>
              <a:gd name="connsiteY226" fmla="*/ 1592418 h 4999652"/>
              <a:gd name="connsiteX227" fmla="*/ 0 w 11199600"/>
              <a:gd name="connsiteY227" fmla="*/ 1592417 h 4999652"/>
              <a:gd name="connsiteX228" fmla="*/ 0 w 11199600"/>
              <a:gd name="connsiteY228" fmla="*/ 1551628 h 4999652"/>
              <a:gd name="connsiteX229" fmla="*/ 0 w 11199600"/>
              <a:gd name="connsiteY229" fmla="*/ 1547293 h 4999652"/>
              <a:gd name="connsiteX230" fmla="*/ 0 w 11199600"/>
              <a:gd name="connsiteY230" fmla="*/ 1529519 h 4999652"/>
              <a:gd name="connsiteX231" fmla="*/ 0 w 11199600"/>
              <a:gd name="connsiteY231" fmla="*/ 1529518 h 4999652"/>
              <a:gd name="connsiteX232" fmla="*/ 0 w 11199600"/>
              <a:gd name="connsiteY232" fmla="*/ 1428369 h 4999652"/>
              <a:gd name="connsiteX233" fmla="*/ 0 w 11199600"/>
              <a:gd name="connsiteY233" fmla="*/ 1290764 h 4999652"/>
              <a:gd name="connsiteX234" fmla="*/ 0 w 11199600"/>
              <a:gd name="connsiteY234" fmla="*/ 1277388 h 4999652"/>
              <a:gd name="connsiteX235" fmla="*/ 0 w 11199600"/>
              <a:gd name="connsiteY235" fmla="*/ 1260141 h 4999652"/>
              <a:gd name="connsiteX236" fmla="*/ 0 w 11199600"/>
              <a:gd name="connsiteY236" fmla="*/ 1255278 h 4999652"/>
              <a:gd name="connsiteX237" fmla="*/ 0 w 11199600"/>
              <a:gd name="connsiteY237" fmla="*/ 1255277 h 4999652"/>
              <a:gd name="connsiteX238" fmla="*/ 0 w 11199600"/>
              <a:gd name="connsiteY238" fmla="*/ 1208224 h 4999652"/>
              <a:gd name="connsiteX239" fmla="*/ 0 w 11199600"/>
              <a:gd name="connsiteY239" fmla="*/ 1168307 h 4999652"/>
              <a:gd name="connsiteX240" fmla="*/ 0 w 11199600"/>
              <a:gd name="connsiteY240" fmla="*/ 1016524 h 4999652"/>
              <a:gd name="connsiteX241" fmla="*/ 0 w 11199600"/>
              <a:gd name="connsiteY241" fmla="*/ 894067 h 4999652"/>
              <a:gd name="connsiteX242" fmla="*/ 0 w 11199600"/>
              <a:gd name="connsiteY242" fmla="*/ 782195 h 4999652"/>
              <a:gd name="connsiteX243" fmla="*/ 0 w 11199600"/>
              <a:gd name="connsiteY243" fmla="*/ 507955 h 4999652"/>
              <a:gd name="connsiteX244" fmla="*/ 0 w 11199600"/>
              <a:gd name="connsiteY244" fmla="*/ 370350 h 4999652"/>
              <a:gd name="connsiteX245" fmla="*/ 0 w 11199600"/>
              <a:gd name="connsiteY245" fmla="*/ 96110 h 4999652"/>
              <a:gd name="connsiteX246" fmla="*/ 95997 w 11199600"/>
              <a:gd name="connsiteY246" fmla="*/ 0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</a:cxnLst>
            <a:rect l="l" t="t" r="r" b="b"/>
            <a:pathLst>
              <a:path w="11199600" h="4999652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08224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8"/>
                </a:ln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lnTo>
                  <a:pt x="11199600" y="1337290"/>
                </a:lnTo>
                <a:lnTo>
                  <a:pt x="11199600" y="1349128"/>
                </a:lnTo>
                <a:lnTo>
                  <a:pt x="11199600" y="1362376"/>
                </a:lnTo>
                <a:lnTo>
                  <a:pt x="11199600" y="1377295"/>
                </a:ln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6"/>
                </a:ln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6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07195"/>
                </a:lnTo>
                <a:lnTo>
                  <a:pt x="11199600" y="1611530"/>
                </a:lnTo>
                <a:lnTo>
                  <a:pt x="11199600" y="1651535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7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6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881436"/>
                </a:lnTo>
                <a:lnTo>
                  <a:pt x="11199600" y="1898682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0"/>
                </a:lnTo>
                <a:lnTo>
                  <a:pt x="11199600" y="2008551"/>
                </a:lnTo>
                <a:lnTo>
                  <a:pt x="11199600" y="2053557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172922"/>
                </a:lnTo>
                <a:lnTo>
                  <a:pt x="11199600" y="2212580"/>
                </a:lnTo>
                <a:lnTo>
                  <a:pt x="11199600" y="2239653"/>
                </a:lnTo>
                <a:lnTo>
                  <a:pt x="11199600" y="2257704"/>
                </a:lnTo>
                <a:lnTo>
                  <a:pt x="11199600" y="2257705"/>
                </a:lnTo>
                <a:lnTo>
                  <a:pt x="11199600" y="2282790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6821"/>
                </a:lnTo>
                <a:lnTo>
                  <a:pt x="11199600" y="2489591"/>
                </a:lnTo>
                <a:lnTo>
                  <a:pt x="11199600" y="2527609"/>
                </a:lnTo>
                <a:lnTo>
                  <a:pt x="11199600" y="2527610"/>
                </a:lnTo>
                <a:lnTo>
                  <a:pt x="11199600" y="2531944"/>
                </a:lnTo>
                <a:lnTo>
                  <a:pt x="11199600" y="2531945"/>
                </a:lnTo>
                <a:lnTo>
                  <a:pt x="11199600" y="2549720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790282"/>
                </a:lnTo>
                <a:lnTo>
                  <a:pt x="11199600" y="2801850"/>
                </a:lnTo>
                <a:lnTo>
                  <a:pt x="11199600" y="2819096"/>
                </a:lnTo>
                <a:lnTo>
                  <a:pt x="11199600" y="2823960"/>
                </a:lnTo>
                <a:lnTo>
                  <a:pt x="11199600" y="2910931"/>
                </a:lnTo>
                <a:lnTo>
                  <a:pt x="11199600" y="3093336"/>
                </a:lnTo>
                <a:lnTo>
                  <a:pt x="11199600" y="3132994"/>
                </a:lnTo>
                <a:lnTo>
                  <a:pt x="11199600" y="3185171"/>
                </a:lnTo>
                <a:lnTo>
                  <a:pt x="11199600" y="3297044"/>
                </a:lnTo>
                <a:lnTo>
                  <a:pt x="11199600" y="3407235"/>
                </a:lnTo>
                <a:lnTo>
                  <a:pt x="11199600" y="3470134"/>
                </a:lnTo>
                <a:lnTo>
                  <a:pt x="11199600" y="3571284"/>
                </a:lnTo>
                <a:lnTo>
                  <a:pt x="11199600" y="3708888"/>
                </a:lnTo>
                <a:lnTo>
                  <a:pt x="11199600" y="3744374"/>
                </a:lnTo>
                <a:lnTo>
                  <a:pt x="11199600" y="3831345"/>
                </a:lnTo>
                <a:lnTo>
                  <a:pt x="11199600" y="3983128"/>
                </a:lnTo>
                <a:lnTo>
                  <a:pt x="11199600" y="4105585"/>
                </a:lnTo>
                <a:lnTo>
                  <a:pt x="11199600" y="4217458"/>
                </a:lnTo>
                <a:lnTo>
                  <a:pt x="11199600" y="4491698"/>
                </a:lnTo>
                <a:lnTo>
                  <a:pt x="11199600" y="4629302"/>
                </a:lnTo>
                <a:lnTo>
                  <a:pt x="11199600" y="4903542"/>
                </a:lnTo>
                <a:cubicBezTo>
                  <a:pt x="11199600" y="4999652"/>
                  <a:pt x="11103603" y="4999652"/>
                  <a:pt x="11103603" y="4999652"/>
                </a:cubicBezTo>
                <a:cubicBezTo>
                  <a:pt x="11103603" y="4999652"/>
                  <a:pt x="11103603" y="4999652"/>
                  <a:pt x="95997" y="4999652"/>
                </a:cubicBezTo>
                <a:cubicBezTo>
                  <a:pt x="0" y="4999652"/>
                  <a:pt x="0" y="4903542"/>
                  <a:pt x="0" y="4903542"/>
                </a:cubicBezTo>
                <a:lnTo>
                  <a:pt x="0" y="4899807"/>
                </a:lnTo>
                <a:lnTo>
                  <a:pt x="0" y="4890936"/>
                </a:lnTo>
                <a:lnTo>
                  <a:pt x="0" y="4873660"/>
                </a:lnTo>
                <a:lnTo>
                  <a:pt x="0" y="4845179"/>
                </a:lnTo>
                <a:lnTo>
                  <a:pt x="0" y="4802691"/>
                </a:lnTo>
                <a:lnTo>
                  <a:pt x="0" y="4743394"/>
                </a:lnTo>
                <a:lnTo>
                  <a:pt x="0" y="4664487"/>
                </a:lnTo>
                <a:lnTo>
                  <a:pt x="0" y="4629302"/>
                </a:lnTo>
                <a:lnTo>
                  <a:pt x="0" y="4628196"/>
                </a:lnTo>
                <a:lnTo>
                  <a:pt x="0" y="4620448"/>
                </a:lnTo>
                <a:lnTo>
                  <a:pt x="0" y="4599605"/>
                </a:lnTo>
                <a:lnTo>
                  <a:pt x="0" y="4599420"/>
                </a:lnTo>
                <a:lnTo>
                  <a:pt x="0" y="4558471"/>
                </a:lnTo>
                <a:lnTo>
                  <a:pt x="0" y="4528451"/>
                </a:lnTo>
                <a:lnTo>
                  <a:pt x="0" y="4523932"/>
                </a:lnTo>
                <a:lnTo>
                  <a:pt x="0" y="4490960"/>
                </a:lnTo>
                <a:lnTo>
                  <a:pt x="0" y="4445169"/>
                </a:lnTo>
                <a:lnTo>
                  <a:pt x="0" y="4436638"/>
                </a:lnTo>
                <a:lnTo>
                  <a:pt x="0" y="4390247"/>
                </a:lnTo>
                <a:lnTo>
                  <a:pt x="0" y="4336893"/>
                </a:lnTo>
                <a:lnTo>
                  <a:pt x="0" y="4325365"/>
                </a:lnTo>
                <a:lnTo>
                  <a:pt x="0" y="4249692"/>
                </a:lnTo>
                <a:lnTo>
                  <a:pt x="0" y="4223868"/>
                </a:lnTo>
                <a:lnTo>
                  <a:pt x="0" y="4162398"/>
                </a:lnTo>
                <a:lnTo>
                  <a:pt x="0" y="4096731"/>
                </a:lnTo>
                <a:lnTo>
                  <a:pt x="0" y="4062653"/>
                </a:lnTo>
                <a:lnTo>
                  <a:pt x="0" y="3983128"/>
                </a:lnTo>
                <a:lnTo>
                  <a:pt x="0" y="3979393"/>
                </a:lnTo>
                <a:lnTo>
                  <a:pt x="0" y="3970522"/>
                </a:lnTo>
                <a:lnTo>
                  <a:pt x="0" y="3954654"/>
                </a:lnTo>
                <a:lnTo>
                  <a:pt x="0" y="3953246"/>
                </a:lnTo>
                <a:lnTo>
                  <a:pt x="0" y="3949628"/>
                </a:lnTo>
                <a:lnTo>
                  <a:pt x="0" y="3924765"/>
                </a:lnTo>
                <a:lnTo>
                  <a:pt x="0" y="3882277"/>
                </a:lnTo>
                <a:lnTo>
                  <a:pt x="0" y="3822980"/>
                </a:lnTo>
                <a:lnTo>
                  <a:pt x="0" y="3822491"/>
                </a:lnTo>
                <a:lnTo>
                  <a:pt x="0" y="3796806"/>
                </a:lnTo>
                <a:lnTo>
                  <a:pt x="0" y="3744073"/>
                </a:lnTo>
                <a:lnTo>
                  <a:pt x="0" y="3708888"/>
                </a:lnTo>
                <a:lnTo>
                  <a:pt x="0" y="3707782"/>
                </a:lnTo>
                <a:lnTo>
                  <a:pt x="0" y="3700034"/>
                </a:lnTo>
                <a:lnTo>
                  <a:pt x="0" y="3680414"/>
                </a:lnTo>
                <a:lnTo>
                  <a:pt x="0" y="3679191"/>
                </a:lnTo>
                <a:lnTo>
                  <a:pt x="0" y="3679006"/>
                </a:lnTo>
                <a:lnTo>
                  <a:pt x="0" y="3638057"/>
                </a:lnTo>
                <a:lnTo>
                  <a:pt x="0" y="3622356"/>
                </a:lnTo>
                <a:lnTo>
                  <a:pt x="0" y="3608037"/>
                </a:lnTo>
                <a:lnTo>
                  <a:pt x="0" y="3603518"/>
                </a:lnTo>
                <a:lnTo>
                  <a:pt x="0" y="3570546"/>
                </a:lnTo>
                <a:lnTo>
                  <a:pt x="0" y="3524755"/>
                </a:lnTo>
                <a:lnTo>
                  <a:pt x="0" y="3522566"/>
                </a:lnTo>
                <a:lnTo>
                  <a:pt x="0" y="3516224"/>
                </a:lnTo>
                <a:lnTo>
                  <a:pt x="0" y="3469833"/>
                </a:lnTo>
                <a:lnTo>
                  <a:pt x="0" y="3430476"/>
                </a:lnTo>
                <a:lnTo>
                  <a:pt x="0" y="3416479"/>
                </a:lnTo>
                <a:lnTo>
                  <a:pt x="0" y="3404951"/>
                </a:lnTo>
                <a:lnTo>
                  <a:pt x="0" y="3348116"/>
                </a:lnTo>
                <a:lnTo>
                  <a:pt x="0" y="3329278"/>
                </a:lnTo>
                <a:lnTo>
                  <a:pt x="0" y="3303454"/>
                </a:lnTo>
                <a:lnTo>
                  <a:pt x="0" y="3241984"/>
                </a:lnTo>
                <a:lnTo>
                  <a:pt x="0" y="3220334"/>
                </a:lnTo>
                <a:lnTo>
                  <a:pt x="0" y="3176317"/>
                </a:lnTo>
                <a:lnTo>
                  <a:pt x="0" y="3156236"/>
                </a:lnTo>
                <a:lnTo>
                  <a:pt x="0" y="3142239"/>
                </a:lnTo>
                <a:lnTo>
                  <a:pt x="0" y="3034240"/>
                </a:lnTo>
                <a:lnTo>
                  <a:pt x="0" y="3029214"/>
                </a:lnTo>
                <a:lnTo>
                  <a:pt x="0" y="2991101"/>
                </a:lnTo>
                <a:lnTo>
                  <a:pt x="0" y="2946094"/>
                </a:lnTo>
                <a:lnTo>
                  <a:pt x="0" y="2902077"/>
                </a:lnTo>
                <a:lnTo>
                  <a:pt x="0" y="2876392"/>
                </a:lnTo>
                <a:lnTo>
                  <a:pt x="0" y="2790282"/>
                </a:lnTo>
                <a:lnTo>
                  <a:pt x="0" y="2787072"/>
                </a:lnTo>
                <a:lnTo>
                  <a:pt x="0" y="2760000"/>
                </a:lnTo>
                <a:lnTo>
                  <a:pt x="0" y="2741948"/>
                </a:lnTo>
                <a:lnTo>
                  <a:pt x="0" y="2741947"/>
                </a:lnTo>
                <a:lnTo>
                  <a:pt x="0" y="2716862"/>
                </a:lnTo>
                <a:lnTo>
                  <a:pt x="0" y="2716861"/>
                </a:lnTo>
                <a:lnTo>
                  <a:pt x="0" y="2701942"/>
                </a:lnTo>
                <a:lnTo>
                  <a:pt x="0" y="2602152"/>
                </a:lnTo>
                <a:lnTo>
                  <a:pt x="0" y="2512832"/>
                </a:lnTo>
                <a:lnTo>
                  <a:pt x="0" y="2510062"/>
                </a:lnTo>
                <a:lnTo>
                  <a:pt x="0" y="2472043"/>
                </a:lnTo>
                <a:lnTo>
                  <a:pt x="0" y="2472042"/>
                </a:lnTo>
                <a:lnTo>
                  <a:pt x="0" y="2467708"/>
                </a:lnTo>
                <a:lnTo>
                  <a:pt x="0" y="2467707"/>
                </a:lnTo>
                <a:lnTo>
                  <a:pt x="0" y="2449933"/>
                </a:lnTo>
                <a:lnTo>
                  <a:pt x="0" y="2427702"/>
                </a:lnTo>
                <a:lnTo>
                  <a:pt x="0" y="2299920"/>
                </a:lnTo>
                <a:lnTo>
                  <a:pt x="0" y="2235822"/>
                </a:lnTo>
                <a:lnTo>
                  <a:pt x="0" y="2197803"/>
                </a:lnTo>
                <a:lnTo>
                  <a:pt x="0" y="2197802"/>
                </a:lnTo>
                <a:lnTo>
                  <a:pt x="0" y="2180556"/>
                </a:lnTo>
                <a:lnTo>
                  <a:pt x="0" y="2180555"/>
                </a:lnTo>
                <a:lnTo>
                  <a:pt x="0" y="2175692"/>
                </a:lnTo>
                <a:lnTo>
                  <a:pt x="0" y="2088721"/>
                </a:lnTo>
                <a:lnTo>
                  <a:pt x="0" y="2070687"/>
                </a:lnTo>
                <a:lnTo>
                  <a:pt x="0" y="2025680"/>
                </a:lnTo>
                <a:lnTo>
                  <a:pt x="0" y="1906316"/>
                </a:lnTo>
                <a:lnTo>
                  <a:pt x="0" y="1906315"/>
                </a:lnTo>
                <a:lnTo>
                  <a:pt x="0" y="1866658"/>
                </a:lnTo>
                <a:lnTo>
                  <a:pt x="0" y="1866657"/>
                </a:lnTo>
                <a:lnTo>
                  <a:pt x="0" y="1821533"/>
                </a:lnTo>
                <a:lnTo>
                  <a:pt x="0" y="1814481"/>
                </a:lnTo>
                <a:lnTo>
                  <a:pt x="0" y="1796447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92417"/>
                </a:lnTo>
                <a:lnTo>
                  <a:pt x="0" y="1551628"/>
                </a:lnTo>
                <a:lnTo>
                  <a:pt x="0" y="1547293"/>
                </a:lnTo>
                <a:lnTo>
                  <a:pt x="0" y="1529519"/>
                </a:lnTo>
                <a:lnTo>
                  <a:pt x="0" y="1529518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77388"/>
                </a:lnTo>
                <a:lnTo>
                  <a:pt x="0" y="1260141"/>
                </a:lnTo>
                <a:lnTo>
                  <a:pt x="0" y="1255278"/>
                </a:lnTo>
                <a:lnTo>
                  <a:pt x="0" y="1255277"/>
                </a:lnTo>
                <a:lnTo>
                  <a:pt x="0" y="1208224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39676" tIns="35996" rIns="35996" bIns="35996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06594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2">
          <p15:clr>
            <a:srgbClr val="FBAE40"/>
          </p15:clr>
        </p15:guide>
      </p15:sldGuideLst>
    </p:ext>
  </p:extLs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846827" y="1270001"/>
            <a:ext cx="5058000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 bwMode="gray">
          <a:xfrm>
            <a:off x="6276751" y="1270001"/>
            <a:ext cx="5058000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31576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57393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/>
          <p:cNvSpPr>
            <a:spLocks noChangeAspect="1"/>
          </p:cNvSpPr>
          <p:nvPr userDrawn="1"/>
        </p:nvSpPr>
        <p:spPr bwMode="gray">
          <a:xfrm>
            <a:off x="693739" y="1695449"/>
            <a:ext cx="10641600" cy="2630915"/>
          </a:xfrm>
          <a:custGeom>
            <a:avLst/>
            <a:gdLst>
              <a:gd name="T0" fmla="*/ 2480 w 2480"/>
              <a:gd name="T1" fmla="*/ 528 h 611"/>
              <a:gd name="T2" fmla="*/ 2480 w 2480"/>
              <a:gd name="T3" fmla="*/ 32 h 611"/>
              <a:gd name="T4" fmla="*/ 2448 w 2480"/>
              <a:gd name="T5" fmla="*/ 0 h 611"/>
              <a:gd name="T6" fmla="*/ 32 w 2480"/>
              <a:gd name="T7" fmla="*/ 0 h 611"/>
              <a:gd name="T8" fmla="*/ 0 w 2480"/>
              <a:gd name="T9" fmla="*/ 32 h 611"/>
              <a:gd name="T10" fmla="*/ 0 w 2480"/>
              <a:gd name="T11" fmla="*/ 528 h 611"/>
              <a:gd name="T12" fmla="*/ 32 w 2480"/>
              <a:gd name="T13" fmla="*/ 560 h 611"/>
              <a:gd name="T14" fmla="*/ 237 w 2480"/>
              <a:gd name="T15" fmla="*/ 560 h 611"/>
              <a:gd name="T16" fmla="*/ 271 w 2480"/>
              <a:gd name="T17" fmla="*/ 604 h 611"/>
              <a:gd name="T18" fmla="*/ 289 w 2480"/>
              <a:gd name="T19" fmla="*/ 604 h 611"/>
              <a:gd name="T20" fmla="*/ 323 w 2480"/>
              <a:gd name="T21" fmla="*/ 560 h 611"/>
              <a:gd name="T22" fmla="*/ 2448 w 2480"/>
              <a:gd name="T23" fmla="*/ 560 h 611"/>
              <a:gd name="T24" fmla="*/ 2480 w 2480"/>
              <a:gd name="T25" fmla="*/ 528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80" h="611">
                <a:moveTo>
                  <a:pt x="2480" y="528"/>
                </a:moveTo>
                <a:cubicBezTo>
                  <a:pt x="2480" y="32"/>
                  <a:pt x="2480" y="32"/>
                  <a:pt x="2480" y="32"/>
                </a:cubicBezTo>
                <a:cubicBezTo>
                  <a:pt x="2480" y="32"/>
                  <a:pt x="2480" y="0"/>
                  <a:pt x="2448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0" y="0"/>
                  <a:pt x="0" y="32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528"/>
                  <a:pt x="0" y="560"/>
                  <a:pt x="32" y="560"/>
                </a:cubicBezTo>
                <a:cubicBezTo>
                  <a:pt x="237" y="560"/>
                  <a:pt x="237" y="560"/>
                  <a:pt x="237" y="560"/>
                </a:cubicBezTo>
                <a:cubicBezTo>
                  <a:pt x="271" y="604"/>
                  <a:pt x="271" y="604"/>
                  <a:pt x="271" y="604"/>
                </a:cubicBezTo>
                <a:cubicBezTo>
                  <a:pt x="276" y="611"/>
                  <a:pt x="284" y="611"/>
                  <a:pt x="289" y="604"/>
                </a:cubicBezTo>
                <a:cubicBezTo>
                  <a:pt x="323" y="560"/>
                  <a:pt x="323" y="560"/>
                  <a:pt x="323" y="560"/>
                </a:cubicBezTo>
                <a:cubicBezTo>
                  <a:pt x="2448" y="560"/>
                  <a:pt x="2448" y="560"/>
                  <a:pt x="2448" y="560"/>
                </a:cubicBezTo>
                <a:cubicBezTo>
                  <a:pt x="2448" y="560"/>
                  <a:pt x="2480" y="560"/>
                  <a:pt x="2480" y="528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1172150" y="1695452"/>
            <a:ext cx="10162600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3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4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01873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696912" y="280733"/>
            <a:ext cx="11199600" cy="5920067"/>
          </a:xfrm>
          <a:custGeom>
            <a:avLst/>
            <a:gdLst>
              <a:gd name="connsiteX0" fmla="*/ 95997 w 11199600"/>
              <a:gd name="connsiteY0" fmla="*/ 0 h 5920067"/>
              <a:gd name="connsiteX1" fmla="*/ 11103603 w 11199600"/>
              <a:gd name="connsiteY1" fmla="*/ 0 h 5920067"/>
              <a:gd name="connsiteX2" fmla="*/ 11199600 w 11199600"/>
              <a:gd name="connsiteY2" fmla="*/ 96110 h 5920067"/>
              <a:gd name="connsiteX3" fmla="*/ 11199600 w 11199600"/>
              <a:gd name="connsiteY3" fmla="*/ 335165 h 5920067"/>
              <a:gd name="connsiteX4" fmla="*/ 11199600 w 11199600"/>
              <a:gd name="connsiteY4" fmla="*/ 370350 h 5920067"/>
              <a:gd name="connsiteX5" fmla="*/ 11199600 w 11199600"/>
              <a:gd name="connsiteY5" fmla="*/ 379204 h 5920067"/>
              <a:gd name="connsiteX6" fmla="*/ 11199600 w 11199600"/>
              <a:gd name="connsiteY6" fmla="*/ 400048 h 5920067"/>
              <a:gd name="connsiteX7" fmla="*/ 11199600 w 11199600"/>
              <a:gd name="connsiteY7" fmla="*/ 400232 h 5920067"/>
              <a:gd name="connsiteX8" fmla="*/ 11199600 w 11199600"/>
              <a:gd name="connsiteY8" fmla="*/ 471202 h 5920067"/>
              <a:gd name="connsiteX9" fmla="*/ 11199600 w 11199600"/>
              <a:gd name="connsiteY9" fmla="*/ 475721 h 5920067"/>
              <a:gd name="connsiteX10" fmla="*/ 11199600 w 11199600"/>
              <a:gd name="connsiteY10" fmla="*/ 508692 h 5920067"/>
              <a:gd name="connsiteX11" fmla="*/ 11199600 w 11199600"/>
              <a:gd name="connsiteY11" fmla="*/ 554484 h 5920067"/>
              <a:gd name="connsiteX12" fmla="*/ 11199600 w 11199600"/>
              <a:gd name="connsiteY12" fmla="*/ 563015 h 5920067"/>
              <a:gd name="connsiteX13" fmla="*/ 11199600 w 11199600"/>
              <a:gd name="connsiteY13" fmla="*/ 609405 h 5920067"/>
              <a:gd name="connsiteX14" fmla="*/ 11199600 w 11199600"/>
              <a:gd name="connsiteY14" fmla="*/ 662759 h 5920067"/>
              <a:gd name="connsiteX15" fmla="*/ 11199600 w 11199600"/>
              <a:gd name="connsiteY15" fmla="*/ 674288 h 5920067"/>
              <a:gd name="connsiteX16" fmla="*/ 11199600 w 11199600"/>
              <a:gd name="connsiteY16" fmla="*/ 749961 h 5920067"/>
              <a:gd name="connsiteX17" fmla="*/ 11199600 w 11199600"/>
              <a:gd name="connsiteY17" fmla="*/ 775785 h 5920067"/>
              <a:gd name="connsiteX18" fmla="*/ 11199600 w 11199600"/>
              <a:gd name="connsiteY18" fmla="*/ 837255 h 5920067"/>
              <a:gd name="connsiteX19" fmla="*/ 11199600 w 11199600"/>
              <a:gd name="connsiteY19" fmla="*/ 902921 h 5920067"/>
              <a:gd name="connsiteX20" fmla="*/ 11199600 w 11199600"/>
              <a:gd name="connsiteY20" fmla="*/ 936999 h 5920067"/>
              <a:gd name="connsiteX21" fmla="*/ 11199600 w 11199600"/>
              <a:gd name="connsiteY21" fmla="*/ 1016524 h 5920067"/>
              <a:gd name="connsiteX22" fmla="*/ 11199600 w 11199600"/>
              <a:gd name="connsiteY22" fmla="*/ 1029131 h 5920067"/>
              <a:gd name="connsiteX23" fmla="*/ 11199600 w 11199600"/>
              <a:gd name="connsiteY23" fmla="*/ 1044999 h 5920067"/>
              <a:gd name="connsiteX24" fmla="*/ 11199600 w 11199600"/>
              <a:gd name="connsiteY24" fmla="*/ 1046406 h 5920067"/>
              <a:gd name="connsiteX25" fmla="*/ 11199600 w 11199600"/>
              <a:gd name="connsiteY25" fmla="*/ 1050025 h 5920067"/>
              <a:gd name="connsiteX26" fmla="*/ 11199600 w 11199600"/>
              <a:gd name="connsiteY26" fmla="*/ 1074887 h 5920067"/>
              <a:gd name="connsiteX27" fmla="*/ 11199600 w 11199600"/>
              <a:gd name="connsiteY27" fmla="*/ 1176672 h 5920067"/>
              <a:gd name="connsiteX28" fmla="*/ 11199600 w 11199600"/>
              <a:gd name="connsiteY28" fmla="*/ 1177161 h 5920067"/>
              <a:gd name="connsiteX29" fmla="*/ 11199600 w 11199600"/>
              <a:gd name="connsiteY29" fmla="*/ 1202847 h 5920067"/>
              <a:gd name="connsiteX30" fmla="*/ 11199600 w 11199600"/>
              <a:gd name="connsiteY30" fmla="*/ 1255579 h 5920067"/>
              <a:gd name="connsiteX31" fmla="*/ 11199600 w 11199600"/>
              <a:gd name="connsiteY31" fmla="*/ 1290764 h 5920067"/>
              <a:gd name="connsiteX32" fmla="*/ 11199600 w 11199600"/>
              <a:gd name="connsiteY32" fmla="*/ 1299618 h 5920067"/>
              <a:gd name="connsiteX33" fmla="*/ 11199600 w 11199600"/>
              <a:gd name="connsiteY33" fmla="*/ 1319239 h 5920067"/>
              <a:gd name="connsiteX34" fmla="*/ 11199600 w 11199600"/>
              <a:gd name="connsiteY34" fmla="*/ 1320462 h 5920067"/>
              <a:gd name="connsiteX35" fmla="*/ 11199600 w 11199600"/>
              <a:gd name="connsiteY35" fmla="*/ 1320646 h 5920067"/>
              <a:gd name="connsiteX36" fmla="*/ 11199600 w 11199600"/>
              <a:gd name="connsiteY36" fmla="*/ 1349128 h 5920067"/>
              <a:gd name="connsiteX37" fmla="*/ 11199600 w 11199600"/>
              <a:gd name="connsiteY37" fmla="*/ 1377296 h 5920067"/>
              <a:gd name="connsiteX38" fmla="*/ 11199600 w 11199600"/>
              <a:gd name="connsiteY38" fmla="*/ 1391616 h 5920067"/>
              <a:gd name="connsiteX39" fmla="*/ 11199600 w 11199600"/>
              <a:gd name="connsiteY39" fmla="*/ 1396135 h 5920067"/>
              <a:gd name="connsiteX40" fmla="*/ 11199600 w 11199600"/>
              <a:gd name="connsiteY40" fmla="*/ 1429106 h 5920067"/>
              <a:gd name="connsiteX41" fmla="*/ 11199600 w 11199600"/>
              <a:gd name="connsiteY41" fmla="*/ 1474898 h 5920067"/>
              <a:gd name="connsiteX42" fmla="*/ 11199600 w 11199600"/>
              <a:gd name="connsiteY42" fmla="*/ 1477087 h 5920067"/>
              <a:gd name="connsiteX43" fmla="*/ 11199600 w 11199600"/>
              <a:gd name="connsiteY43" fmla="*/ 1483429 h 5920067"/>
              <a:gd name="connsiteX44" fmla="*/ 11199600 w 11199600"/>
              <a:gd name="connsiteY44" fmla="*/ 1529819 h 5920067"/>
              <a:gd name="connsiteX45" fmla="*/ 11199600 w 11199600"/>
              <a:gd name="connsiteY45" fmla="*/ 1569177 h 5920067"/>
              <a:gd name="connsiteX46" fmla="*/ 11199600 w 11199600"/>
              <a:gd name="connsiteY46" fmla="*/ 1583173 h 5920067"/>
              <a:gd name="connsiteX47" fmla="*/ 11199600 w 11199600"/>
              <a:gd name="connsiteY47" fmla="*/ 1594702 h 5920067"/>
              <a:gd name="connsiteX48" fmla="*/ 11199600 w 11199600"/>
              <a:gd name="connsiteY48" fmla="*/ 1651536 h 5920067"/>
              <a:gd name="connsiteX49" fmla="*/ 11199600 w 11199600"/>
              <a:gd name="connsiteY49" fmla="*/ 1670375 h 5920067"/>
              <a:gd name="connsiteX50" fmla="*/ 11199600 w 11199600"/>
              <a:gd name="connsiteY50" fmla="*/ 1696199 h 5920067"/>
              <a:gd name="connsiteX51" fmla="*/ 11199600 w 11199600"/>
              <a:gd name="connsiteY51" fmla="*/ 1757669 h 5920067"/>
              <a:gd name="connsiteX52" fmla="*/ 11199600 w 11199600"/>
              <a:gd name="connsiteY52" fmla="*/ 1779318 h 5920067"/>
              <a:gd name="connsiteX53" fmla="*/ 11199600 w 11199600"/>
              <a:gd name="connsiteY53" fmla="*/ 1823335 h 5920067"/>
              <a:gd name="connsiteX54" fmla="*/ 11199600 w 11199600"/>
              <a:gd name="connsiteY54" fmla="*/ 1843417 h 5920067"/>
              <a:gd name="connsiteX55" fmla="*/ 11199600 w 11199600"/>
              <a:gd name="connsiteY55" fmla="*/ 1857413 h 5920067"/>
              <a:gd name="connsiteX56" fmla="*/ 11199600 w 11199600"/>
              <a:gd name="connsiteY56" fmla="*/ 1965413 h 5920067"/>
              <a:gd name="connsiteX57" fmla="*/ 11199600 w 11199600"/>
              <a:gd name="connsiteY57" fmla="*/ 1970439 h 5920067"/>
              <a:gd name="connsiteX58" fmla="*/ 11199600 w 11199600"/>
              <a:gd name="connsiteY58" fmla="*/ 2008551 h 5920067"/>
              <a:gd name="connsiteX59" fmla="*/ 11199600 w 11199600"/>
              <a:gd name="connsiteY59" fmla="*/ 2053558 h 5920067"/>
              <a:gd name="connsiteX60" fmla="*/ 11199600 w 11199600"/>
              <a:gd name="connsiteY60" fmla="*/ 2097575 h 5920067"/>
              <a:gd name="connsiteX61" fmla="*/ 11199600 w 11199600"/>
              <a:gd name="connsiteY61" fmla="*/ 2123261 h 5920067"/>
              <a:gd name="connsiteX62" fmla="*/ 11199600 w 11199600"/>
              <a:gd name="connsiteY62" fmla="*/ 2239653 h 5920067"/>
              <a:gd name="connsiteX63" fmla="*/ 11199600 w 11199600"/>
              <a:gd name="connsiteY63" fmla="*/ 2257705 h 5920067"/>
              <a:gd name="connsiteX64" fmla="*/ 11199600 w 11199600"/>
              <a:gd name="connsiteY64" fmla="*/ 2282791 h 5920067"/>
              <a:gd name="connsiteX65" fmla="*/ 11199600 w 11199600"/>
              <a:gd name="connsiteY65" fmla="*/ 2297710 h 5920067"/>
              <a:gd name="connsiteX66" fmla="*/ 11199600 w 11199600"/>
              <a:gd name="connsiteY66" fmla="*/ 2397501 h 5920067"/>
              <a:gd name="connsiteX67" fmla="*/ 11199600 w 11199600"/>
              <a:gd name="connsiteY67" fmla="*/ 2489591 h 5920067"/>
              <a:gd name="connsiteX68" fmla="*/ 11199600 w 11199600"/>
              <a:gd name="connsiteY68" fmla="*/ 2527610 h 5920067"/>
              <a:gd name="connsiteX69" fmla="*/ 11199600 w 11199600"/>
              <a:gd name="connsiteY69" fmla="*/ 2531945 h 5920067"/>
              <a:gd name="connsiteX70" fmla="*/ 11199600 w 11199600"/>
              <a:gd name="connsiteY70" fmla="*/ 2571950 h 5920067"/>
              <a:gd name="connsiteX71" fmla="*/ 11199600 w 11199600"/>
              <a:gd name="connsiteY71" fmla="*/ 2699732 h 5920067"/>
              <a:gd name="connsiteX72" fmla="*/ 11199600 w 11199600"/>
              <a:gd name="connsiteY72" fmla="*/ 2763831 h 5920067"/>
              <a:gd name="connsiteX73" fmla="*/ 11199600 w 11199600"/>
              <a:gd name="connsiteY73" fmla="*/ 2801851 h 5920067"/>
              <a:gd name="connsiteX74" fmla="*/ 11199600 w 11199600"/>
              <a:gd name="connsiteY74" fmla="*/ 2819097 h 5920067"/>
              <a:gd name="connsiteX75" fmla="*/ 11199600 w 11199600"/>
              <a:gd name="connsiteY75" fmla="*/ 2928965 h 5920067"/>
              <a:gd name="connsiteX76" fmla="*/ 11199600 w 11199600"/>
              <a:gd name="connsiteY76" fmla="*/ 2973972 h 5920067"/>
              <a:gd name="connsiteX77" fmla="*/ 11199600 w 11199600"/>
              <a:gd name="connsiteY77" fmla="*/ 3093337 h 5920067"/>
              <a:gd name="connsiteX78" fmla="*/ 11199600 w 11199600"/>
              <a:gd name="connsiteY78" fmla="*/ 3132995 h 5920067"/>
              <a:gd name="connsiteX79" fmla="*/ 11199600 w 11199600"/>
              <a:gd name="connsiteY79" fmla="*/ 3178119 h 5920067"/>
              <a:gd name="connsiteX80" fmla="*/ 11199600 w 11199600"/>
              <a:gd name="connsiteY80" fmla="*/ 3203205 h 5920067"/>
              <a:gd name="connsiteX81" fmla="*/ 11199600 w 11199600"/>
              <a:gd name="connsiteY81" fmla="*/ 3407236 h 5920067"/>
              <a:gd name="connsiteX82" fmla="*/ 11199600 w 11199600"/>
              <a:gd name="connsiteY82" fmla="*/ 3448024 h 5920067"/>
              <a:gd name="connsiteX83" fmla="*/ 11199600 w 11199600"/>
              <a:gd name="connsiteY83" fmla="*/ 3452359 h 5920067"/>
              <a:gd name="connsiteX84" fmla="*/ 11199600 w 11199600"/>
              <a:gd name="connsiteY84" fmla="*/ 3470135 h 5920067"/>
              <a:gd name="connsiteX85" fmla="*/ 11199600 w 11199600"/>
              <a:gd name="connsiteY85" fmla="*/ 3722265 h 5920067"/>
              <a:gd name="connsiteX86" fmla="*/ 11199600 w 11199600"/>
              <a:gd name="connsiteY86" fmla="*/ 3739511 h 5920067"/>
              <a:gd name="connsiteX87" fmla="*/ 11199600 w 11199600"/>
              <a:gd name="connsiteY87" fmla="*/ 3744375 h 5920067"/>
              <a:gd name="connsiteX88" fmla="*/ 11199600 w 11199600"/>
              <a:gd name="connsiteY88" fmla="*/ 3831346 h 5920067"/>
              <a:gd name="connsiteX89" fmla="*/ 11199600 w 11199600"/>
              <a:gd name="connsiteY89" fmla="*/ 4013751 h 5920067"/>
              <a:gd name="connsiteX90" fmla="*/ 11199600 w 11199600"/>
              <a:gd name="connsiteY90" fmla="*/ 4053409 h 5920067"/>
              <a:gd name="connsiteX91" fmla="*/ 11199600 w 11199600"/>
              <a:gd name="connsiteY91" fmla="*/ 4105586 h 5920067"/>
              <a:gd name="connsiteX92" fmla="*/ 11199600 w 11199600"/>
              <a:gd name="connsiteY92" fmla="*/ 4217459 h 5920067"/>
              <a:gd name="connsiteX93" fmla="*/ 11199600 w 11199600"/>
              <a:gd name="connsiteY93" fmla="*/ 4327650 h 5920067"/>
              <a:gd name="connsiteX94" fmla="*/ 11199600 w 11199600"/>
              <a:gd name="connsiteY94" fmla="*/ 4390549 h 5920067"/>
              <a:gd name="connsiteX95" fmla="*/ 11199600 w 11199600"/>
              <a:gd name="connsiteY95" fmla="*/ 4491699 h 5920067"/>
              <a:gd name="connsiteX96" fmla="*/ 11199600 w 11199600"/>
              <a:gd name="connsiteY96" fmla="*/ 4629303 h 5920067"/>
              <a:gd name="connsiteX97" fmla="*/ 11199600 w 11199600"/>
              <a:gd name="connsiteY97" fmla="*/ 4664789 h 5920067"/>
              <a:gd name="connsiteX98" fmla="*/ 11199600 w 11199600"/>
              <a:gd name="connsiteY98" fmla="*/ 4751760 h 5920067"/>
              <a:gd name="connsiteX99" fmla="*/ 11199600 w 11199600"/>
              <a:gd name="connsiteY99" fmla="*/ 4903543 h 5920067"/>
              <a:gd name="connsiteX100" fmla="*/ 11199600 w 11199600"/>
              <a:gd name="connsiteY100" fmla="*/ 5026000 h 5920067"/>
              <a:gd name="connsiteX101" fmla="*/ 11199600 w 11199600"/>
              <a:gd name="connsiteY101" fmla="*/ 5137873 h 5920067"/>
              <a:gd name="connsiteX102" fmla="*/ 11199600 w 11199600"/>
              <a:gd name="connsiteY102" fmla="*/ 5412113 h 5920067"/>
              <a:gd name="connsiteX103" fmla="*/ 11199600 w 11199600"/>
              <a:gd name="connsiteY103" fmla="*/ 5549717 h 5920067"/>
              <a:gd name="connsiteX104" fmla="*/ 11199600 w 11199600"/>
              <a:gd name="connsiteY104" fmla="*/ 5823957 h 5920067"/>
              <a:gd name="connsiteX105" fmla="*/ 11103603 w 11199600"/>
              <a:gd name="connsiteY105" fmla="*/ 5920067 h 5920067"/>
              <a:gd name="connsiteX106" fmla="*/ 95997 w 11199600"/>
              <a:gd name="connsiteY106" fmla="*/ 5920067 h 5920067"/>
              <a:gd name="connsiteX107" fmla="*/ 0 w 11199600"/>
              <a:gd name="connsiteY107" fmla="*/ 5823957 h 5920067"/>
              <a:gd name="connsiteX108" fmla="*/ 0 w 11199600"/>
              <a:gd name="connsiteY108" fmla="*/ 5820222 h 5920067"/>
              <a:gd name="connsiteX109" fmla="*/ 0 w 11199600"/>
              <a:gd name="connsiteY109" fmla="*/ 5811351 h 5920067"/>
              <a:gd name="connsiteX110" fmla="*/ 0 w 11199600"/>
              <a:gd name="connsiteY110" fmla="*/ 5794075 h 5920067"/>
              <a:gd name="connsiteX111" fmla="*/ 0 w 11199600"/>
              <a:gd name="connsiteY111" fmla="*/ 5765594 h 5920067"/>
              <a:gd name="connsiteX112" fmla="*/ 0 w 11199600"/>
              <a:gd name="connsiteY112" fmla="*/ 5723106 h 5920067"/>
              <a:gd name="connsiteX113" fmla="*/ 0 w 11199600"/>
              <a:gd name="connsiteY113" fmla="*/ 5663809 h 5920067"/>
              <a:gd name="connsiteX114" fmla="*/ 0 w 11199600"/>
              <a:gd name="connsiteY114" fmla="*/ 5584902 h 5920067"/>
              <a:gd name="connsiteX115" fmla="*/ 0 w 11199600"/>
              <a:gd name="connsiteY115" fmla="*/ 5549717 h 5920067"/>
              <a:gd name="connsiteX116" fmla="*/ 0 w 11199600"/>
              <a:gd name="connsiteY116" fmla="*/ 5548611 h 5920067"/>
              <a:gd name="connsiteX117" fmla="*/ 0 w 11199600"/>
              <a:gd name="connsiteY117" fmla="*/ 5540863 h 5920067"/>
              <a:gd name="connsiteX118" fmla="*/ 0 w 11199600"/>
              <a:gd name="connsiteY118" fmla="*/ 5520020 h 5920067"/>
              <a:gd name="connsiteX119" fmla="*/ 0 w 11199600"/>
              <a:gd name="connsiteY119" fmla="*/ 5519835 h 5920067"/>
              <a:gd name="connsiteX120" fmla="*/ 0 w 11199600"/>
              <a:gd name="connsiteY120" fmla="*/ 5478886 h 5920067"/>
              <a:gd name="connsiteX121" fmla="*/ 0 w 11199600"/>
              <a:gd name="connsiteY121" fmla="*/ 5448866 h 5920067"/>
              <a:gd name="connsiteX122" fmla="*/ 0 w 11199600"/>
              <a:gd name="connsiteY122" fmla="*/ 5444347 h 5920067"/>
              <a:gd name="connsiteX123" fmla="*/ 0 w 11199600"/>
              <a:gd name="connsiteY123" fmla="*/ 5411375 h 5920067"/>
              <a:gd name="connsiteX124" fmla="*/ 0 w 11199600"/>
              <a:gd name="connsiteY124" fmla="*/ 5365584 h 5920067"/>
              <a:gd name="connsiteX125" fmla="*/ 0 w 11199600"/>
              <a:gd name="connsiteY125" fmla="*/ 5357053 h 5920067"/>
              <a:gd name="connsiteX126" fmla="*/ 0 w 11199600"/>
              <a:gd name="connsiteY126" fmla="*/ 5310662 h 5920067"/>
              <a:gd name="connsiteX127" fmla="*/ 0 w 11199600"/>
              <a:gd name="connsiteY127" fmla="*/ 5257308 h 5920067"/>
              <a:gd name="connsiteX128" fmla="*/ 0 w 11199600"/>
              <a:gd name="connsiteY128" fmla="*/ 5245780 h 5920067"/>
              <a:gd name="connsiteX129" fmla="*/ 0 w 11199600"/>
              <a:gd name="connsiteY129" fmla="*/ 5170107 h 5920067"/>
              <a:gd name="connsiteX130" fmla="*/ 0 w 11199600"/>
              <a:gd name="connsiteY130" fmla="*/ 5144283 h 5920067"/>
              <a:gd name="connsiteX131" fmla="*/ 0 w 11199600"/>
              <a:gd name="connsiteY131" fmla="*/ 5082813 h 5920067"/>
              <a:gd name="connsiteX132" fmla="*/ 0 w 11199600"/>
              <a:gd name="connsiteY132" fmla="*/ 5017146 h 5920067"/>
              <a:gd name="connsiteX133" fmla="*/ 0 w 11199600"/>
              <a:gd name="connsiteY133" fmla="*/ 4983068 h 5920067"/>
              <a:gd name="connsiteX134" fmla="*/ 0 w 11199600"/>
              <a:gd name="connsiteY134" fmla="*/ 4903543 h 5920067"/>
              <a:gd name="connsiteX135" fmla="*/ 0 w 11199600"/>
              <a:gd name="connsiteY135" fmla="*/ 4899808 h 5920067"/>
              <a:gd name="connsiteX136" fmla="*/ 0 w 11199600"/>
              <a:gd name="connsiteY136" fmla="*/ 4890937 h 5920067"/>
              <a:gd name="connsiteX137" fmla="*/ 0 w 11199600"/>
              <a:gd name="connsiteY137" fmla="*/ 4875069 h 5920067"/>
              <a:gd name="connsiteX138" fmla="*/ 0 w 11199600"/>
              <a:gd name="connsiteY138" fmla="*/ 4873661 h 5920067"/>
              <a:gd name="connsiteX139" fmla="*/ 0 w 11199600"/>
              <a:gd name="connsiteY139" fmla="*/ 4870043 h 5920067"/>
              <a:gd name="connsiteX140" fmla="*/ 0 w 11199600"/>
              <a:gd name="connsiteY140" fmla="*/ 4845180 h 5920067"/>
              <a:gd name="connsiteX141" fmla="*/ 0 w 11199600"/>
              <a:gd name="connsiteY141" fmla="*/ 4802692 h 5920067"/>
              <a:gd name="connsiteX142" fmla="*/ 0 w 11199600"/>
              <a:gd name="connsiteY142" fmla="*/ 4743395 h 5920067"/>
              <a:gd name="connsiteX143" fmla="*/ 0 w 11199600"/>
              <a:gd name="connsiteY143" fmla="*/ 4742906 h 5920067"/>
              <a:gd name="connsiteX144" fmla="*/ 0 w 11199600"/>
              <a:gd name="connsiteY144" fmla="*/ 4717221 h 5920067"/>
              <a:gd name="connsiteX145" fmla="*/ 0 w 11199600"/>
              <a:gd name="connsiteY145" fmla="*/ 4664488 h 5920067"/>
              <a:gd name="connsiteX146" fmla="*/ 0 w 11199600"/>
              <a:gd name="connsiteY146" fmla="*/ 4629303 h 5920067"/>
              <a:gd name="connsiteX147" fmla="*/ 0 w 11199600"/>
              <a:gd name="connsiteY147" fmla="*/ 4628197 h 5920067"/>
              <a:gd name="connsiteX148" fmla="*/ 0 w 11199600"/>
              <a:gd name="connsiteY148" fmla="*/ 4620449 h 5920067"/>
              <a:gd name="connsiteX149" fmla="*/ 0 w 11199600"/>
              <a:gd name="connsiteY149" fmla="*/ 4600829 h 5920067"/>
              <a:gd name="connsiteX150" fmla="*/ 0 w 11199600"/>
              <a:gd name="connsiteY150" fmla="*/ 4599606 h 5920067"/>
              <a:gd name="connsiteX151" fmla="*/ 0 w 11199600"/>
              <a:gd name="connsiteY151" fmla="*/ 4599421 h 5920067"/>
              <a:gd name="connsiteX152" fmla="*/ 0 w 11199600"/>
              <a:gd name="connsiteY152" fmla="*/ 4558472 h 5920067"/>
              <a:gd name="connsiteX153" fmla="*/ 0 w 11199600"/>
              <a:gd name="connsiteY153" fmla="*/ 4542771 h 5920067"/>
              <a:gd name="connsiteX154" fmla="*/ 0 w 11199600"/>
              <a:gd name="connsiteY154" fmla="*/ 4528452 h 5920067"/>
              <a:gd name="connsiteX155" fmla="*/ 0 w 11199600"/>
              <a:gd name="connsiteY155" fmla="*/ 4523933 h 5920067"/>
              <a:gd name="connsiteX156" fmla="*/ 0 w 11199600"/>
              <a:gd name="connsiteY156" fmla="*/ 4490961 h 5920067"/>
              <a:gd name="connsiteX157" fmla="*/ 0 w 11199600"/>
              <a:gd name="connsiteY157" fmla="*/ 4445170 h 5920067"/>
              <a:gd name="connsiteX158" fmla="*/ 0 w 11199600"/>
              <a:gd name="connsiteY158" fmla="*/ 4442981 h 5920067"/>
              <a:gd name="connsiteX159" fmla="*/ 0 w 11199600"/>
              <a:gd name="connsiteY159" fmla="*/ 4436639 h 5920067"/>
              <a:gd name="connsiteX160" fmla="*/ 0 w 11199600"/>
              <a:gd name="connsiteY160" fmla="*/ 4390248 h 5920067"/>
              <a:gd name="connsiteX161" fmla="*/ 0 w 11199600"/>
              <a:gd name="connsiteY161" fmla="*/ 4350891 h 5920067"/>
              <a:gd name="connsiteX162" fmla="*/ 0 w 11199600"/>
              <a:gd name="connsiteY162" fmla="*/ 4336894 h 5920067"/>
              <a:gd name="connsiteX163" fmla="*/ 0 w 11199600"/>
              <a:gd name="connsiteY163" fmla="*/ 4325366 h 5920067"/>
              <a:gd name="connsiteX164" fmla="*/ 0 w 11199600"/>
              <a:gd name="connsiteY164" fmla="*/ 4268531 h 5920067"/>
              <a:gd name="connsiteX165" fmla="*/ 0 w 11199600"/>
              <a:gd name="connsiteY165" fmla="*/ 4249693 h 5920067"/>
              <a:gd name="connsiteX166" fmla="*/ 0 w 11199600"/>
              <a:gd name="connsiteY166" fmla="*/ 4223869 h 5920067"/>
              <a:gd name="connsiteX167" fmla="*/ 0 w 11199600"/>
              <a:gd name="connsiteY167" fmla="*/ 4162399 h 5920067"/>
              <a:gd name="connsiteX168" fmla="*/ 0 w 11199600"/>
              <a:gd name="connsiteY168" fmla="*/ 4140749 h 5920067"/>
              <a:gd name="connsiteX169" fmla="*/ 0 w 11199600"/>
              <a:gd name="connsiteY169" fmla="*/ 4096732 h 5920067"/>
              <a:gd name="connsiteX170" fmla="*/ 0 w 11199600"/>
              <a:gd name="connsiteY170" fmla="*/ 4076651 h 5920067"/>
              <a:gd name="connsiteX171" fmla="*/ 0 w 11199600"/>
              <a:gd name="connsiteY171" fmla="*/ 4062654 h 5920067"/>
              <a:gd name="connsiteX172" fmla="*/ 0 w 11199600"/>
              <a:gd name="connsiteY172" fmla="*/ 3954655 h 5920067"/>
              <a:gd name="connsiteX173" fmla="*/ 0 w 11199600"/>
              <a:gd name="connsiteY173" fmla="*/ 3949629 h 5920067"/>
              <a:gd name="connsiteX174" fmla="*/ 0 w 11199600"/>
              <a:gd name="connsiteY174" fmla="*/ 3911516 h 5920067"/>
              <a:gd name="connsiteX175" fmla="*/ 0 w 11199600"/>
              <a:gd name="connsiteY175" fmla="*/ 3866509 h 5920067"/>
              <a:gd name="connsiteX176" fmla="*/ 0 w 11199600"/>
              <a:gd name="connsiteY176" fmla="*/ 3822492 h 5920067"/>
              <a:gd name="connsiteX177" fmla="*/ 0 w 11199600"/>
              <a:gd name="connsiteY177" fmla="*/ 3796807 h 5920067"/>
              <a:gd name="connsiteX178" fmla="*/ 0 w 11199600"/>
              <a:gd name="connsiteY178" fmla="*/ 3680415 h 5920067"/>
              <a:gd name="connsiteX179" fmla="*/ 0 w 11199600"/>
              <a:gd name="connsiteY179" fmla="*/ 3662362 h 5920067"/>
              <a:gd name="connsiteX180" fmla="*/ 0 w 11199600"/>
              <a:gd name="connsiteY180" fmla="*/ 3637276 h 5920067"/>
              <a:gd name="connsiteX181" fmla="*/ 0 w 11199600"/>
              <a:gd name="connsiteY181" fmla="*/ 3622357 h 5920067"/>
              <a:gd name="connsiteX182" fmla="*/ 0 w 11199600"/>
              <a:gd name="connsiteY182" fmla="*/ 3522567 h 5920067"/>
              <a:gd name="connsiteX183" fmla="*/ 0 w 11199600"/>
              <a:gd name="connsiteY183" fmla="*/ 3430477 h 5920067"/>
              <a:gd name="connsiteX184" fmla="*/ 0 w 11199600"/>
              <a:gd name="connsiteY184" fmla="*/ 3392457 h 5920067"/>
              <a:gd name="connsiteX185" fmla="*/ 0 w 11199600"/>
              <a:gd name="connsiteY185" fmla="*/ 3388122 h 5920067"/>
              <a:gd name="connsiteX186" fmla="*/ 0 w 11199600"/>
              <a:gd name="connsiteY186" fmla="*/ 3348117 h 5920067"/>
              <a:gd name="connsiteX187" fmla="*/ 0 w 11199600"/>
              <a:gd name="connsiteY187" fmla="*/ 3220335 h 5920067"/>
              <a:gd name="connsiteX188" fmla="*/ 0 w 11199600"/>
              <a:gd name="connsiteY188" fmla="*/ 3156237 h 5920067"/>
              <a:gd name="connsiteX189" fmla="*/ 0 w 11199600"/>
              <a:gd name="connsiteY189" fmla="*/ 3118217 h 5920067"/>
              <a:gd name="connsiteX190" fmla="*/ 0 w 11199600"/>
              <a:gd name="connsiteY190" fmla="*/ 3100970 h 5920067"/>
              <a:gd name="connsiteX191" fmla="*/ 0 w 11199600"/>
              <a:gd name="connsiteY191" fmla="*/ 2991102 h 5920067"/>
              <a:gd name="connsiteX192" fmla="*/ 0 w 11199600"/>
              <a:gd name="connsiteY192" fmla="*/ 2946095 h 5920067"/>
              <a:gd name="connsiteX193" fmla="*/ 0 w 11199600"/>
              <a:gd name="connsiteY193" fmla="*/ 2826730 h 5920067"/>
              <a:gd name="connsiteX194" fmla="*/ 0 w 11199600"/>
              <a:gd name="connsiteY194" fmla="*/ 2787072 h 5920067"/>
              <a:gd name="connsiteX195" fmla="*/ 0 w 11199600"/>
              <a:gd name="connsiteY195" fmla="*/ 2741948 h 5920067"/>
              <a:gd name="connsiteX196" fmla="*/ 0 w 11199600"/>
              <a:gd name="connsiteY196" fmla="*/ 2716862 h 5920067"/>
              <a:gd name="connsiteX197" fmla="*/ 0 w 11199600"/>
              <a:gd name="connsiteY197" fmla="*/ 2512832 h 5920067"/>
              <a:gd name="connsiteX198" fmla="*/ 0 w 11199600"/>
              <a:gd name="connsiteY198" fmla="*/ 2472043 h 5920067"/>
              <a:gd name="connsiteX199" fmla="*/ 0 w 11199600"/>
              <a:gd name="connsiteY199" fmla="*/ 2467708 h 5920067"/>
              <a:gd name="connsiteX200" fmla="*/ 0 w 11199600"/>
              <a:gd name="connsiteY200" fmla="*/ 2449933 h 5920067"/>
              <a:gd name="connsiteX201" fmla="*/ 0 w 11199600"/>
              <a:gd name="connsiteY201" fmla="*/ 2197803 h 5920067"/>
              <a:gd name="connsiteX202" fmla="*/ 0 w 11199600"/>
              <a:gd name="connsiteY202" fmla="*/ 2180556 h 5920067"/>
              <a:gd name="connsiteX203" fmla="*/ 0 w 11199600"/>
              <a:gd name="connsiteY203" fmla="*/ 2175692 h 5920067"/>
              <a:gd name="connsiteX204" fmla="*/ 0 w 11199600"/>
              <a:gd name="connsiteY204" fmla="*/ 2088721 h 5920067"/>
              <a:gd name="connsiteX205" fmla="*/ 0 w 11199600"/>
              <a:gd name="connsiteY205" fmla="*/ 1906316 h 5920067"/>
              <a:gd name="connsiteX206" fmla="*/ 0 w 11199600"/>
              <a:gd name="connsiteY206" fmla="*/ 1866658 h 5920067"/>
              <a:gd name="connsiteX207" fmla="*/ 0 w 11199600"/>
              <a:gd name="connsiteY207" fmla="*/ 1814481 h 5920067"/>
              <a:gd name="connsiteX208" fmla="*/ 0 w 11199600"/>
              <a:gd name="connsiteY208" fmla="*/ 1702609 h 5920067"/>
              <a:gd name="connsiteX209" fmla="*/ 0 w 11199600"/>
              <a:gd name="connsiteY209" fmla="*/ 1592418 h 5920067"/>
              <a:gd name="connsiteX210" fmla="*/ 0 w 11199600"/>
              <a:gd name="connsiteY210" fmla="*/ 1529519 h 5920067"/>
              <a:gd name="connsiteX211" fmla="*/ 0 w 11199600"/>
              <a:gd name="connsiteY211" fmla="*/ 1428369 h 5920067"/>
              <a:gd name="connsiteX212" fmla="*/ 0 w 11199600"/>
              <a:gd name="connsiteY212" fmla="*/ 1290764 h 5920067"/>
              <a:gd name="connsiteX213" fmla="*/ 0 w 11199600"/>
              <a:gd name="connsiteY213" fmla="*/ 1255278 h 5920067"/>
              <a:gd name="connsiteX214" fmla="*/ 0 w 11199600"/>
              <a:gd name="connsiteY214" fmla="*/ 1168307 h 5920067"/>
              <a:gd name="connsiteX215" fmla="*/ 0 w 11199600"/>
              <a:gd name="connsiteY215" fmla="*/ 1016524 h 5920067"/>
              <a:gd name="connsiteX216" fmla="*/ 0 w 11199600"/>
              <a:gd name="connsiteY216" fmla="*/ 894067 h 5920067"/>
              <a:gd name="connsiteX217" fmla="*/ 0 w 11199600"/>
              <a:gd name="connsiteY217" fmla="*/ 782195 h 5920067"/>
              <a:gd name="connsiteX218" fmla="*/ 0 w 11199600"/>
              <a:gd name="connsiteY218" fmla="*/ 507955 h 5920067"/>
              <a:gd name="connsiteX219" fmla="*/ 0 w 11199600"/>
              <a:gd name="connsiteY219" fmla="*/ 370350 h 5920067"/>
              <a:gd name="connsiteX220" fmla="*/ 0 w 11199600"/>
              <a:gd name="connsiteY220" fmla="*/ 96110 h 5920067"/>
              <a:gd name="connsiteX221" fmla="*/ 95997 w 11199600"/>
              <a:gd name="connsiteY221" fmla="*/ 0 h 5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11199600" h="5920067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cubicBezTo>
                  <a:pt x="11199600" y="1328117"/>
                  <a:pt x="11199600" y="1337455"/>
                  <a:pt x="11199600" y="1349128"/>
                </a:cubicBez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239653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9591"/>
                </a:lnTo>
                <a:lnTo>
                  <a:pt x="11199600" y="2527610"/>
                </a:lnTo>
                <a:lnTo>
                  <a:pt x="11199600" y="2531945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801851"/>
                </a:lnTo>
                <a:lnTo>
                  <a:pt x="11199600" y="2819097"/>
                </a:lnTo>
                <a:lnTo>
                  <a:pt x="11199600" y="2928965"/>
                </a:lnTo>
                <a:lnTo>
                  <a:pt x="11199600" y="2973972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178119"/>
                </a:lnTo>
                <a:lnTo>
                  <a:pt x="11199600" y="3203205"/>
                </a:lnTo>
                <a:lnTo>
                  <a:pt x="11199600" y="3407236"/>
                </a:lnTo>
                <a:lnTo>
                  <a:pt x="11199600" y="3448024"/>
                </a:lnTo>
                <a:lnTo>
                  <a:pt x="11199600" y="3452359"/>
                </a:lnTo>
                <a:lnTo>
                  <a:pt x="11199600" y="3470135"/>
                </a:lnTo>
                <a:lnTo>
                  <a:pt x="11199600" y="3722265"/>
                </a:lnTo>
                <a:lnTo>
                  <a:pt x="11199600" y="3739511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013751"/>
                </a:lnTo>
                <a:lnTo>
                  <a:pt x="11199600" y="4053409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327650"/>
                </a:lnTo>
                <a:lnTo>
                  <a:pt x="11199600" y="439054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664789"/>
                </a:lnTo>
                <a:lnTo>
                  <a:pt x="11199600" y="4751760"/>
                </a:lnTo>
                <a:lnTo>
                  <a:pt x="11199600" y="4903543"/>
                </a:lnTo>
                <a:lnTo>
                  <a:pt x="11199600" y="5026000"/>
                </a:lnTo>
                <a:lnTo>
                  <a:pt x="11199600" y="5137873"/>
                </a:lnTo>
                <a:lnTo>
                  <a:pt x="11199600" y="5412113"/>
                </a:lnTo>
                <a:lnTo>
                  <a:pt x="11199600" y="5549717"/>
                </a:lnTo>
                <a:lnTo>
                  <a:pt x="11199600" y="5823957"/>
                </a:lnTo>
                <a:cubicBezTo>
                  <a:pt x="11199600" y="5920067"/>
                  <a:pt x="11103603" y="5920067"/>
                  <a:pt x="11103603" y="5920067"/>
                </a:cubicBezTo>
                <a:cubicBezTo>
                  <a:pt x="11103603" y="5920067"/>
                  <a:pt x="11103603" y="5920067"/>
                  <a:pt x="95997" y="5920067"/>
                </a:cubicBezTo>
                <a:cubicBezTo>
                  <a:pt x="0" y="5920067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  <a:alpha val="10000"/>
            </a:schemeClr>
          </a:solidFill>
        </p:spPr>
        <p:txBody>
          <a:bodyPr wrap="square" lIns="3239676" tIns="35996" rIns="35996" bIns="35996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796733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06601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846827" y="1270001"/>
            <a:ext cx="5058000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 bwMode="gray">
          <a:xfrm>
            <a:off x="6276751" y="1270001"/>
            <a:ext cx="5058000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873764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DD2A080-DA64-4F5C-9131-47EB793B441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1190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/>
          <p:cNvSpPr>
            <a:spLocks noChangeAspect="1"/>
          </p:cNvSpPr>
          <p:nvPr userDrawn="1"/>
        </p:nvSpPr>
        <p:spPr bwMode="gray">
          <a:xfrm>
            <a:off x="693739" y="1695449"/>
            <a:ext cx="10641600" cy="2630915"/>
          </a:xfrm>
          <a:custGeom>
            <a:avLst/>
            <a:gdLst>
              <a:gd name="T0" fmla="*/ 2480 w 2480"/>
              <a:gd name="T1" fmla="*/ 528 h 611"/>
              <a:gd name="T2" fmla="*/ 2480 w 2480"/>
              <a:gd name="T3" fmla="*/ 32 h 611"/>
              <a:gd name="T4" fmla="*/ 2448 w 2480"/>
              <a:gd name="T5" fmla="*/ 0 h 611"/>
              <a:gd name="T6" fmla="*/ 32 w 2480"/>
              <a:gd name="T7" fmla="*/ 0 h 611"/>
              <a:gd name="T8" fmla="*/ 0 w 2480"/>
              <a:gd name="T9" fmla="*/ 32 h 611"/>
              <a:gd name="T10" fmla="*/ 0 w 2480"/>
              <a:gd name="T11" fmla="*/ 528 h 611"/>
              <a:gd name="T12" fmla="*/ 32 w 2480"/>
              <a:gd name="T13" fmla="*/ 560 h 611"/>
              <a:gd name="T14" fmla="*/ 237 w 2480"/>
              <a:gd name="T15" fmla="*/ 560 h 611"/>
              <a:gd name="T16" fmla="*/ 271 w 2480"/>
              <a:gd name="T17" fmla="*/ 604 h 611"/>
              <a:gd name="T18" fmla="*/ 289 w 2480"/>
              <a:gd name="T19" fmla="*/ 604 h 611"/>
              <a:gd name="T20" fmla="*/ 323 w 2480"/>
              <a:gd name="T21" fmla="*/ 560 h 611"/>
              <a:gd name="T22" fmla="*/ 2448 w 2480"/>
              <a:gd name="T23" fmla="*/ 560 h 611"/>
              <a:gd name="T24" fmla="*/ 2480 w 2480"/>
              <a:gd name="T25" fmla="*/ 528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80" h="611">
                <a:moveTo>
                  <a:pt x="2480" y="528"/>
                </a:moveTo>
                <a:cubicBezTo>
                  <a:pt x="2480" y="32"/>
                  <a:pt x="2480" y="32"/>
                  <a:pt x="2480" y="32"/>
                </a:cubicBezTo>
                <a:cubicBezTo>
                  <a:pt x="2480" y="32"/>
                  <a:pt x="2480" y="0"/>
                  <a:pt x="2448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0" y="0"/>
                  <a:pt x="0" y="32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528"/>
                  <a:pt x="0" y="560"/>
                  <a:pt x="32" y="560"/>
                </a:cubicBezTo>
                <a:cubicBezTo>
                  <a:pt x="237" y="560"/>
                  <a:pt x="237" y="560"/>
                  <a:pt x="237" y="560"/>
                </a:cubicBezTo>
                <a:cubicBezTo>
                  <a:pt x="271" y="604"/>
                  <a:pt x="271" y="604"/>
                  <a:pt x="271" y="604"/>
                </a:cubicBezTo>
                <a:cubicBezTo>
                  <a:pt x="276" y="611"/>
                  <a:pt x="284" y="611"/>
                  <a:pt x="289" y="604"/>
                </a:cubicBezTo>
                <a:cubicBezTo>
                  <a:pt x="323" y="560"/>
                  <a:pt x="323" y="560"/>
                  <a:pt x="323" y="560"/>
                </a:cubicBezTo>
                <a:cubicBezTo>
                  <a:pt x="2448" y="560"/>
                  <a:pt x="2448" y="560"/>
                  <a:pt x="2448" y="560"/>
                </a:cubicBezTo>
                <a:cubicBezTo>
                  <a:pt x="2448" y="560"/>
                  <a:pt x="2480" y="560"/>
                  <a:pt x="2480" y="528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1172150" y="1695452"/>
            <a:ext cx="10162600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3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3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3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4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618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US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>
          <a:xfrm>
            <a:off x="609601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5CB19F-C108-40CF-9AD9-42F1E54AB8EA}" type="datetimeFigureOut">
              <a:rPr lang="en-US"/>
              <a:pPr>
                <a:defRPr/>
              </a:pPr>
              <a:t>6/3/2017</a:t>
            </a:fld>
            <a:endParaRPr lang="en-US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96E169-E769-47F1-AFD8-69F2254C70B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450952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 bwMode="gray">
          <a:xfrm>
            <a:off x="0" y="1643199"/>
            <a:ext cx="11339513" cy="3055937"/>
            <a:chOff x="409575" y="3144838"/>
            <a:chExt cx="11339513" cy="3055937"/>
          </a:xfrm>
        </p:grpSpPr>
        <p:sp>
          <p:nvSpPr>
            <p:cNvPr id="45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842433" y="2116800"/>
            <a:ext cx="10313209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3" y="4240704"/>
            <a:ext cx="7082733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00" y="3556800"/>
            <a:ext cx="10305675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5242061"/>
            <a:ext cx="2196000" cy="1318571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38200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3015150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426676" y="6559200"/>
            <a:ext cx="3600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-426676" y="6200775"/>
            <a:ext cx="3600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1206675" y="7019955"/>
            <a:ext cx="144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506676" y="6266692"/>
            <a:ext cx="144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-426676" y="5242062"/>
            <a:ext cx="3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 userDrawn="1"/>
        </p:nvSpPr>
        <p:spPr>
          <a:xfrm>
            <a:off x="-1506676" y="5297118"/>
            <a:ext cx="144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grpSp>
        <p:nvGrpSpPr>
          <p:cNvPr id="53" name="Group 52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54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5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804990" y="4402733"/>
            <a:ext cx="154783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167642" y="4291504"/>
            <a:ext cx="298800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7" name="Group 46"/>
          <p:cNvGrpSpPr/>
          <p:nvPr userDrawn="1"/>
        </p:nvGrpSpPr>
        <p:grpSpPr>
          <a:xfrm>
            <a:off x="1422005" y="5568931"/>
            <a:ext cx="666182" cy="591714"/>
            <a:chOff x="1656277" y="2376975"/>
            <a:chExt cx="666182" cy="591714"/>
          </a:xfrm>
        </p:grpSpPr>
        <p:grpSp>
          <p:nvGrpSpPr>
            <p:cNvPr id="48" name="Group 47"/>
            <p:cNvGrpSpPr/>
            <p:nvPr/>
          </p:nvGrpSpPr>
          <p:grpSpPr>
            <a:xfrm>
              <a:off x="1656277" y="2376975"/>
              <a:ext cx="409575" cy="565146"/>
              <a:chOff x="1603895" y="2374594"/>
              <a:chExt cx="409575" cy="565146"/>
            </a:xfrm>
          </p:grpSpPr>
          <p:sp>
            <p:nvSpPr>
              <p:cNvPr id="50" name="TextBox 49"/>
              <p:cNvSpPr txBox="1"/>
              <p:nvPr/>
            </p:nvSpPr>
            <p:spPr>
              <a:xfrm rot="10800000">
                <a:off x="1603895" y="2374594"/>
                <a:ext cx="409575" cy="565146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r>
                  <a:rPr lang="en-US" sz="3200" b="1" dirty="0" smtClean="0">
                    <a:solidFill>
                      <a:schemeClr val="tx2"/>
                    </a:solidFill>
                  </a:rPr>
                  <a:t>D</a:t>
                </a:r>
              </a:p>
            </p:txBody>
          </p:sp>
          <p:sp>
            <p:nvSpPr>
              <p:cNvPr id="51" name="Rectangle 50"/>
              <p:cNvSpPr/>
              <p:nvPr/>
            </p:nvSpPr>
            <p:spPr>
              <a:xfrm>
                <a:off x="1880917" y="2512981"/>
                <a:ext cx="51137" cy="321980"/>
              </a:xfrm>
              <a:prstGeom prst="rect">
                <a:avLst/>
              </a:prstGeom>
              <a:solidFill>
                <a:srgbClr val="FFFFFF"/>
              </a:solidFill>
              <a:ln w="6350"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9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49" name="TextBox 48"/>
            <p:cNvSpPr txBox="1"/>
            <p:nvPr/>
          </p:nvSpPr>
          <p:spPr>
            <a:xfrm>
              <a:off x="1886472" y="2403543"/>
              <a:ext cx="435987" cy="565146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en-US" sz="3200" b="1" dirty="0" smtClean="0">
                  <a:solidFill>
                    <a:srgbClr val="A8A8A8"/>
                  </a:solidFill>
                </a:rPr>
                <a:t>D</a:t>
              </a:r>
              <a:endParaRPr lang="en-US" sz="3200" b="1" dirty="0" smtClean="0">
                <a:solidFill>
                  <a:schemeClr val="tx2"/>
                </a:solidFill>
              </a:endParaRPr>
            </a:p>
          </p:txBody>
        </p:sp>
      </p:grpSp>
      <p:sp>
        <p:nvSpPr>
          <p:cNvPr id="52" name="Right Arrow 51"/>
          <p:cNvSpPr/>
          <p:nvPr userDrawn="1"/>
        </p:nvSpPr>
        <p:spPr>
          <a:xfrm>
            <a:off x="1331947" y="6116165"/>
            <a:ext cx="1529564" cy="203492"/>
          </a:xfrm>
          <a:prstGeom prst="rightArrow">
            <a:avLst>
              <a:gd name="adj1" fmla="val 50000"/>
              <a:gd name="adj2" fmla="val 82765"/>
            </a:avLst>
          </a:prstGeom>
          <a:solidFill>
            <a:schemeClr val="tx2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75" name="Donut 74"/>
          <p:cNvSpPr/>
          <p:nvPr userDrawn="1"/>
        </p:nvSpPr>
        <p:spPr>
          <a:xfrm>
            <a:off x="1341472" y="5476768"/>
            <a:ext cx="792000" cy="792000"/>
          </a:xfrm>
          <a:prstGeom prst="donut">
            <a:avLst>
              <a:gd name="adj" fmla="val 14404"/>
            </a:avLst>
          </a:prstGeom>
          <a:solidFill>
            <a:schemeClr val="tx2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900" dirty="0">
              <a:solidFill>
                <a:schemeClr val="tx1"/>
              </a:solidFill>
            </a:endParaRPr>
          </a:p>
        </p:txBody>
      </p:sp>
      <p:grpSp>
        <p:nvGrpSpPr>
          <p:cNvPr id="76" name="Group 75"/>
          <p:cNvGrpSpPr/>
          <p:nvPr userDrawn="1"/>
        </p:nvGrpSpPr>
        <p:grpSpPr>
          <a:xfrm>
            <a:off x="913836" y="6165808"/>
            <a:ext cx="812518" cy="104611"/>
            <a:chOff x="6295111" y="1386306"/>
            <a:chExt cx="812518" cy="104611"/>
          </a:xfrm>
        </p:grpSpPr>
        <p:sp>
          <p:nvSpPr>
            <p:cNvPr id="77" name="Rectangle 76"/>
            <p:cNvSpPr/>
            <p:nvPr/>
          </p:nvSpPr>
          <p:spPr>
            <a:xfrm>
              <a:off x="6295111" y="1386306"/>
              <a:ext cx="743866" cy="104611"/>
            </a:xfrm>
            <a:prstGeom prst="rect">
              <a:avLst/>
            </a:prstGeom>
            <a:solidFill>
              <a:schemeClr val="tx2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78" name="Rectangle 77"/>
            <p:cNvSpPr/>
            <p:nvPr/>
          </p:nvSpPr>
          <p:spPr>
            <a:xfrm>
              <a:off x="6983549" y="1444992"/>
              <a:ext cx="124080" cy="45719"/>
            </a:xfrm>
            <a:prstGeom prst="rect">
              <a:avLst/>
            </a:prstGeom>
            <a:solidFill>
              <a:schemeClr val="tx2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900" dirty="0">
                <a:solidFill>
                  <a:schemeClr val="tx1"/>
                </a:solidFill>
              </a:endParaRPr>
            </a:p>
          </p:txBody>
        </p:sp>
      </p:grpSp>
      <p:sp>
        <p:nvSpPr>
          <p:cNvPr id="79" name="TextBox 78"/>
          <p:cNvSpPr txBox="1"/>
          <p:nvPr userDrawn="1"/>
        </p:nvSpPr>
        <p:spPr>
          <a:xfrm>
            <a:off x="2133644" y="5599528"/>
            <a:ext cx="867536" cy="56514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2800" b="1" spc="-150" dirty="0" smtClean="0">
                <a:solidFill>
                  <a:schemeClr val="tx2"/>
                </a:solidFill>
              </a:rPr>
              <a:t>aa</a:t>
            </a:r>
            <a:r>
              <a:rPr lang="en-US" sz="3200" b="1" spc="-150" dirty="0" smtClean="0">
                <a:solidFill>
                  <a:schemeClr val="tx2"/>
                </a:solidFill>
              </a:rPr>
              <a:t>S</a:t>
            </a:r>
            <a:endParaRPr lang="en-US" sz="3600" b="1" spc="-150" dirty="0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72244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  <p15:guide id="2" orient="horz" pos="3304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 bwMode="gray">
          <a:xfrm>
            <a:off x="0" y="1643200"/>
            <a:ext cx="11339513" cy="3055937"/>
            <a:chOff x="409575" y="3144838"/>
            <a:chExt cx="11339513" cy="3055937"/>
          </a:xfrm>
        </p:grpSpPr>
        <p:sp>
          <p:nvSpPr>
            <p:cNvPr id="45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842434" y="2116801"/>
            <a:ext cx="10313209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240705"/>
            <a:ext cx="7082733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20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01" y="3556800"/>
            <a:ext cx="10305675" cy="385233"/>
          </a:xfrm>
        </p:spPr>
        <p:txBody>
          <a:bodyPr>
            <a:noAutofit/>
          </a:bodyPr>
          <a:lstStyle>
            <a:lvl1pPr>
              <a:lnSpc>
                <a:spcPts val="2199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5242061"/>
            <a:ext cx="2196000" cy="1318571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838200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3015150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426676" y="6559200"/>
            <a:ext cx="3600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-426676" y="6200775"/>
            <a:ext cx="3600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1206675" y="7019956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506675" y="6266693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-426676" y="5242062"/>
            <a:ext cx="3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 userDrawn="1"/>
        </p:nvSpPr>
        <p:spPr>
          <a:xfrm>
            <a:off x="-1506675" y="5297119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grpSp>
        <p:nvGrpSpPr>
          <p:cNvPr id="53" name="Group 52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54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5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167642" y="4291504"/>
            <a:ext cx="298800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424595460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6" y="1278385"/>
            <a:ext cx="1048917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8261" indent="-268261">
              <a:buClr>
                <a:schemeClr val="accent1"/>
              </a:buClr>
              <a:buFont typeface="ING Me" pitchFamily="2" charset="0"/>
              <a:buChar char="•"/>
              <a:defRPr/>
            </a:lvl1pPr>
            <a:lvl2pPr marL="538110" indent="-268261">
              <a:buClr>
                <a:schemeClr val="accent2"/>
              </a:buClr>
              <a:buFont typeface="ING Me" pitchFamily="2" charset="0"/>
              <a:buChar char="•"/>
              <a:defRPr/>
            </a:lvl2pPr>
            <a:lvl3pPr marL="804782" indent="-266673">
              <a:buClr>
                <a:schemeClr val="accent3"/>
              </a:buClr>
              <a:defRPr/>
            </a:lvl3pPr>
            <a:lvl4pPr marL="1077806" indent="-260324">
              <a:buClr>
                <a:schemeClr val="accent4"/>
              </a:buClr>
              <a:defRPr/>
            </a:lvl4pPr>
            <a:lvl5pPr marL="1341303" indent="-252387">
              <a:buClr>
                <a:schemeClr val="accent5"/>
              </a:buCl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99510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6" y="1278385"/>
            <a:ext cx="1048917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61" indent="-268261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21" indent="-266673">
              <a:buClr>
                <a:schemeClr val="accent2"/>
              </a:buClr>
              <a:defRPr/>
            </a:lvl3pPr>
            <a:lvl4pPr marL="807958" indent="-260324">
              <a:buClr>
                <a:schemeClr val="accent3"/>
              </a:buClr>
              <a:defRPr/>
            </a:lvl4pPr>
            <a:lvl5pPr marL="1071455" indent="-252387">
              <a:buClr>
                <a:schemeClr val="accent4"/>
              </a:buCl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620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6" y="1795637"/>
            <a:ext cx="10489175" cy="44051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61" indent="-268261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21" indent="-266673">
              <a:buClr>
                <a:schemeClr val="accent2"/>
              </a:buClr>
              <a:defRPr/>
            </a:lvl3pPr>
            <a:lvl4pPr marL="807958" indent="-260324">
              <a:buClr>
                <a:schemeClr val="accent3"/>
              </a:buClr>
              <a:defRPr/>
            </a:lvl4pPr>
            <a:lvl5pPr marL="1071455" indent="-252387">
              <a:buClr>
                <a:schemeClr val="accent4"/>
              </a:buCl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845575" y="1277982"/>
            <a:ext cx="10489175" cy="436017"/>
          </a:xfrm>
        </p:spPr>
        <p:txBody>
          <a:bodyPr>
            <a:noAutofit/>
          </a:bodyPr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428571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6" y="1278385"/>
            <a:ext cx="1048917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8261" indent="-268261">
              <a:buClr>
                <a:schemeClr val="accent1"/>
              </a:buClr>
              <a:buFont typeface="ING Me" pitchFamily="2" charset="0"/>
              <a:buChar char="•"/>
              <a:defRPr/>
            </a:lvl1pPr>
            <a:lvl2pPr marL="538110" indent="-268261">
              <a:buClr>
                <a:schemeClr val="accent2"/>
              </a:buClr>
              <a:buFont typeface="ING Me" pitchFamily="2" charset="0"/>
              <a:buChar char="•"/>
              <a:defRPr/>
            </a:lvl2pPr>
            <a:lvl3pPr marL="804782" indent="-266673">
              <a:buClr>
                <a:schemeClr val="accent3"/>
              </a:buClr>
              <a:defRPr/>
            </a:lvl3pPr>
            <a:lvl4pPr marL="1077806" indent="-260324">
              <a:buClr>
                <a:schemeClr val="accent4"/>
              </a:buClr>
              <a:defRPr/>
            </a:lvl4pPr>
            <a:lvl5pPr marL="1341303" indent="-252387">
              <a:buClr>
                <a:schemeClr val="accent5"/>
              </a:buCl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56091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6" y="1278385"/>
            <a:ext cx="1048917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8398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/>
          <p:cNvGrpSpPr>
            <a:grpSpLocks noChangeAspect="1"/>
          </p:cNvGrpSpPr>
          <p:nvPr userDrawn="1"/>
        </p:nvGrpSpPr>
        <p:grpSpPr bwMode="gray">
          <a:xfrm>
            <a:off x="1" y="1643200"/>
            <a:ext cx="5909320" cy="3045600"/>
            <a:chOff x="3465513" y="2070100"/>
            <a:chExt cx="5260975" cy="2711450"/>
          </a:xfrm>
        </p:grpSpPr>
        <p:sp>
          <p:nvSpPr>
            <p:cNvPr id="67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65" name="Picture Placeholder 64"/>
          <p:cNvSpPr>
            <a:spLocks noGrp="1"/>
          </p:cNvSpPr>
          <p:nvPr>
            <p:ph type="pic" sz="quarter" idx="12"/>
          </p:nvPr>
        </p:nvSpPr>
        <p:spPr bwMode="gray">
          <a:xfrm>
            <a:off x="-3175" y="2"/>
            <a:ext cx="12195175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79712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842434" y="2012286"/>
            <a:ext cx="4877966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031479"/>
            <a:ext cx="4877966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17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34" y="3603487"/>
            <a:ext cx="4877966" cy="290712"/>
          </a:xfrm>
        </p:spPr>
        <p:txBody>
          <a:bodyPr bIns="0">
            <a:noAutofit/>
          </a:bodyPr>
          <a:lstStyle>
            <a:lvl1pPr algn="l">
              <a:lnSpc>
                <a:spcPts val="1699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6055201"/>
            <a:ext cx="219600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3015150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-426676" y="6200775"/>
            <a:ext cx="3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1206675" y="7019956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1506675" y="6266693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838200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-426676" y="6559200"/>
            <a:ext cx="3600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78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0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1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2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3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4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5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6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7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8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89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0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1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2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3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4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5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6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7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8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42434" y="4381898"/>
            <a:ext cx="4878000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4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71783590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 userDrawn="1"/>
        </p:nvGrpSpPr>
        <p:grpSpPr bwMode="gray">
          <a:xfrm>
            <a:off x="0" y="1643200"/>
            <a:ext cx="11339513" cy="3055937"/>
            <a:chOff x="409575" y="3144838"/>
            <a:chExt cx="11339513" cy="3055937"/>
          </a:xfrm>
        </p:grpSpPr>
        <p:sp>
          <p:nvSpPr>
            <p:cNvPr id="51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842434" y="2116801"/>
            <a:ext cx="10313209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240705"/>
            <a:ext cx="7082733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20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01" y="3556800"/>
            <a:ext cx="10305675" cy="385233"/>
          </a:xfrm>
        </p:spPr>
        <p:txBody>
          <a:bodyPr>
            <a:noAutofit/>
          </a:bodyPr>
          <a:lstStyle>
            <a:lvl1pPr>
              <a:lnSpc>
                <a:spcPts val="2199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5242063"/>
            <a:ext cx="2196000" cy="1317138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3015150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426676" y="6200775"/>
            <a:ext cx="3600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1206675" y="7019956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506675" y="6266693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-426676" y="5242062"/>
            <a:ext cx="3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-1506675" y="5297119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838200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-426676" y="6559200"/>
            <a:ext cx="3600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5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7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4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167642" y="4291504"/>
            <a:ext cx="298800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10749168" y="-133099"/>
            <a:ext cx="1441027" cy="1565166"/>
            <a:chOff x="5364088" y="4720073"/>
            <a:chExt cx="1441027" cy="1565166"/>
          </a:xfrm>
        </p:grpSpPr>
        <p:sp>
          <p:nvSpPr>
            <p:cNvPr id="48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9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0009110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>
            <a:grpSpLocks noChangeAspect="1"/>
          </p:cNvGrpSpPr>
          <p:nvPr userDrawn="1"/>
        </p:nvGrpSpPr>
        <p:grpSpPr bwMode="gray">
          <a:xfrm>
            <a:off x="1" y="1643200"/>
            <a:ext cx="5909320" cy="3045600"/>
            <a:chOff x="3465513" y="2070100"/>
            <a:chExt cx="5260975" cy="2711450"/>
          </a:xfrm>
        </p:grpSpPr>
        <p:sp>
          <p:nvSpPr>
            <p:cNvPr id="81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5" name="Freeform 84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842434" y="2012286"/>
            <a:ext cx="4877966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031479"/>
            <a:ext cx="4877966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17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34" y="3603487"/>
            <a:ext cx="4877966" cy="290712"/>
          </a:xfrm>
        </p:spPr>
        <p:txBody>
          <a:bodyPr bIns="0">
            <a:noAutofit/>
          </a:bodyPr>
          <a:lstStyle>
            <a:lvl1pPr algn="l">
              <a:lnSpc>
                <a:spcPts val="1699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6055201"/>
            <a:ext cx="219600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3015150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-426676" y="6200775"/>
            <a:ext cx="3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1206675" y="7019956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-1506675" y="6266693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838200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-426676" y="6559200"/>
            <a:ext cx="3600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5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4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42434" y="4381898"/>
            <a:ext cx="4878000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4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10749168" y="-133099"/>
            <a:ext cx="1441027" cy="1565166"/>
            <a:chOff x="5364088" y="4720073"/>
            <a:chExt cx="1441027" cy="1565166"/>
          </a:xfrm>
        </p:grpSpPr>
        <p:sp>
          <p:nvSpPr>
            <p:cNvPr id="4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8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  <p:sp>
        <p:nvSpPr>
          <p:cNvPr id="54" name="Picture Placeholder 53"/>
          <p:cNvSpPr>
            <a:spLocks noGrp="1"/>
          </p:cNvSpPr>
          <p:nvPr>
            <p:ph type="pic" sz="quarter" idx="12"/>
          </p:nvPr>
        </p:nvSpPr>
        <p:spPr bwMode="gray">
          <a:xfrm>
            <a:off x="-3175" y="2"/>
            <a:ext cx="12195175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79712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31810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0" y="1643200"/>
            <a:ext cx="11339513" cy="3055937"/>
            <a:chOff x="409575" y="3144838"/>
            <a:chExt cx="11339513" cy="3055937"/>
          </a:xfrm>
        </p:grpSpPr>
        <p:sp>
          <p:nvSpPr>
            <p:cNvPr id="37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842434" y="2116801"/>
            <a:ext cx="10313209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240705"/>
            <a:ext cx="7082733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20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01" y="3556800"/>
            <a:ext cx="10305675" cy="385233"/>
          </a:xfrm>
        </p:spPr>
        <p:txBody>
          <a:bodyPr>
            <a:noAutofit/>
          </a:bodyPr>
          <a:lstStyle>
            <a:lvl1pPr>
              <a:lnSpc>
                <a:spcPts val="2199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pic>
        <p:nvPicPr>
          <p:cNvPr id="13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838200" y="6291857"/>
            <a:ext cx="2196000" cy="287825"/>
          </a:xfrm>
          <a:prstGeom prst="rect">
            <a:avLst/>
          </a:prstGeom>
        </p:spPr>
      </p:pic>
      <p:grpSp>
        <p:nvGrpSpPr>
          <p:cNvPr id="44" name="Group 43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45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6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3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167642" y="4291504"/>
            <a:ext cx="298800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369642955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>
            <a:grpSpLocks noChangeAspect="1"/>
          </p:cNvGrpSpPr>
          <p:nvPr userDrawn="1"/>
        </p:nvGrpSpPr>
        <p:grpSpPr bwMode="gray">
          <a:xfrm>
            <a:off x="1" y="1643200"/>
            <a:ext cx="5909320" cy="3045600"/>
            <a:chOff x="3465513" y="2070100"/>
            <a:chExt cx="5260975" cy="2711450"/>
          </a:xfrm>
        </p:grpSpPr>
        <p:sp>
          <p:nvSpPr>
            <p:cNvPr id="75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76" name="Freeform 75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842434" y="2012286"/>
            <a:ext cx="4877966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031479"/>
            <a:ext cx="4877966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17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34" y="3603487"/>
            <a:ext cx="4877966" cy="290712"/>
          </a:xfrm>
        </p:spPr>
        <p:txBody>
          <a:bodyPr bIns="0">
            <a:noAutofit/>
          </a:bodyPr>
          <a:lstStyle>
            <a:lvl1pPr algn="l">
              <a:lnSpc>
                <a:spcPts val="1699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pic>
        <p:nvPicPr>
          <p:cNvPr id="19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838200" y="6291857"/>
            <a:ext cx="2196000" cy="287825"/>
          </a:xfrm>
          <a:prstGeom prst="rect">
            <a:avLst/>
          </a:prstGeom>
        </p:spPr>
      </p:pic>
      <p:grpSp>
        <p:nvGrpSpPr>
          <p:cNvPr id="42" name="Group 41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4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3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42434" y="4381898"/>
            <a:ext cx="4878000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4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2"/>
          </p:nvPr>
        </p:nvSpPr>
        <p:spPr bwMode="gray">
          <a:xfrm>
            <a:off x="-3175" y="2"/>
            <a:ext cx="12195175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79712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59027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 userDrawn="1"/>
        </p:nvGrpSpPr>
        <p:grpSpPr bwMode="gray">
          <a:xfrm>
            <a:off x="0" y="1643200"/>
            <a:ext cx="11339513" cy="3055937"/>
            <a:chOff x="409575" y="3144838"/>
            <a:chExt cx="11339513" cy="3055937"/>
          </a:xfrm>
        </p:grpSpPr>
        <p:sp>
          <p:nvSpPr>
            <p:cNvPr id="40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842434" y="2116801"/>
            <a:ext cx="10313209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240705"/>
            <a:ext cx="7082733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20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01" y="3556800"/>
            <a:ext cx="10305675" cy="385233"/>
          </a:xfrm>
        </p:spPr>
        <p:txBody>
          <a:bodyPr>
            <a:noAutofit/>
          </a:bodyPr>
          <a:lstStyle>
            <a:lvl1pPr>
              <a:lnSpc>
                <a:spcPts val="2199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pic>
        <p:nvPicPr>
          <p:cNvPr id="35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838201" y="6291857"/>
            <a:ext cx="2188369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167642" y="4291504"/>
            <a:ext cx="298800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10749168" y="-133099"/>
            <a:ext cx="1441027" cy="1565166"/>
            <a:chOff x="5364088" y="4720073"/>
            <a:chExt cx="1441027" cy="1565166"/>
          </a:xfrm>
        </p:grpSpPr>
        <p:sp>
          <p:nvSpPr>
            <p:cNvPr id="43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4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6196554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6" name="Rectangle 5"/>
          <p:cNvSpPr/>
          <p:nvPr userDrawn="1"/>
        </p:nvSpPr>
        <p:spPr>
          <a:xfrm>
            <a:off x="1376203" y="1394143"/>
            <a:ext cx="2520000" cy="494294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44604" y="1394143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Authentication &amp; Security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44604" y="1985096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Front End Application Framework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44604" y="2576051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GPAM &amp; Authorization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44604" y="3167006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Customer Context &amp; Notification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44604" y="3757959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API Platform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44604" y="4348912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API Foundation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44604" y="4939867"/>
            <a:ext cx="1217172" cy="540000"/>
          </a:xfrm>
          <a:prstGeom prst="rect">
            <a:avLst/>
          </a:prstGeom>
          <a:solidFill>
            <a:srgbClr val="FFC000">
              <a:alpha val="40000"/>
            </a:srgbClr>
          </a:solidFill>
          <a:ln w="6350">
            <a:solidFill>
              <a:srgbClr val="FF62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Assembly Platform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44604" y="5530822"/>
            <a:ext cx="1217172" cy="540000"/>
          </a:xfrm>
          <a:prstGeom prst="rect">
            <a:avLst/>
          </a:prstGeom>
          <a:solidFill>
            <a:srgbClr val="FFC000">
              <a:alpha val="40000"/>
            </a:srgbClr>
          </a:solidFill>
          <a:ln w="6350">
            <a:solidFill>
              <a:srgbClr val="FF62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rgbClr val="333333"/>
                </a:solidFill>
              </a:rPr>
              <a:t>Experience Design</a:t>
            </a:r>
          </a:p>
        </p:txBody>
      </p:sp>
      <p:sp>
        <p:nvSpPr>
          <p:cNvPr id="29" name="TextBox 40"/>
          <p:cNvSpPr txBox="1"/>
          <p:nvPr userDrawn="1"/>
        </p:nvSpPr>
        <p:spPr>
          <a:xfrm>
            <a:off x="5054852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Q2</a:t>
            </a:r>
          </a:p>
        </p:txBody>
      </p:sp>
      <p:sp>
        <p:nvSpPr>
          <p:cNvPr id="37" name="Rectangle 36"/>
          <p:cNvSpPr/>
          <p:nvPr userDrawn="1"/>
        </p:nvSpPr>
        <p:spPr>
          <a:xfrm>
            <a:off x="3955716" y="1394143"/>
            <a:ext cx="2520000" cy="494294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9114750" y="1394143"/>
            <a:ext cx="2520000" cy="494294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6535224" y="1394143"/>
            <a:ext cx="2520000" cy="494294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40" name="TextBox 40"/>
          <p:cNvSpPr txBox="1"/>
          <p:nvPr userDrawn="1"/>
        </p:nvSpPr>
        <p:spPr>
          <a:xfrm>
            <a:off x="2475336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Q1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7634368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Q3</a:t>
            </a:r>
          </a:p>
        </p:txBody>
      </p:sp>
      <p:sp>
        <p:nvSpPr>
          <p:cNvPr id="42" name="TextBox 29"/>
          <p:cNvSpPr txBox="1"/>
          <p:nvPr userDrawn="1"/>
        </p:nvSpPr>
        <p:spPr>
          <a:xfrm>
            <a:off x="10213883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Q4</a:t>
            </a:r>
          </a:p>
        </p:txBody>
      </p:sp>
    </p:spTree>
    <p:extLst>
      <p:ext uri="{BB962C8B-B14F-4D97-AF65-F5344CB8AC3E}">
        <p14:creationId xmlns:p14="http://schemas.microsoft.com/office/powerpoint/2010/main" val="29010434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Al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/>
          <p:cNvGrpSpPr>
            <a:grpSpLocks noChangeAspect="1"/>
          </p:cNvGrpSpPr>
          <p:nvPr userDrawn="1"/>
        </p:nvGrpSpPr>
        <p:grpSpPr bwMode="gray">
          <a:xfrm>
            <a:off x="1" y="1643200"/>
            <a:ext cx="5909320" cy="3045600"/>
            <a:chOff x="3465513" y="2070100"/>
            <a:chExt cx="5260975" cy="2711450"/>
          </a:xfrm>
        </p:grpSpPr>
        <p:sp>
          <p:nvSpPr>
            <p:cNvPr id="80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1" name="Freeform 80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842434" y="2012286"/>
            <a:ext cx="4877966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031479"/>
            <a:ext cx="4877966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17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34" y="3603487"/>
            <a:ext cx="4877966" cy="290712"/>
          </a:xfrm>
        </p:spPr>
        <p:txBody>
          <a:bodyPr bIns="0">
            <a:noAutofit/>
          </a:bodyPr>
          <a:lstStyle>
            <a:lvl1pPr algn="l">
              <a:lnSpc>
                <a:spcPts val="1699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pic>
        <p:nvPicPr>
          <p:cNvPr id="30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838201" y="6291857"/>
            <a:ext cx="2188369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42434" y="4381898"/>
            <a:ext cx="4878000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4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70" name="Picture Placeholder 69"/>
          <p:cNvSpPr>
            <a:spLocks noGrp="1"/>
          </p:cNvSpPr>
          <p:nvPr>
            <p:ph type="pic" sz="quarter" idx="12"/>
          </p:nvPr>
        </p:nvSpPr>
        <p:spPr bwMode="gray">
          <a:xfrm>
            <a:off x="-3175" y="2"/>
            <a:ext cx="12195175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79712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10749168" y="-133099"/>
            <a:ext cx="1441027" cy="1565166"/>
            <a:chOff x="5364088" y="4720073"/>
            <a:chExt cx="1441027" cy="1565166"/>
          </a:xfrm>
        </p:grpSpPr>
        <p:sp>
          <p:nvSpPr>
            <p:cNvPr id="41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2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8224709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696912" y="1201147"/>
            <a:ext cx="11199600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845575" y="1327150"/>
            <a:ext cx="10489176" cy="4752000"/>
          </a:xfrm>
        </p:spPr>
        <p:txBody>
          <a:bodyPr>
            <a:noAutofit/>
          </a:bodyPr>
          <a:lstStyle>
            <a:lvl1pPr marL="431956" marR="0" indent="-431956" algn="l" defTabSz="914286" rtl="0" eaLnBrk="1" fontAlgn="auto" latinLnBrk="0" hangingPunct="1">
              <a:lnSpc>
                <a:spcPts val="2199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55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9673578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Picture R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>
            <a:spLocks noChangeAspect="1"/>
          </p:cNvSpPr>
          <p:nvPr userDrawn="1"/>
        </p:nvSpPr>
        <p:spPr bwMode="gray">
          <a:xfrm>
            <a:off x="696912" y="1201147"/>
            <a:ext cx="11199600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845576" y="1327149"/>
            <a:ext cx="5987025" cy="4752000"/>
          </a:xfrm>
        </p:spPr>
        <p:txBody>
          <a:bodyPr>
            <a:noAutofit/>
          </a:bodyPr>
          <a:lstStyle>
            <a:lvl1pPr marL="431956" marR="0" indent="-431956" algn="l" defTabSz="914286" rtl="0" eaLnBrk="1" fontAlgn="auto" latinLnBrk="0" hangingPunct="1">
              <a:lnSpc>
                <a:spcPts val="2199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55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7296150" y="1201147"/>
            <a:ext cx="4600362" cy="4999652"/>
          </a:xfrm>
          <a:custGeom>
            <a:avLst/>
            <a:gdLst>
              <a:gd name="connsiteX0" fmla="*/ 0 w 4600362"/>
              <a:gd name="connsiteY0" fmla="*/ 0 h 4999652"/>
              <a:gd name="connsiteX1" fmla="*/ 4504373 w 4600362"/>
              <a:gd name="connsiteY1" fmla="*/ 0 h 4999652"/>
              <a:gd name="connsiteX2" fmla="*/ 4536051 w 4600362"/>
              <a:gd name="connsiteY2" fmla="*/ 4129 h 4999652"/>
              <a:gd name="connsiteX3" fmla="*/ 4600362 w 4600362"/>
              <a:gd name="connsiteY3" fmla="*/ 96109 h 4999652"/>
              <a:gd name="connsiteX4" fmla="*/ 4600362 w 4600362"/>
              <a:gd name="connsiteY4" fmla="*/ 335164 h 4999652"/>
              <a:gd name="connsiteX5" fmla="*/ 4600362 w 4600362"/>
              <a:gd name="connsiteY5" fmla="*/ 370349 h 4999652"/>
              <a:gd name="connsiteX6" fmla="*/ 4600362 w 4600362"/>
              <a:gd name="connsiteY6" fmla="*/ 379203 h 4999652"/>
              <a:gd name="connsiteX7" fmla="*/ 4600362 w 4600362"/>
              <a:gd name="connsiteY7" fmla="*/ 400047 h 4999652"/>
              <a:gd name="connsiteX8" fmla="*/ 4600362 w 4600362"/>
              <a:gd name="connsiteY8" fmla="*/ 400231 h 4999652"/>
              <a:gd name="connsiteX9" fmla="*/ 4600362 w 4600362"/>
              <a:gd name="connsiteY9" fmla="*/ 471201 h 4999652"/>
              <a:gd name="connsiteX10" fmla="*/ 4600362 w 4600362"/>
              <a:gd name="connsiteY10" fmla="*/ 475720 h 4999652"/>
              <a:gd name="connsiteX11" fmla="*/ 4600362 w 4600362"/>
              <a:gd name="connsiteY11" fmla="*/ 508691 h 4999652"/>
              <a:gd name="connsiteX12" fmla="*/ 4600362 w 4600362"/>
              <a:gd name="connsiteY12" fmla="*/ 554483 h 4999652"/>
              <a:gd name="connsiteX13" fmla="*/ 4600362 w 4600362"/>
              <a:gd name="connsiteY13" fmla="*/ 563014 h 4999652"/>
              <a:gd name="connsiteX14" fmla="*/ 4600362 w 4600362"/>
              <a:gd name="connsiteY14" fmla="*/ 609404 h 4999652"/>
              <a:gd name="connsiteX15" fmla="*/ 4600362 w 4600362"/>
              <a:gd name="connsiteY15" fmla="*/ 662758 h 4999652"/>
              <a:gd name="connsiteX16" fmla="*/ 4600362 w 4600362"/>
              <a:gd name="connsiteY16" fmla="*/ 674287 h 4999652"/>
              <a:gd name="connsiteX17" fmla="*/ 4600362 w 4600362"/>
              <a:gd name="connsiteY17" fmla="*/ 749960 h 4999652"/>
              <a:gd name="connsiteX18" fmla="*/ 4600362 w 4600362"/>
              <a:gd name="connsiteY18" fmla="*/ 775784 h 4999652"/>
              <a:gd name="connsiteX19" fmla="*/ 4600362 w 4600362"/>
              <a:gd name="connsiteY19" fmla="*/ 837254 h 4999652"/>
              <a:gd name="connsiteX20" fmla="*/ 4600362 w 4600362"/>
              <a:gd name="connsiteY20" fmla="*/ 902920 h 4999652"/>
              <a:gd name="connsiteX21" fmla="*/ 4600362 w 4600362"/>
              <a:gd name="connsiteY21" fmla="*/ 936998 h 4999652"/>
              <a:gd name="connsiteX22" fmla="*/ 4600362 w 4600362"/>
              <a:gd name="connsiteY22" fmla="*/ 1044998 h 4999652"/>
              <a:gd name="connsiteX23" fmla="*/ 4600362 w 4600362"/>
              <a:gd name="connsiteY23" fmla="*/ 1050024 h 4999652"/>
              <a:gd name="connsiteX24" fmla="*/ 4600362 w 4600362"/>
              <a:gd name="connsiteY24" fmla="*/ 1177160 h 4999652"/>
              <a:gd name="connsiteX25" fmla="*/ 4600362 w 4600362"/>
              <a:gd name="connsiteY25" fmla="*/ 1202846 h 4999652"/>
              <a:gd name="connsiteX26" fmla="*/ 4600362 w 4600362"/>
              <a:gd name="connsiteY26" fmla="*/ 1319238 h 4999652"/>
              <a:gd name="connsiteX27" fmla="*/ 4600362 w 4600362"/>
              <a:gd name="connsiteY27" fmla="*/ 1377295 h 4999652"/>
              <a:gd name="connsiteX28" fmla="*/ 4600362 w 4600362"/>
              <a:gd name="connsiteY28" fmla="*/ 1477086 h 4999652"/>
              <a:gd name="connsiteX29" fmla="*/ 4600362 w 4600362"/>
              <a:gd name="connsiteY29" fmla="*/ 1569176 h 4999652"/>
              <a:gd name="connsiteX30" fmla="*/ 4600362 w 4600362"/>
              <a:gd name="connsiteY30" fmla="*/ 1651535 h 4999652"/>
              <a:gd name="connsiteX31" fmla="*/ 4600362 w 4600362"/>
              <a:gd name="connsiteY31" fmla="*/ 1779317 h 4999652"/>
              <a:gd name="connsiteX32" fmla="*/ 4600362 w 4600362"/>
              <a:gd name="connsiteY32" fmla="*/ 1843416 h 4999652"/>
              <a:gd name="connsiteX33" fmla="*/ 4600362 w 4600362"/>
              <a:gd name="connsiteY33" fmla="*/ 2008550 h 4999652"/>
              <a:gd name="connsiteX34" fmla="*/ 4600362 w 4600362"/>
              <a:gd name="connsiteY34" fmla="*/ 2053557 h 4999652"/>
              <a:gd name="connsiteX35" fmla="*/ 4600362 w 4600362"/>
              <a:gd name="connsiteY35" fmla="*/ 2257704 h 4999652"/>
              <a:gd name="connsiteX36" fmla="*/ 4600362 w 4600362"/>
              <a:gd name="connsiteY36" fmla="*/ 2282790 h 4999652"/>
              <a:gd name="connsiteX37" fmla="*/ 4600362 w 4600362"/>
              <a:gd name="connsiteY37" fmla="*/ 2527609 h 4999652"/>
              <a:gd name="connsiteX38" fmla="*/ 4600362 w 4600362"/>
              <a:gd name="connsiteY38" fmla="*/ 2531944 h 4999652"/>
              <a:gd name="connsiteX39" fmla="*/ 4600362 w 4600362"/>
              <a:gd name="connsiteY39" fmla="*/ 2801850 h 4999652"/>
              <a:gd name="connsiteX40" fmla="*/ 4600362 w 4600362"/>
              <a:gd name="connsiteY40" fmla="*/ 2819096 h 4999652"/>
              <a:gd name="connsiteX41" fmla="*/ 4600362 w 4600362"/>
              <a:gd name="connsiteY41" fmla="*/ 3093336 h 4999652"/>
              <a:gd name="connsiteX42" fmla="*/ 4600362 w 4600362"/>
              <a:gd name="connsiteY42" fmla="*/ 3132994 h 4999652"/>
              <a:gd name="connsiteX43" fmla="*/ 4600362 w 4600362"/>
              <a:gd name="connsiteY43" fmla="*/ 3407235 h 4999652"/>
              <a:gd name="connsiteX44" fmla="*/ 4600362 w 4600362"/>
              <a:gd name="connsiteY44" fmla="*/ 3470134 h 4999652"/>
              <a:gd name="connsiteX45" fmla="*/ 4600362 w 4600362"/>
              <a:gd name="connsiteY45" fmla="*/ 3744374 h 4999652"/>
              <a:gd name="connsiteX46" fmla="*/ 4600362 w 4600362"/>
              <a:gd name="connsiteY46" fmla="*/ 3831345 h 4999652"/>
              <a:gd name="connsiteX47" fmla="*/ 4600362 w 4600362"/>
              <a:gd name="connsiteY47" fmla="*/ 4105585 h 4999652"/>
              <a:gd name="connsiteX48" fmla="*/ 4600362 w 4600362"/>
              <a:gd name="connsiteY48" fmla="*/ 4217458 h 4999652"/>
              <a:gd name="connsiteX49" fmla="*/ 4600362 w 4600362"/>
              <a:gd name="connsiteY49" fmla="*/ 4491698 h 4999652"/>
              <a:gd name="connsiteX50" fmla="*/ 4600362 w 4600362"/>
              <a:gd name="connsiteY50" fmla="*/ 4629302 h 4999652"/>
              <a:gd name="connsiteX51" fmla="*/ 4600362 w 4600362"/>
              <a:gd name="connsiteY51" fmla="*/ 4903542 h 4999652"/>
              <a:gd name="connsiteX52" fmla="*/ 4504365 w 4600362"/>
              <a:gd name="connsiteY52" fmla="*/ 4999652 h 4999652"/>
              <a:gd name="connsiteX53" fmla="*/ 144766 w 4600362"/>
              <a:gd name="connsiteY53" fmla="*/ 4999652 h 4999652"/>
              <a:gd name="connsiteX54" fmla="*/ 0 w 4600362"/>
              <a:gd name="connsiteY54" fmla="*/ 4999652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600362" h="4999652">
                <a:moveTo>
                  <a:pt x="0" y="0"/>
                </a:moveTo>
                <a:lnTo>
                  <a:pt x="4504373" y="0"/>
                </a:lnTo>
                <a:lnTo>
                  <a:pt x="4536051" y="4129"/>
                </a:lnTo>
                <a:cubicBezTo>
                  <a:pt x="4600362" y="22525"/>
                  <a:pt x="4600362" y="96109"/>
                  <a:pt x="4600362" y="96109"/>
                </a:cubicBezTo>
                <a:cubicBezTo>
                  <a:pt x="4600362" y="96109"/>
                  <a:pt x="4600362" y="96109"/>
                  <a:pt x="4600362" y="335164"/>
                </a:cubicBezTo>
                <a:lnTo>
                  <a:pt x="4600362" y="370349"/>
                </a:lnTo>
                <a:cubicBezTo>
                  <a:pt x="4600362" y="370349"/>
                  <a:pt x="4600362" y="370349"/>
                  <a:pt x="4600362" y="379203"/>
                </a:cubicBezTo>
                <a:lnTo>
                  <a:pt x="4600362" y="400047"/>
                </a:lnTo>
                <a:lnTo>
                  <a:pt x="4600362" y="400231"/>
                </a:lnTo>
                <a:cubicBezTo>
                  <a:pt x="4600362" y="415172"/>
                  <a:pt x="4600362" y="437584"/>
                  <a:pt x="4600362" y="471201"/>
                </a:cubicBezTo>
                <a:lnTo>
                  <a:pt x="4600362" y="475720"/>
                </a:lnTo>
                <a:lnTo>
                  <a:pt x="4600362" y="508691"/>
                </a:lnTo>
                <a:cubicBezTo>
                  <a:pt x="4600362" y="522526"/>
                  <a:pt x="4600362" y="537743"/>
                  <a:pt x="4600362" y="554483"/>
                </a:cubicBezTo>
                <a:lnTo>
                  <a:pt x="4600362" y="563014"/>
                </a:lnTo>
                <a:lnTo>
                  <a:pt x="4600362" y="609404"/>
                </a:lnTo>
                <a:lnTo>
                  <a:pt x="4600362" y="662758"/>
                </a:lnTo>
                <a:lnTo>
                  <a:pt x="4600362" y="674287"/>
                </a:lnTo>
                <a:cubicBezTo>
                  <a:pt x="4600362" y="697667"/>
                  <a:pt x="4600362" y="722845"/>
                  <a:pt x="4600362" y="749960"/>
                </a:cubicBezTo>
                <a:lnTo>
                  <a:pt x="4600362" y="775784"/>
                </a:lnTo>
                <a:lnTo>
                  <a:pt x="4600362" y="837254"/>
                </a:lnTo>
                <a:lnTo>
                  <a:pt x="4600362" y="902920"/>
                </a:lnTo>
                <a:lnTo>
                  <a:pt x="4600362" y="936998"/>
                </a:lnTo>
                <a:lnTo>
                  <a:pt x="4600362" y="1044998"/>
                </a:lnTo>
                <a:lnTo>
                  <a:pt x="4600362" y="1050024"/>
                </a:lnTo>
                <a:cubicBezTo>
                  <a:pt x="4600362" y="1090005"/>
                  <a:pt x="4600362" y="1132337"/>
                  <a:pt x="4600362" y="1177160"/>
                </a:cubicBezTo>
                <a:lnTo>
                  <a:pt x="4600362" y="1202846"/>
                </a:lnTo>
                <a:lnTo>
                  <a:pt x="4600362" y="1319238"/>
                </a:lnTo>
                <a:lnTo>
                  <a:pt x="4600362" y="1377295"/>
                </a:lnTo>
                <a:lnTo>
                  <a:pt x="4600362" y="1477086"/>
                </a:lnTo>
                <a:lnTo>
                  <a:pt x="4600362" y="1569176"/>
                </a:lnTo>
                <a:lnTo>
                  <a:pt x="4600362" y="1651535"/>
                </a:lnTo>
                <a:lnTo>
                  <a:pt x="4600362" y="1779317"/>
                </a:lnTo>
                <a:lnTo>
                  <a:pt x="4600362" y="1843416"/>
                </a:lnTo>
                <a:lnTo>
                  <a:pt x="4600362" y="2008550"/>
                </a:lnTo>
                <a:lnTo>
                  <a:pt x="4600362" y="2053557"/>
                </a:lnTo>
                <a:lnTo>
                  <a:pt x="4600362" y="2257704"/>
                </a:lnTo>
                <a:lnTo>
                  <a:pt x="4600362" y="2282790"/>
                </a:lnTo>
                <a:lnTo>
                  <a:pt x="4600362" y="2527609"/>
                </a:lnTo>
                <a:lnTo>
                  <a:pt x="4600362" y="2531944"/>
                </a:lnTo>
                <a:cubicBezTo>
                  <a:pt x="4600362" y="2618408"/>
                  <a:pt x="4600362" y="2708330"/>
                  <a:pt x="4600362" y="2801850"/>
                </a:cubicBezTo>
                <a:lnTo>
                  <a:pt x="4600362" y="2819096"/>
                </a:lnTo>
                <a:lnTo>
                  <a:pt x="4600362" y="3093336"/>
                </a:lnTo>
                <a:lnTo>
                  <a:pt x="4600362" y="3132994"/>
                </a:lnTo>
                <a:lnTo>
                  <a:pt x="4600362" y="3407235"/>
                </a:lnTo>
                <a:lnTo>
                  <a:pt x="4600362" y="3470134"/>
                </a:lnTo>
                <a:lnTo>
                  <a:pt x="4600362" y="3744374"/>
                </a:lnTo>
                <a:lnTo>
                  <a:pt x="4600362" y="3831345"/>
                </a:lnTo>
                <a:lnTo>
                  <a:pt x="4600362" y="4105585"/>
                </a:lnTo>
                <a:lnTo>
                  <a:pt x="4600362" y="4217458"/>
                </a:lnTo>
                <a:lnTo>
                  <a:pt x="4600362" y="4491698"/>
                </a:lnTo>
                <a:lnTo>
                  <a:pt x="4600362" y="4629302"/>
                </a:lnTo>
                <a:lnTo>
                  <a:pt x="4600362" y="4903542"/>
                </a:lnTo>
                <a:cubicBezTo>
                  <a:pt x="4600362" y="4999652"/>
                  <a:pt x="4504365" y="4999652"/>
                  <a:pt x="4504365" y="4999652"/>
                </a:cubicBezTo>
                <a:cubicBezTo>
                  <a:pt x="4504365" y="4999652"/>
                  <a:pt x="4504365" y="4999652"/>
                  <a:pt x="144766" y="4999652"/>
                </a:cubicBezTo>
                <a:lnTo>
                  <a:pt x="0" y="4999652"/>
                </a:lnTo>
                <a:close/>
              </a:path>
            </a:pathLst>
          </a:custGeom>
          <a:noFill/>
        </p:spPr>
        <p:txBody>
          <a:bodyPr wrap="square" tIns="107990">
            <a:noAutofit/>
          </a:bodyPr>
          <a:lstStyle/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5415764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308" userDrawn="1">
          <p15:clr>
            <a:srgbClr val="FBAE40"/>
          </p15:clr>
        </p15:guide>
        <p15:guide id="2" pos="4596" userDrawn="1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9"/>
          <p:cNvSpPr>
            <a:spLocks noChangeAspect="1"/>
          </p:cNvSpPr>
          <p:nvPr userDrawn="1"/>
        </p:nvSpPr>
        <p:spPr bwMode="gray">
          <a:xfrm>
            <a:off x="0" y="1695450"/>
            <a:ext cx="11350800" cy="2382290"/>
          </a:xfrm>
          <a:custGeom>
            <a:avLst/>
            <a:gdLst>
              <a:gd name="T0" fmla="*/ 0 w 2680"/>
              <a:gd name="T1" fmla="*/ 560 h 560"/>
              <a:gd name="T2" fmla="*/ 2648 w 2680"/>
              <a:gd name="T3" fmla="*/ 560 h 560"/>
              <a:gd name="T4" fmla="*/ 2680 w 2680"/>
              <a:gd name="T5" fmla="*/ 528 h 560"/>
              <a:gd name="T6" fmla="*/ 2680 w 2680"/>
              <a:gd name="T7" fmla="*/ 32 h 560"/>
              <a:gd name="T8" fmla="*/ 2648 w 2680"/>
              <a:gd name="T9" fmla="*/ 0 h 560"/>
              <a:gd name="T10" fmla="*/ 0 w 2680"/>
              <a:gd name="T11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0" h="560">
                <a:moveTo>
                  <a:pt x="0" y="560"/>
                </a:moveTo>
                <a:cubicBezTo>
                  <a:pt x="2648" y="560"/>
                  <a:pt x="2648" y="560"/>
                  <a:pt x="2648" y="560"/>
                </a:cubicBezTo>
                <a:cubicBezTo>
                  <a:pt x="2648" y="560"/>
                  <a:pt x="2680" y="560"/>
                  <a:pt x="2680" y="528"/>
                </a:cubicBezTo>
                <a:cubicBezTo>
                  <a:pt x="2680" y="32"/>
                  <a:pt x="2680" y="32"/>
                  <a:pt x="2680" y="32"/>
                </a:cubicBezTo>
                <a:cubicBezTo>
                  <a:pt x="2680" y="32"/>
                  <a:pt x="2680" y="0"/>
                  <a:pt x="264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842434" y="1695452"/>
            <a:ext cx="10313209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0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1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0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3433" y="6358070"/>
            <a:ext cx="1183250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93191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7"/>
          <p:cNvSpPr>
            <a:spLocks noGrp="1"/>
          </p:cNvSpPr>
          <p:nvPr>
            <p:ph type="pic" sz="quarter" idx="16"/>
          </p:nvPr>
        </p:nvSpPr>
        <p:spPr bwMode="gray">
          <a:xfrm>
            <a:off x="696912" y="1696719"/>
            <a:ext cx="11199600" cy="4504080"/>
          </a:xfrm>
          <a:custGeom>
            <a:avLst/>
            <a:gdLst>
              <a:gd name="connsiteX0" fmla="*/ 95997 w 11199600"/>
              <a:gd name="connsiteY0" fmla="*/ 0 h 4504080"/>
              <a:gd name="connsiteX1" fmla="*/ 11103603 w 11199600"/>
              <a:gd name="connsiteY1" fmla="*/ 0 h 4504080"/>
              <a:gd name="connsiteX2" fmla="*/ 11199600 w 11199600"/>
              <a:gd name="connsiteY2" fmla="*/ 96110 h 4504080"/>
              <a:gd name="connsiteX3" fmla="*/ 11199600 w 11199600"/>
              <a:gd name="connsiteY3" fmla="*/ 335165 h 4504080"/>
              <a:gd name="connsiteX4" fmla="*/ 11199600 w 11199600"/>
              <a:gd name="connsiteY4" fmla="*/ 370350 h 4504080"/>
              <a:gd name="connsiteX5" fmla="*/ 11199600 w 11199600"/>
              <a:gd name="connsiteY5" fmla="*/ 379204 h 4504080"/>
              <a:gd name="connsiteX6" fmla="*/ 11199600 w 11199600"/>
              <a:gd name="connsiteY6" fmla="*/ 400048 h 4504080"/>
              <a:gd name="connsiteX7" fmla="*/ 11199600 w 11199600"/>
              <a:gd name="connsiteY7" fmla="*/ 400232 h 4504080"/>
              <a:gd name="connsiteX8" fmla="*/ 11199600 w 11199600"/>
              <a:gd name="connsiteY8" fmla="*/ 471202 h 4504080"/>
              <a:gd name="connsiteX9" fmla="*/ 11199600 w 11199600"/>
              <a:gd name="connsiteY9" fmla="*/ 475721 h 4504080"/>
              <a:gd name="connsiteX10" fmla="*/ 11199600 w 11199600"/>
              <a:gd name="connsiteY10" fmla="*/ 508692 h 4504080"/>
              <a:gd name="connsiteX11" fmla="*/ 11199600 w 11199600"/>
              <a:gd name="connsiteY11" fmla="*/ 554484 h 4504080"/>
              <a:gd name="connsiteX12" fmla="*/ 11199600 w 11199600"/>
              <a:gd name="connsiteY12" fmla="*/ 563015 h 4504080"/>
              <a:gd name="connsiteX13" fmla="*/ 11199600 w 11199600"/>
              <a:gd name="connsiteY13" fmla="*/ 609405 h 4504080"/>
              <a:gd name="connsiteX14" fmla="*/ 11199600 w 11199600"/>
              <a:gd name="connsiteY14" fmla="*/ 662759 h 4504080"/>
              <a:gd name="connsiteX15" fmla="*/ 11199600 w 11199600"/>
              <a:gd name="connsiteY15" fmla="*/ 674288 h 4504080"/>
              <a:gd name="connsiteX16" fmla="*/ 11199600 w 11199600"/>
              <a:gd name="connsiteY16" fmla="*/ 749961 h 4504080"/>
              <a:gd name="connsiteX17" fmla="*/ 11199600 w 11199600"/>
              <a:gd name="connsiteY17" fmla="*/ 775785 h 4504080"/>
              <a:gd name="connsiteX18" fmla="*/ 11199600 w 11199600"/>
              <a:gd name="connsiteY18" fmla="*/ 837255 h 4504080"/>
              <a:gd name="connsiteX19" fmla="*/ 11199600 w 11199600"/>
              <a:gd name="connsiteY19" fmla="*/ 902921 h 4504080"/>
              <a:gd name="connsiteX20" fmla="*/ 11199600 w 11199600"/>
              <a:gd name="connsiteY20" fmla="*/ 936999 h 4504080"/>
              <a:gd name="connsiteX21" fmla="*/ 11199600 w 11199600"/>
              <a:gd name="connsiteY21" fmla="*/ 1044999 h 4504080"/>
              <a:gd name="connsiteX22" fmla="*/ 11199600 w 11199600"/>
              <a:gd name="connsiteY22" fmla="*/ 1050025 h 4504080"/>
              <a:gd name="connsiteX23" fmla="*/ 11199600 w 11199600"/>
              <a:gd name="connsiteY23" fmla="*/ 1177161 h 4504080"/>
              <a:gd name="connsiteX24" fmla="*/ 11199600 w 11199600"/>
              <a:gd name="connsiteY24" fmla="*/ 1202847 h 4504080"/>
              <a:gd name="connsiteX25" fmla="*/ 11199600 w 11199600"/>
              <a:gd name="connsiteY25" fmla="*/ 1319239 h 4504080"/>
              <a:gd name="connsiteX26" fmla="*/ 11199600 w 11199600"/>
              <a:gd name="connsiteY26" fmla="*/ 1377296 h 4504080"/>
              <a:gd name="connsiteX27" fmla="*/ 11199600 w 11199600"/>
              <a:gd name="connsiteY27" fmla="*/ 1477087 h 4504080"/>
              <a:gd name="connsiteX28" fmla="*/ 11199600 w 11199600"/>
              <a:gd name="connsiteY28" fmla="*/ 1569177 h 4504080"/>
              <a:gd name="connsiteX29" fmla="*/ 11199600 w 11199600"/>
              <a:gd name="connsiteY29" fmla="*/ 1626118 h 4504080"/>
              <a:gd name="connsiteX30" fmla="*/ 11199600 w 11199600"/>
              <a:gd name="connsiteY30" fmla="*/ 1651536 h 4504080"/>
              <a:gd name="connsiteX31" fmla="*/ 11199600 w 11199600"/>
              <a:gd name="connsiteY31" fmla="*/ 1762133 h 4504080"/>
              <a:gd name="connsiteX32" fmla="*/ 11199600 w 11199600"/>
              <a:gd name="connsiteY32" fmla="*/ 1779318 h 4504080"/>
              <a:gd name="connsiteX33" fmla="*/ 11199600 w 11199600"/>
              <a:gd name="connsiteY33" fmla="*/ 1787219 h 4504080"/>
              <a:gd name="connsiteX34" fmla="*/ 11199600 w 11199600"/>
              <a:gd name="connsiteY34" fmla="*/ 1843417 h 4504080"/>
              <a:gd name="connsiteX35" fmla="*/ 11199600 w 11199600"/>
              <a:gd name="connsiteY35" fmla="*/ 1984894 h 4504080"/>
              <a:gd name="connsiteX36" fmla="*/ 11199600 w 11199600"/>
              <a:gd name="connsiteY36" fmla="*/ 2032038 h 4504080"/>
              <a:gd name="connsiteX37" fmla="*/ 11199600 w 11199600"/>
              <a:gd name="connsiteY37" fmla="*/ 2036373 h 4504080"/>
              <a:gd name="connsiteX38" fmla="*/ 11199600 w 11199600"/>
              <a:gd name="connsiteY38" fmla="*/ 2306279 h 4504080"/>
              <a:gd name="connsiteX39" fmla="*/ 11199600 w 11199600"/>
              <a:gd name="connsiteY39" fmla="*/ 2323525 h 4504080"/>
              <a:gd name="connsiteX40" fmla="*/ 11199600 w 11199600"/>
              <a:gd name="connsiteY40" fmla="*/ 2597765 h 4504080"/>
              <a:gd name="connsiteX41" fmla="*/ 11199600 w 11199600"/>
              <a:gd name="connsiteY41" fmla="*/ 2637423 h 4504080"/>
              <a:gd name="connsiteX42" fmla="*/ 11199600 w 11199600"/>
              <a:gd name="connsiteY42" fmla="*/ 2911664 h 4504080"/>
              <a:gd name="connsiteX43" fmla="*/ 11199600 w 11199600"/>
              <a:gd name="connsiteY43" fmla="*/ 2974563 h 4504080"/>
              <a:gd name="connsiteX44" fmla="*/ 11199600 w 11199600"/>
              <a:gd name="connsiteY44" fmla="*/ 3248803 h 4504080"/>
              <a:gd name="connsiteX45" fmla="*/ 11199600 w 11199600"/>
              <a:gd name="connsiteY45" fmla="*/ 3335774 h 4504080"/>
              <a:gd name="connsiteX46" fmla="*/ 11199600 w 11199600"/>
              <a:gd name="connsiteY46" fmla="*/ 3610014 h 4504080"/>
              <a:gd name="connsiteX47" fmla="*/ 11199600 w 11199600"/>
              <a:gd name="connsiteY47" fmla="*/ 3721887 h 4504080"/>
              <a:gd name="connsiteX48" fmla="*/ 11199600 w 11199600"/>
              <a:gd name="connsiteY48" fmla="*/ 3996127 h 4504080"/>
              <a:gd name="connsiteX49" fmla="*/ 11199600 w 11199600"/>
              <a:gd name="connsiteY49" fmla="*/ 4133731 h 4504080"/>
              <a:gd name="connsiteX50" fmla="*/ 11199600 w 11199600"/>
              <a:gd name="connsiteY50" fmla="*/ 4407971 h 4504080"/>
              <a:gd name="connsiteX51" fmla="*/ 11118603 w 11199600"/>
              <a:gd name="connsiteY51" fmla="*/ 4502580 h 4504080"/>
              <a:gd name="connsiteX52" fmla="*/ 11103613 w 11199600"/>
              <a:gd name="connsiteY52" fmla="*/ 4504080 h 4504080"/>
              <a:gd name="connsiteX53" fmla="*/ 95989 w 11199600"/>
              <a:gd name="connsiteY53" fmla="*/ 4504080 h 4504080"/>
              <a:gd name="connsiteX54" fmla="*/ 64311 w 11199600"/>
              <a:gd name="connsiteY54" fmla="*/ 4499952 h 4504080"/>
              <a:gd name="connsiteX55" fmla="*/ 0 w 11199600"/>
              <a:gd name="connsiteY55" fmla="*/ 4407971 h 4504080"/>
              <a:gd name="connsiteX56" fmla="*/ 0 w 11199600"/>
              <a:gd name="connsiteY56" fmla="*/ 4404236 h 4504080"/>
              <a:gd name="connsiteX57" fmla="*/ 0 w 11199600"/>
              <a:gd name="connsiteY57" fmla="*/ 4395365 h 4504080"/>
              <a:gd name="connsiteX58" fmla="*/ 0 w 11199600"/>
              <a:gd name="connsiteY58" fmla="*/ 4378089 h 4504080"/>
              <a:gd name="connsiteX59" fmla="*/ 0 w 11199600"/>
              <a:gd name="connsiteY59" fmla="*/ 4349608 h 4504080"/>
              <a:gd name="connsiteX60" fmla="*/ 0 w 11199600"/>
              <a:gd name="connsiteY60" fmla="*/ 4307120 h 4504080"/>
              <a:gd name="connsiteX61" fmla="*/ 0 w 11199600"/>
              <a:gd name="connsiteY61" fmla="*/ 4247823 h 4504080"/>
              <a:gd name="connsiteX62" fmla="*/ 0 w 11199600"/>
              <a:gd name="connsiteY62" fmla="*/ 4168916 h 4504080"/>
              <a:gd name="connsiteX63" fmla="*/ 0 w 11199600"/>
              <a:gd name="connsiteY63" fmla="*/ 4133731 h 4504080"/>
              <a:gd name="connsiteX64" fmla="*/ 0 w 11199600"/>
              <a:gd name="connsiteY64" fmla="*/ 4132625 h 4504080"/>
              <a:gd name="connsiteX65" fmla="*/ 0 w 11199600"/>
              <a:gd name="connsiteY65" fmla="*/ 4124877 h 4504080"/>
              <a:gd name="connsiteX66" fmla="*/ 0 w 11199600"/>
              <a:gd name="connsiteY66" fmla="*/ 4104034 h 4504080"/>
              <a:gd name="connsiteX67" fmla="*/ 0 w 11199600"/>
              <a:gd name="connsiteY67" fmla="*/ 4103849 h 4504080"/>
              <a:gd name="connsiteX68" fmla="*/ 0 w 11199600"/>
              <a:gd name="connsiteY68" fmla="*/ 4062900 h 4504080"/>
              <a:gd name="connsiteX69" fmla="*/ 0 w 11199600"/>
              <a:gd name="connsiteY69" fmla="*/ 4032880 h 4504080"/>
              <a:gd name="connsiteX70" fmla="*/ 0 w 11199600"/>
              <a:gd name="connsiteY70" fmla="*/ 4028361 h 4504080"/>
              <a:gd name="connsiteX71" fmla="*/ 0 w 11199600"/>
              <a:gd name="connsiteY71" fmla="*/ 3995389 h 4504080"/>
              <a:gd name="connsiteX72" fmla="*/ 0 w 11199600"/>
              <a:gd name="connsiteY72" fmla="*/ 3949598 h 4504080"/>
              <a:gd name="connsiteX73" fmla="*/ 0 w 11199600"/>
              <a:gd name="connsiteY73" fmla="*/ 3941067 h 4504080"/>
              <a:gd name="connsiteX74" fmla="*/ 0 w 11199600"/>
              <a:gd name="connsiteY74" fmla="*/ 3894676 h 4504080"/>
              <a:gd name="connsiteX75" fmla="*/ 0 w 11199600"/>
              <a:gd name="connsiteY75" fmla="*/ 3841322 h 4504080"/>
              <a:gd name="connsiteX76" fmla="*/ 0 w 11199600"/>
              <a:gd name="connsiteY76" fmla="*/ 3829794 h 4504080"/>
              <a:gd name="connsiteX77" fmla="*/ 0 w 11199600"/>
              <a:gd name="connsiteY77" fmla="*/ 3754121 h 4504080"/>
              <a:gd name="connsiteX78" fmla="*/ 0 w 11199600"/>
              <a:gd name="connsiteY78" fmla="*/ 3728297 h 4504080"/>
              <a:gd name="connsiteX79" fmla="*/ 0 w 11199600"/>
              <a:gd name="connsiteY79" fmla="*/ 3666827 h 4504080"/>
              <a:gd name="connsiteX80" fmla="*/ 0 w 11199600"/>
              <a:gd name="connsiteY80" fmla="*/ 3601160 h 4504080"/>
              <a:gd name="connsiteX81" fmla="*/ 0 w 11199600"/>
              <a:gd name="connsiteY81" fmla="*/ 3567082 h 4504080"/>
              <a:gd name="connsiteX82" fmla="*/ 0 w 11199600"/>
              <a:gd name="connsiteY82" fmla="*/ 3459083 h 4504080"/>
              <a:gd name="connsiteX83" fmla="*/ 0 w 11199600"/>
              <a:gd name="connsiteY83" fmla="*/ 3454057 h 4504080"/>
              <a:gd name="connsiteX84" fmla="*/ 0 w 11199600"/>
              <a:gd name="connsiteY84" fmla="*/ 3326920 h 4504080"/>
              <a:gd name="connsiteX85" fmla="*/ 0 w 11199600"/>
              <a:gd name="connsiteY85" fmla="*/ 3301235 h 4504080"/>
              <a:gd name="connsiteX86" fmla="*/ 0 w 11199600"/>
              <a:gd name="connsiteY86" fmla="*/ 3184843 h 4504080"/>
              <a:gd name="connsiteX87" fmla="*/ 0 w 11199600"/>
              <a:gd name="connsiteY87" fmla="*/ 3126785 h 4504080"/>
              <a:gd name="connsiteX88" fmla="*/ 0 w 11199600"/>
              <a:gd name="connsiteY88" fmla="*/ 3026995 h 4504080"/>
              <a:gd name="connsiteX89" fmla="*/ 0 w 11199600"/>
              <a:gd name="connsiteY89" fmla="*/ 2934905 h 4504080"/>
              <a:gd name="connsiteX90" fmla="*/ 0 w 11199600"/>
              <a:gd name="connsiteY90" fmla="*/ 2852545 h 4504080"/>
              <a:gd name="connsiteX91" fmla="*/ 0 w 11199600"/>
              <a:gd name="connsiteY91" fmla="*/ 2724763 h 4504080"/>
              <a:gd name="connsiteX92" fmla="*/ 0 w 11199600"/>
              <a:gd name="connsiteY92" fmla="*/ 2660665 h 4504080"/>
              <a:gd name="connsiteX93" fmla="*/ 0 w 11199600"/>
              <a:gd name="connsiteY93" fmla="*/ 2495530 h 4504080"/>
              <a:gd name="connsiteX94" fmla="*/ 0 w 11199600"/>
              <a:gd name="connsiteY94" fmla="*/ 2450523 h 4504080"/>
              <a:gd name="connsiteX95" fmla="*/ 0 w 11199600"/>
              <a:gd name="connsiteY95" fmla="*/ 2246376 h 4504080"/>
              <a:gd name="connsiteX96" fmla="*/ 0 w 11199600"/>
              <a:gd name="connsiteY96" fmla="*/ 2221290 h 4504080"/>
              <a:gd name="connsiteX97" fmla="*/ 0 w 11199600"/>
              <a:gd name="connsiteY97" fmla="*/ 1984894 h 4504080"/>
              <a:gd name="connsiteX98" fmla="*/ 0 w 11199600"/>
              <a:gd name="connsiteY98" fmla="*/ 1976471 h 4504080"/>
              <a:gd name="connsiteX99" fmla="*/ 0 w 11199600"/>
              <a:gd name="connsiteY99" fmla="*/ 1972136 h 4504080"/>
              <a:gd name="connsiteX100" fmla="*/ 0 w 11199600"/>
              <a:gd name="connsiteY100" fmla="*/ 1906316 h 4504080"/>
              <a:gd name="connsiteX101" fmla="*/ 0 w 11199600"/>
              <a:gd name="connsiteY101" fmla="*/ 1866658 h 4504080"/>
              <a:gd name="connsiteX102" fmla="*/ 0 w 11199600"/>
              <a:gd name="connsiteY102" fmla="*/ 1702231 h 4504080"/>
              <a:gd name="connsiteX103" fmla="*/ 0 w 11199600"/>
              <a:gd name="connsiteY103" fmla="*/ 1684984 h 4504080"/>
              <a:gd name="connsiteX104" fmla="*/ 0 w 11199600"/>
              <a:gd name="connsiteY104" fmla="*/ 1626118 h 4504080"/>
              <a:gd name="connsiteX105" fmla="*/ 0 w 11199600"/>
              <a:gd name="connsiteY105" fmla="*/ 1592418 h 4504080"/>
              <a:gd name="connsiteX106" fmla="*/ 0 w 11199600"/>
              <a:gd name="connsiteY106" fmla="*/ 1529519 h 4504080"/>
              <a:gd name="connsiteX107" fmla="*/ 0 w 11199600"/>
              <a:gd name="connsiteY107" fmla="*/ 1255278 h 4504080"/>
              <a:gd name="connsiteX108" fmla="*/ 0 w 11199600"/>
              <a:gd name="connsiteY108" fmla="*/ 1168307 h 4504080"/>
              <a:gd name="connsiteX109" fmla="*/ 0 w 11199600"/>
              <a:gd name="connsiteY109" fmla="*/ 894067 h 4504080"/>
              <a:gd name="connsiteX110" fmla="*/ 0 w 11199600"/>
              <a:gd name="connsiteY110" fmla="*/ 782195 h 4504080"/>
              <a:gd name="connsiteX111" fmla="*/ 0 w 11199600"/>
              <a:gd name="connsiteY111" fmla="*/ 507955 h 4504080"/>
              <a:gd name="connsiteX112" fmla="*/ 0 w 11199600"/>
              <a:gd name="connsiteY112" fmla="*/ 370350 h 4504080"/>
              <a:gd name="connsiteX113" fmla="*/ 0 w 11199600"/>
              <a:gd name="connsiteY113" fmla="*/ 96110 h 4504080"/>
              <a:gd name="connsiteX114" fmla="*/ 95997 w 11199600"/>
              <a:gd name="connsiteY114" fmla="*/ 0 h 450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1199600" h="4504080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26118"/>
                </a:lnTo>
                <a:lnTo>
                  <a:pt x="11199600" y="1651536"/>
                </a:lnTo>
                <a:lnTo>
                  <a:pt x="11199600" y="1762133"/>
                </a:lnTo>
                <a:lnTo>
                  <a:pt x="11199600" y="1779318"/>
                </a:lnTo>
                <a:lnTo>
                  <a:pt x="11199600" y="1787219"/>
                </a:lnTo>
                <a:lnTo>
                  <a:pt x="11199600" y="1843417"/>
                </a:lnTo>
                <a:lnTo>
                  <a:pt x="11199600" y="1984894"/>
                </a:lnTo>
                <a:lnTo>
                  <a:pt x="11199600" y="2032038"/>
                </a:lnTo>
                <a:lnTo>
                  <a:pt x="11199600" y="2036373"/>
                </a:lnTo>
                <a:cubicBezTo>
                  <a:pt x="11199600" y="2122837"/>
                  <a:pt x="11199600" y="2212759"/>
                  <a:pt x="11199600" y="2306279"/>
                </a:cubicBezTo>
                <a:lnTo>
                  <a:pt x="11199600" y="2323525"/>
                </a:lnTo>
                <a:lnTo>
                  <a:pt x="11199600" y="2597765"/>
                </a:lnTo>
                <a:lnTo>
                  <a:pt x="11199600" y="2637423"/>
                </a:lnTo>
                <a:lnTo>
                  <a:pt x="11199600" y="2911664"/>
                </a:lnTo>
                <a:lnTo>
                  <a:pt x="11199600" y="2974563"/>
                </a:lnTo>
                <a:lnTo>
                  <a:pt x="11199600" y="3248803"/>
                </a:lnTo>
                <a:lnTo>
                  <a:pt x="11199600" y="3335774"/>
                </a:lnTo>
                <a:lnTo>
                  <a:pt x="11199600" y="3610014"/>
                </a:lnTo>
                <a:lnTo>
                  <a:pt x="11199600" y="3721887"/>
                </a:lnTo>
                <a:lnTo>
                  <a:pt x="11199600" y="3996127"/>
                </a:lnTo>
                <a:lnTo>
                  <a:pt x="11199600" y="4133731"/>
                </a:lnTo>
                <a:lnTo>
                  <a:pt x="11199600" y="4407971"/>
                </a:lnTo>
                <a:cubicBezTo>
                  <a:pt x="11199600" y="4480054"/>
                  <a:pt x="11145602" y="4498074"/>
                  <a:pt x="11118603" y="4502580"/>
                </a:cubicBezTo>
                <a:lnTo>
                  <a:pt x="11103613" y="4504080"/>
                </a:lnTo>
                <a:lnTo>
                  <a:pt x="95989" y="4504080"/>
                </a:lnTo>
                <a:lnTo>
                  <a:pt x="64311" y="4499952"/>
                </a:lnTo>
                <a:cubicBezTo>
                  <a:pt x="0" y="4481555"/>
                  <a:pt x="0" y="4407971"/>
                  <a:pt x="0" y="4407971"/>
                </a:cubicBezTo>
                <a:lnTo>
                  <a:pt x="0" y="4404236"/>
                </a:lnTo>
                <a:lnTo>
                  <a:pt x="0" y="4395365"/>
                </a:lnTo>
                <a:lnTo>
                  <a:pt x="0" y="4378089"/>
                </a:lnTo>
                <a:lnTo>
                  <a:pt x="0" y="4349608"/>
                </a:lnTo>
                <a:lnTo>
                  <a:pt x="0" y="4307120"/>
                </a:lnTo>
                <a:lnTo>
                  <a:pt x="0" y="4247823"/>
                </a:lnTo>
                <a:lnTo>
                  <a:pt x="0" y="4168916"/>
                </a:lnTo>
                <a:lnTo>
                  <a:pt x="0" y="4133731"/>
                </a:lnTo>
                <a:lnTo>
                  <a:pt x="0" y="4132625"/>
                </a:lnTo>
                <a:lnTo>
                  <a:pt x="0" y="4124877"/>
                </a:lnTo>
                <a:lnTo>
                  <a:pt x="0" y="4104034"/>
                </a:lnTo>
                <a:lnTo>
                  <a:pt x="0" y="4103849"/>
                </a:lnTo>
                <a:lnTo>
                  <a:pt x="0" y="4062900"/>
                </a:lnTo>
                <a:lnTo>
                  <a:pt x="0" y="4032880"/>
                </a:lnTo>
                <a:lnTo>
                  <a:pt x="0" y="4028361"/>
                </a:lnTo>
                <a:lnTo>
                  <a:pt x="0" y="3995389"/>
                </a:lnTo>
                <a:lnTo>
                  <a:pt x="0" y="3949598"/>
                </a:lnTo>
                <a:lnTo>
                  <a:pt x="0" y="3941067"/>
                </a:lnTo>
                <a:lnTo>
                  <a:pt x="0" y="3894676"/>
                </a:lnTo>
                <a:lnTo>
                  <a:pt x="0" y="3841322"/>
                </a:lnTo>
                <a:lnTo>
                  <a:pt x="0" y="3829794"/>
                </a:lnTo>
                <a:lnTo>
                  <a:pt x="0" y="3754121"/>
                </a:lnTo>
                <a:lnTo>
                  <a:pt x="0" y="3728297"/>
                </a:lnTo>
                <a:lnTo>
                  <a:pt x="0" y="3666827"/>
                </a:lnTo>
                <a:lnTo>
                  <a:pt x="0" y="3601160"/>
                </a:lnTo>
                <a:lnTo>
                  <a:pt x="0" y="3567082"/>
                </a:lnTo>
                <a:lnTo>
                  <a:pt x="0" y="3459083"/>
                </a:lnTo>
                <a:lnTo>
                  <a:pt x="0" y="3454057"/>
                </a:lnTo>
                <a:lnTo>
                  <a:pt x="0" y="3326920"/>
                </a:lnTo>
                <a:lnTo>
                  <a:pt x="0" y="3301235"/>
                </a:lnTo>
                <a:lnTo>
                  <a:pt x="0" y="3184843"/>
                </a:lnTo>
                <a:lnTo>
                  <a:pt x="0" y="3126785"/>
                </a:lnTo>
                <a:lnTo>
                  <a:pt x="0" y="3026995"/>
                </a:lnTo>
                <a:lnTo>
                  <a:pt x="0" y="2934905"/>
                </a:lnTo>
                <a:lnTo>
                  <a:pt x="0" y="2852545"/>
                </a:lnTo>
                <a:lnTo>
                  <a:pt x="0" y="2724763"/>
                </a:lnTo>
                <a:lnTo>
                  <a:pt x="0" y="2660665"/>
                </a:lnTo>
                <a:lnTo>
                  <a:pt x="0" y="2495530"/>
                </a:lnTo>
                <a:lnTo>
                  <a:pt x="0" y="2450523"/>
                </a:lnTo>
                <a:lnTo>
                  <a:pt x="0" y="2246376"/>
                </a:lnTo>
                <a:lnTo>
                  <a:pt x="0" y="2221290"/>
                </a:lnTo>
                <a:lnTo>
                  <a:pt x="0" y="1984894"/>
                </a:lnTo>
                <a:lnTo>
                  <a:pt x="0" y="1976471"/>
                </a:lnTo>
                <a:lnTo>
                  <a:pt x="0" y="197213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702231"/>
                </a:lnTo>
                <a:lnTo>
                  <a:pt x="0" y="1684984"/>
                </a:lnTo>
                <a:lnTo>
                  <a:pt x="0" y="162611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39676" tIns="35996" rIns="35996" bIns="35996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838200" y="257726"/>
            <a:ext cx="11059319" cy="11798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4600"/>
              </a:lnSpc>
              <a:defRPr sz="4600"/>
            </a:lvl1pPr>
          </a:lstStyle>
          <a:p>
            <a:r>
              <a:rPr lang="en-US" noProof="0" smtClean="0"/>
              <a:t>Click to edit </a:t>
            </a:r>
            <a:br>
              <a:rPr lang="en-US" noProof="0" smtClean="0"/>
            </a:br>
            <a:r>
              <a:rPr lang="en-US" noProof="0" smtClean="0"/>
              <a:t>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3433" y="6358070"/>
            <a:ext cx="1183250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808255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2" userDrawn="1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001" y="1278384"/>
            <a:ext cx="5058750" cy="4921200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278384"/>
            <a:ext cx="5058000" cy="49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865659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001" y="1795636"/>
            <a:ext cx="5058750" cy="4403948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795636"/>
            <a:ext cx="5058000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845575" y="1277982"/>
            <a:ext cx="5059925" cy="436017"/>
          </a:xfrm>
        </p:spPr>
        <p:txBody>
          <a:bodyPr>
            <a:noAutofit/>
          </a:bodyPr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274826" y="1277982"/>
            <a:ext cx="5059925" cy="436017"/>
          </a:xfrm>
        </p:spPr>
        <p:txBody>
          <a:bodyPr>
            <a:noAutofit/>
          </a:bodyPr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212070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001" y="1278000"/>
            <a:ext cx="5058750" cy="4929584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795636"/>
            <a:ext cx="5058000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845575" y="1277982"/>
            <a:ext cx="5059925" cy="436017"/>
          </a:xfrm>
        </p:spPr>
        <p:txBody>
          <a:bodyPr>
            <a:noAutofit/>
          </a:bodyPr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56430391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001" y="1795636"/>
            <a:ext cx="5058750" cy="4403948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278000"/>
            <a:ext cx="5058000" cy="49295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274826" y="1277982"/>
            <a:ext cx="5059925" cy="436017"/>
          </a:xfrm>
        </p:spPr>
        <p:txBody>
          <a:bodyPr>
            <a:noAutofit/>
          </a:bodyPr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95185872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3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751" y="1278001"/>
            <a:ext cx="5058000" cy="233017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4" name="Text Placeholder 2"/>
          <p:cNvSpPr>
            <a:spLocks noGrp="1"/>
          </p:cNvSpPr>
          <p:nvPr>
            <p:ph idx="28"/>
          </p:nvPr>
        </p:nvSpPr>
        <p:spPr bwMode="gray">
          <a:xfrm>
            <a:off x="845575" y="1278001"/>
            <a:ext cx="5058000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5" name="Content Placeholder 3"/>
          <p:cNvSpPr>
            <a:spLocks noGrp="1"/>
          </p:cNvSpPr>
          <p:nvPr>
            <p:ph sz="half" idx="29"/>
          </p:nvPr>
        </p:nvSpPr>
        <p:spPr bwMode="gray">
          <a:xfrm>
            <a:off x="6276751" y="3877592"/>
            <a:ext cx="5058000" cy="233017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idx="30"/>
          </p:nvPr>
        </p:nvSpPr>
        <p:spPr bwMode="gray">
          <a:xfrm>
            <a:off x="845575" y="3877592"/>
            <a:ext cx="5058000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974493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 userDrawn="1">
          <p15:clr>
            <a:srgbClr val="FBAE40"/>
          </p15:clr>
        </p15:guide>
        <p15:guide id="0" pos="3948" userDrawn="1">
          <p15:clr>
            <a:srgbClr val="FBAE40"/>
          </p15:clr>
        </p15:guide>
        <p15:guide id="2" orient="horz" pos="2274" userDrawn="1">
          <p15:clr>
            <a:srgbClr val="FBAE40"/>
          </p15:clr>
        </p15:guide>
        <p15:guide id="3" orient="horz" pos="244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6" name="Rectangle 5"/>
          <p:cNvSpPr/>
          <p:nvPr userDrawn="1"/>
        </p:nvSpPr>
        <p:spPr>
          <a:xfrm>
            <a:off x="1324737" y="1394143"/>
            <a:ext cx="741993" cy="494294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3937748" y="1394143"/>
            <a:ext cx="741993" cy="494294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9163765" y="1394143"/>
            <a:ext cx="741993" cy="494294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6550756" y="1394143"/>
            <a:ext cx="741993" cy="494294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44604" y="1394143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b="0" dirty="0" smtClean="0">
                <a:solidFill>
                  <a:srgbClr val="333333"/>
                </a:solidFill>
              </a:rPr>
              <a:t>Authentication &amp; Security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44604" y="1985096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b="0" dirty="0" smtClean="0">
                <a:solidFill>
                  <a:srgbClr val="333333"/>
                </a:solidFill>
              </a:rPr>
              <a:t>Front End Application Framework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44604" y="2576051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b="0" dirty="0" smtClean="0">
                <a:solidFill>
                  <a:srgbClr val="333333"/>
                </a:solidFill>
              </a:rPr>
              <a:t>GPAM &amp; Authorization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44604" y="3167006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b="0" dirty="0" smtClean="0">
                <a:solidFill>
                  <a:srgbClr val="333333"/>
                </a:solidFill>
              </a:rPr>
              <a:t>Customer Context &amp; Notification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44604" y="3757959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b="0" dirty="0" smtClean="0">
                <a:solidFill>
                  <a:srgbClr val="333333"/>
                </a:solidFill>
              </a:rPr>
              <a:t>API Platform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44604" y="4348912"/>
            <a:ext cx="1217172" cy="540000"/>
          </a:xfrm>
          <a:prstGeom prst="rect">
            <a:avLst/>
          </a:prstGeom>
          <a:solidFill>
            <a:srgbClr val="FFC0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b="0" dirty="0" smtClean="0">
                <a:solidFill>
                  <a:srgbClr val="333333"/>
                </a:solidFill>
              </a:rPr>
              <a:t>API Foundation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44604" y="4939867"/>
            <a:ext cx="1217172" cy="540000"/>
          </a:xfrm>
          <a:prstGeom prst="rect">
            <a:avLst/>
          </a:prstGeom>
          <a:solidFill>
            <a:srgbClr val="FFC000">
              <a:alpha val="40000"/>
            </a:srgbClr>
          </a:solidFill>
          <a:ln w="6350">
            <a:solidFill>
              <a:srgbClr val="FF62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b="0" dirty="0" smtClean="0">
                <a:solidFill>
                  <a:srgbClr val="333333"/>
                </a:solidFill>
              </a:rPr>
              <a:t>Assembly Platform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44604" y="5530822"/>
            <a:ext cx="1217172" cy="540000"/>
          </a:xfrm>
          <a:prstGeom prst="rect">
            <a:avLst/>
          </a:prstGeom>
          <a:solidFill>
            <a:srgbClr val="FFC000">
              <a:alpha val="40000"/>
            </a:srgbClr>
          </a:solidFill>
          <a:ln w="6350">
            <a:solidFill>
              <a:srgbClr val="FF62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00" b="0" dirty="0" smtClean="0">
                <a:solidFill>
                  <a:srgbClr val="333333"/>
                </a:solidFill>
              </a:rPr>
              <a:t>Experience Design</a:t>
            </a:r>
          </a:p>
        </p:txBody>
      </p:sp>
      <p:sp>
        <p:nvSpPr>
          <p:cNvPr id="26" name="TextBox 24"/>
          <p:cNvSpPr txBox="1"/>
          <p:nvPr userDrawn="1"/>
        </p:nvSpPr>
        <p:spPr>
          <a:xfrm>
            <a:off x="7684322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Aug</a:t>
            </a:r>
          </a:p>
        </p:txBody>
      </p:sp>
      <p:sp>
        <p:nvSpPr>
          <p:cNvPr id="27" name="TextBox 28"/>
          <p:cNvSpPr txBox="1"/>
          <p:nvPr userDrawn="1"/>
        </p:nvSpPr>
        <p:spPr>
          <a:xfrm>
            <a:off x="10314747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Nov</a:t>
            </a:r>
          </a:p>
        </p:txBody>
      </p:sp>
      <p:sp>
        <p:nvSpPr>
          <p:cNvPr id="28" name="TextBox 29"/>
          <p:cNvSpPr txBox="1"/>
          <p:nvPr userDrawn="1"/>
        </p:nvSpPr>
        <p:spPr>
          <a:xfrm>
            <a:off x="5018880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May</a:t>
            </a:r>
          </a:p>
        </p:txBody>
      </p:sp>
      <p:sp>
        <p:nvSpPr>
          <p:cNvPr id="29" name="TextBox 40"/>
          <p:cNvSpPr txBox="1"/>
          <p:nvPr userDrawn="1"/>
        </p:nvSpPr>
        <p:spPr>
          <a:xfrm>
            <a:off x="2423477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Feb</a:t>
            </a:r>
          </a:p>
        </p:txBody>
      </p:sp>
      <p:sp>
        <p:nvSpPr>
          <p:cNvPr id="32" name="Rectangle 31"/>
          <p:cNvSpPr/>
          <p:nvPr userDrawn="1"/>
        </p:nvSpPr>
        <p:spPr>
          <a:xfrm>
            <a:off x="2195743" y="1394143"/>
            <a:ext cx="741993" cy="494294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4808751" y="1394143"/>
            <a:ext cx="741993" cy="494294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10034770" y="1394143"/>
            <a:ext cx="741993" cy="494294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35" name="Rectangle 34"/>
          <p:cNvSpPr/>
          <p:nvPr userDrawn="1"/>
        </p:nvSpPr>
        <p:spPr>
          <a:xfrm>
            <a:off x="7421760" y="1394143"/>
            <a:ext cx="741993" cy="494294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36" name="Rectangle 35"/>
          <p:cNvSpPr/>
          <p:nvPr userDrawn="1"/>
        </p:nvSpPr>
        <p:spPr>
          <a:xfrm>
            <a:off x="3066745" y="1394143"/>
            <a:ext cx="741993" cy="494294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5679754" y="1394143"/>
            <a:ext cx="741993" cy="494294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10905775" y="1394143"/>
            <a:ext cx="741993" cy="494294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8292762" y="1394143"/>
            <a:ext cx="741993" cy="494294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endParaRPr lang="en-GB" sz="1600" smtClean="0">
              <a:solidFill>
                <a:prstClr val="white"/>
              </a:solidFill>
            </a:endParaRPr>
          </a:p>
        </p:txBody>
      </p:sp>
      <p:sp>
        <p:nvSpPr>
          <p:cNvPr id="40" name="TextBox 40"/>
          <p:cNvSpPr txBox="1"/>
          <p:nvPr userDrawn="1"/>
        </p:nvSpPr>
        <p:spPr>
          <a:xfrm>
            <a:off x="1534866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Jan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3276874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Mar</a:t>
            </a:r>
          </a:p>
        </p:txBody>
      </p:sp>
      <p:sp>
        <p:nvSpPr>
          <p:cNvPr id="42" name="TextBox 29"/>
          <p:cNvSpPr txBox="1"/>
          <p:nvPr userDrawn="1"/>
        </p:nvSpPr>
        <p:spPr>
          <a:xfrm>
            <a:off x="4147877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Apr</a:t>
            </a:r>
          </a:p>
        </p:txBody>
      </p:sp>
      <p:sp>
        <p:nvSpPr>
          <p:cNvPr id="43" name="TextBox 29"/>
          <p:cNvSpPr txBox="1"/>
          <p:nvPr userDrawn="1"/>
        </p:nvSpPr>
        <p:spPr>
          <a:xfrm>
            <a:off x="5889883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Jun</a:t>
            </a:r>
          </a:p>
        </p:txBody>
      </p:sp>
      <p:sp>
        <p:nvSpPr>
          <p:cNvPr id="44" name="TextBox 29"/>
          <p:cNvSpPr txBox="1"/>
          <p:nvPr userDrawn="1"/>
        </p:nvSpPr>
        <p:spPr>
          <a:xfrm>
            <a:off x="6760885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Jul</a:t>
            </a:r>
          </a:p>
        </p:txBody>
      </p:sp>
      <p:sp>
        <p:nvSpPr>
          <p:cNvPr id="45" name="TextBox 24"/>
          <p:cNvSpPr txBox="1"/>
          <p:nvPr userDrawn="1"/>
        </p:nvSpPr>
        <p:spPr>
          <a:xfrm>
            <a:off x="8476059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Sep</a:t>
            </a:r>
          </a:p>
        </p:txBody>
      </p:sp>
      <p:sp>
        <p:nvSpPr>
          <p:cNvPr id="46" name="TextBox 24"/>
          <p:cNvSpPr txBox="1"/>
          <p:nvPr userDrawn="1"/>
        </p:nvSpPr>
        <p:spPr>
          <a:xfrm>
            <a:off x="9373894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Oct</a:t>
            </a:r>
          </a:p>
        </p:txBody>
      </p:sp>
      <p:sp>
        <p:nvSpPr>
          <p:cNvPr id="47" name="TextBox 28"/>
          <p:cNvSpPr txBox="1"/>
          <p:nvPr userDrawn="1"/>
        </p:nvSpPr>
        <p:spPr>
          <a:xfrm>
            <a:off x="11115904" y="1152163"/>
            <a:ext cx="321733" cy="24198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50" dirty="0" smtClean="0">
                <a:solidFill>
                  <a:srgbClr val="FF0000"/>
                </a:solidFill>
              </a:rPr>
              <a:t>Dec</a:t>
            </a:r>
          </a:p>
        </p:txBody>
      </p:sp>
    </p:spTree>
    <p:extLst>
      <p:ext uri="{BB962C8B-B14F-4D97-AF65-F5344CB8AC3E}">
        <p14:creationId xmlns:p14="http://schemas.microsoft.com/office/powerpoint/2010/main" val="29855843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846907" y="1278384"/>
            <a:ext cx="3265200" cy="23292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4458228" y="1278384"/>
            <a:ext cx="3265200" cy="23292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8069550" y="1278384"/>
            <a:ext cx="3265200" cy="23292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846908" y="3884251"/>
            <a:ext cx="3265200" cy="23292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4458229" y="3884251"/>
            <a:ext cx="3265200" cy="23292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8069550" y="3884251"/>
            <a:ext cx="3265200" cy="23292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737666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91" userDrawn="1">
          <p15:clr>
            <a:srgbClr val="FBAE40"/>
          </p15:clr>
        </p15:guide>
        <p15:guide id="2" pos="2808" userDrawn="1">
          <p15:clr>
            <a:srgbClr val="FBAE40"/>
          </p15:clr>
        </p15:guide>
        <p15:guide id="3" pos="4866" userDrawn="1">
          <p15:clr>
            <a:srgbClr val="FBAE40"/>
          </p15:clr>
        </p15:guide>
        <p15:guide id="4" pos="5082" userDrawn="1">
          <p15:clr>
            <a:srgbClr val="FBAE40"/>
          </p15:clr>
        </p15:guide>
        <p15:guide id="5" orient="horz" pos="2274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846907" y="1795637"/>
            <a:ext cx="3265200" cy="269698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4458228" y="1795637"/>
            <a:ext cx="3265200" cy="269698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8069550" y="1795637"/>
            <a:ext cx="3265200" cy="269698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846908" y="4760735"/>
            <a:ext cx="3265200" cy="144004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4458229" y="4760735"/>
            <a:ext cx="3265200" cy="144004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8069550" y="4760735"/>
            <a:ext cx="3265200" cy="144004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845574" y="1277982"/>
            <a:ext cx="3265200" cy="436017"/>
          </a:xfrm>
        </p:spPr>
        <p:txBody>
          <a:bodyPr>
            <a:noAutofit/>
          </a:bodyPr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58228" y="1277982"/>
            <a:ext cx="3265200" cy="436017"/>
          </a:xfrm>
        </p:spPr>
        <p:txBody>
          <a:bodyPr/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8069550" y="1277982"/>
            <a:ext cx="3265200" cy="436017"/>
          </a:xfrm>
        </p:spPr>
        <p:txBody>
          <a:bodyPr/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0329244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pos="2808">
          <p15:clr>
            <a:srgbClr val="FBAE40"/>
          </p15:clr>
        </p15:guide>
        <p15:guide id="3" pos="4866">
          <p15:clr>
            <a:srgbClr val="FBAE40"/>
          </p15:clr>
        </p15:guide>
        <p15:guide id="4" pos="5082">
          <p15:clr>
            <a:srgbClr val="FBAE40"/>
          </p15:clr>
        </p15:guide>
        <p15:guide id="5" orient="horz" pos="2830" userDrawn="1">
          <p15:clr>
            <a:srgbClr val="FBAE40"/>
          </p15:clr>
        </p15:guide>
        <p15:guide id="6" orient="horz" pos="2998" userDrawn="1">
          <p15:clr>
            <a:srgbClr val="FBAE40"/>
          </p15:clr>
        </p15:guide>
        <p15:guide id="7" pos="2592" userDrawn="1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lit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845575" y="1279981"/>
            <a:ext cx="5058000" cy="324000"/>
          </a:xfrm>
        </p:spPr>
        <p:txBody>
          <a:bodyPr>
            <a:noAutofit/>
          </a:bodyPr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845575" y="1754561"/>
            <a:ext cx="5058000" cy="1854000"/>
          </a:xfrm>
        </p:spPr>
        <p:txBody>
          <a:bodyPr/>
          <a:lstStyle>
            <a:lvl3pPr>
              <a:lnSpc>
                <a:spcPts val="2199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45575" y="3877591"/>
            <a:ext cx="5058000" cy="324000"/>
          </a:xfrm>
        </p:spPr>
        <p:txBody>
          <a:bodyPr>
            <a:noAutofit/>
          </a:bodyPr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845575" y="4346776"/>
            <a:ext cx="5058000" cy="1854000"/>
          </a:xfrm>
        </p:spPr>
        <p:txBody>
          <a:bodyPr/>
          <a:lstStyle>
            <a:lvl3pPr>
              <a:lnSpc>
                <a:spcPts val="2199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845575" y="1682898"/>
            <a:ext cx="5058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845575" y="4278810"/>
            <a:ext cx="5058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6276751" y="1279981"/>
            <a:ext cx="5058000" cy="324000"/>
          </a:xfrm>
        </p:spPr>
        <p:txBody>
          <a:bodyPr>
            <a:noAutofit/>
          </a:bodyPr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276751" y="1754561"/>
            <a:ext cx="5058000" cy="1854000"/>
          </a:xfrm>
        </p:spPr>
        <p:txBody>
          <a:bodyPr/>
          <a:lstStyle>
            <a:lvl3pPr>
              <a:lnSpc>
                <a:spcPts val="2199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276751" y="3877591"/>
            <a:ext cx="5058000" cy="324000"/>
          </a:xfrm>
        </p:spPr>
        <p:txBody>
          <a:bodyPr>
            <a:noAutofit/>
          </a:bodyPr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276751" y="4346776"/>
            <a:ext cx="5058000" cy="1854000"/>
          </a:xfrm>
        </p:spPr>
        <p:txBody>
          <a:bodyPr/>
          <a:lstStyle>
            <a:lvl3pPr>
              <a:lnSpc>
                <a:spcPts val="2199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>
            <a:off x="6276751" y="1682898"/>
            <a:ext cx="5058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6276751" y="4278810"/>
            <a:ext cx="5058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65435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pos="3720" userDrawn="1">
          <p15:clr>
            <a:srgbClr val="FBAE40"/>
          </p15:clr>
        </p15:guide>
        <p15:guide id="3" pos="3953" userDrawn="1">
          <p15:clr>
            <a:srgbClr val="FBAE40"/>
          </p15:clr>
        </p15:guide>
        <p15:guide id="4" orient="horz" pos="2274" userDrawn="1">
          <p15:clr>
            <a:srgbClr val="FBAE40"/>
          </p15:clr>
        </p15:guide>
        <p15:guide id="5" orient="horz" pos="2442" userDrawn="1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845575" y="1278384"/>
            <a:ext cx="32652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845575" y="1757279"/>
            <a:ext cx="3265200" cy="1850305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45575" y="3878568"/>
            <a:ext cx="32652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845575" y="4346776"/>
            <a:ext cx="32652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845575" y="1685616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845575" y="4278810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8069550" y="1278384"/>
            <a:ext cx="32652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1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069550" y="1757279"/>
            <a:ext cx="3265200" cy="1850305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069550" y="3878568"/>
            <a:ext cx="32652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3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069550" y="4346776"/>
            <a:ext cx="32652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44" name="Straight Connector 43"/>
          <p:cNvCxnSpPr/>
          <p:nvPr userDrawn="1"/>
        </p:nvCxnSpPr>
        <p:spPr bwMode="gray">
          <a:xfrm>
            <a:off x="8069550" y="1685616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 bwMode="gray">
          <a:xfrm>
            <a:off x="8069550" y="4278810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4457562" y="1278384"/>
            <a:ext cx="32652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7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4457562" y="1757279"/>
            <a:ext cx="3265200" cy="1850305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4457562" y="3878568"/>
            <a:ext cx="32652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9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4457562" y="4346776"/>
            <a:ext cx="32652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0" name="Straight Connector 49"/>
          <p:cNvCxnSpPr/>
          <p:nvPr userDrawn="1"/>
        </p:nvCxnSpPr>
        <p:spPr bwMode="gray">
          <a:xfrm>
            <a:off x="4457562" y="1685616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4457562" y="4278810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62142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pos="2592" userDrawn="1">
          <p15:clr>
            <a:srgbClr val="FBAE40"/>
          </p15:clr>
        </p15:guide>
        <p15:guide id="3" pos="5082" userDrawn="1">
          <p15:clr>
            <a:srgbClr val="FBAE40"/>
          </p15:clr>
        </p15:guide>
        <p15:guide id="4" pos="2803" userDrawn="1">
          <p15:clr>
            <a:srgbClr val="FBAE40"/>
          </p15:clr>
        </p15:guide>
        <p15:guide id="5" pos="4866" userDrawn="1">
          <p15:clr>
            <a:srgbClr val="FBAE40"/>
          </p15:clr>
        </p15:guide>
        <p15:guide id="6" orient="horz" pos="2274" userDrawn="1">
          <p15:clr>
            <a:srgbClr val="FBAE40"/>
          </p15:clr>
        </p15:guide>
        <p15:guide id="7" orient="horz" pos="2442" userDrawn="1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845574" y="1278384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845574" y="1757279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45574" y="3878568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845574" y="4346776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845574" y="1685616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845574" y="4278810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89966" y="1278384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2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3489966" y="1757279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3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3489966" y="3878568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4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3489966" y="4346776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5" name="Straight Connector 54"/>
          <p:cNvCxnSpPr/>
          <p:nvPr userDrawn="1"/>
        </p:nvCxnSpPr>
        <p:spPr bwMode="gray">
          <a:xfrm>
            <a:off x="3489966" y="1685616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 bwMode="gray">
          <a:xfrm>
            <a:off x="3489966" y="4278810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6134358" y="1278384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8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6134358" y="1757279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6134358" y="3878568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0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6134358" y="4346776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1" name="Straight Connector 60"/>
          <p:cNvCxnSpPr/>
          <p:nvPr userDrawn="1"/>
        </p:nvCxnSpPr>
        <p:spPr bwMode="gray">
          <a:xfrm>
            <a:off x="6134358" y="1685616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 bwMode="gray">
          <a:xfrm>
            <a:off x="6134358" y="4278810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2"/>
          <p:cNvSpPr>
            <a:spLocks noGrp="1"/>
          </p:cNvSpPr>
          <p:nvPr>
            <p:ph idx="30" hasCustomPrompt="1"/>
          </p:nvPr>
        </p:nvSpPr>
        <p:spPr bwMode="gray">
          <a:xfrm>
            <a:off x="8778750" y="1278384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4" name="Content Placeholder 2"/>
          <p:cNvSpPr>
            <a:spLocks noGrp="1"/>
          </p:cNvSpPr>
          <p:nvPr>
            <p:ph idx="31" hasCustomPrompt="1"/>
          </p:nvPr>
        </p:nvSpPr>
        <p:spPr bwMode="gray">
          <a:xfrm>
            <a:off x="8778750" y="1757279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65" name="Content Placeholder 2"/>
          <p:cNvSpPr>
            <a:spLocks noGrp="1"/>
          </p:cNvSpPr>
          <p:nvPr>
            <p:ph idx="32" hasCustomPrompt="1"/>
          </p:nvPr>
        </p:nvSpPr>
        <p:spPr bwMode="gray">
          <a:xfrm>
            <a:off x="8778750" y="3878568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6" name="Content Placeholder 2"/>
          <p:cNvSpPr>
            <a:spLocks noGrp="1"/>
          </p:cNvSpPr>
          <p:nvPr>
            <p:ph idx="33" hasCustomPrompt="1"/>
          </p:nvPr>
        </p:nvSpPr>
        <p:spPr bwMode="gray">
          <a:xfrm>
            <a:off x="8778750" y="4346776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7" name="Straight Connector 66"/>
          <p:cNvCxnSpPr/>
          <p:nvPr userDrawn="1"/>
        </p:nvCxnSpPr>
        <p:spPr bwMode="gray">
          <a:xfrm>
            <a:off x="8778750" y="1685616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 userDrawn="1"/>
        </p:nvCxnSpPr>
        <p:spPr bwMode="gray">
          <a:xfrm>
            <a:off x="8778750" y="4278810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886429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pos="2149" userDrawn="1">
          <p15:clr>
            <a:srgbClr val="FBAE40"/>
          </p15:clr>
        </p15:guide>
        <p15:guide id="4" pos="5480" userDrawn="1">
          <p15:clr>
            <a:srgbClr val="FBAE40"/>
          </p15:clr>
        </p15:guide>
        <p15:guide id="5" pos="3864" userDrawn="1">
          <p15:clr>
            <a:srgbClr val="FBAE40"/>
          </p15:clr>
        </p15:guide>
        <p15:guide id="6" pos="2196" userDrawn="1">
          <p15:clr>
            <a:srgbClr val="FBAE40"/>
          </p15:clr>
        </p15:guide>
        <p15:guide id="7" pos="3809" userDrawn="1">
          <p15:clr>
            <a:srgbClr val="FBAE40"/>
          </p15:clr>
        </p15:guide>
        <p15:guide id="8" pos="5528" userDrawn="1">
          <p15:clr>
            <a:srgbClr val="FBAE40"/>
          </p15:clr>
        </p15:guide>
        <p15:guide id="9" orient="horz" pos="2274" userDrawn="1">
          <p15:clr>
            <a:srgbClr val="FBAE40"/>
          </p15:clr>
        </p15:guide>
        <p15:guide id="10" orient="horz" pos="2442" userDrawn="1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547528" y="1270001"/>
            <a:ext cx="6787224" cy="49784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 bwMode="gray">
          <a:xfrm>
            <a:off x="693739" y="280733"/>
            <a:ext cx="3443287" cy="5920066"/>
          </a:xfrm>
          <a:custGeom>
            <a:avLst/>
            <a:gdLst>
              <a:gd name="connsiteX0" fmla="*/ 95997 w 3443287"/>
              <a:gd name="connsiteY0" fmla="*/ 0 h 5920066"/>
              <a:gd name="connsiteX1" fmla="*/ 3443287 w 3443287"/>
              <a:gd name="connsiteY1" fmla="*/ 0 h 5920066"/>
              <a:gd name="connsiteX2" fmla="*/ 3443287 w 3443287"/>
              <a:gd name="connsiteY2" fmla="*/ 5920066 h 5920066"/>
              <a:gd name="connsiteX3" fmla="*/ 95989 w 3443287"/>
              <a:gd name="connsiteY3" fmla="*/ 5920066 h 5920066"/>
              <a:gd name="connsiteX4" fmla="*/ 64311 w 3443287"/>
              <a:gd name="connsiteY4" fmla="*/ 5915938 h 5920066"/>
              <a:gd name="connsiteX5" fmla="*/ 0 w 3443287"/>
              <a:gd name="connsiteY5" fmla="*/ 5823957 h 5920066"/>
              <a:gd name="connsiteX6" fmla="*/ 0 w 3443287"/>
              <a:gd name="connsiteY6" fmla="*/ 5820222 h 5920066"/>
              <a:gd name="connsiteX7" fmla="*/ 0 w 3443287"/>
              <a:gd name="connsiteY7" fmla="*/ 5811351 h 5920066"/>
              <a:gd name="connsiteX8" fmla="*/ 0 w 3443287"/>
              <a:gd name="connsiteY8" fmla="*/ 5794075 h 5920066"/>
              <a:gd name="connsiteX9" fmla="*/ 0 w 3443287"/>
              <a:gd name="connsiteY9" fmla="*/ 5765594 h 5920066"/>
              <a:gd name="connsiteX10" fmla="*/ 0 w 3443287"/>
              <a:gd name="connsiteY10" fmla="*/ 5723106 h 5920066"/>
              <a:gd name="connsiteX11" fmla="*/ 0 w 3443287"/>
              <a:gd name="connsiteY11" fmla="*/ 5663809 h 5920066"/>
              <a:gd name="connsiteX12" fmla="*/ 0 w 3443287"/>
              <a:gd name="connsiteY12" fmla="*/ 5584902 h 5920066"/>
              <a:gd name="connsiteX13" fmla="*/ 0 w 3443287"/>
              <a:gd name="connsiteY13" fmla="*/ 5549717 h 5920066"/>
              <a:gd name="connsiteX14" fmla="*/ 0 w 3443287"/>
              <a:gd name="connsiteY14" fmla="*/ 5548611 h 5920066"/>
              <a:gd name="connsiteX15" fmla="*/ 0 w 3443287"/>
              <a:gd name="connsiteY15" fmla="*/ 5540863 h 5920066"/>
              <a:gd name="connsiteX16" fmla="*/ 0 w 3443287"/>
              <a:gd name="connsiteY16" fmla="*/ 5520020 h 5920066"/>
              <a:gd name="connsiteX17" fmla="*/ 0 w 3443287"/>
              <a:gd name="connsiteY17" fmla="*/ 5519835 h 5920066"/>
              <a:gd name="connsiteX18" fmla="*/ 0 w 3443287"/>
              <a:gd name="connsiteY18" fmla="*/ 5478886 h 5920066"/>
              <a:gd name="connsiteX19" fmla="*/ 0 w 3443287"/>
              <a:gd name="connsiteY19" fmla="*/ 5448866 h 5920066"/>
              <a:gd name="connsiteX20" fmla="*/ 0 w 3443287"/>
              <a:gd name="connsiteY20" fmla="*/ 5444347 h 5920066"/>
              <a:gd name="connsiteX21" fmla="*/ 0 w 3443287"/>
              <a:gd name="connsiteY21" fmla="*/ 5411375 h 5920066"/>
              <a:gd name="connsiteX22" fmla="*/ 0 w 3443287"/>
              <a:gd name="connsiteY22" fmla="*/ 5365584 h 5920066"/>
              <a:gd name="connsiteX23" fmla="*/ 0 w 3443287"/>
              <a:gd name="connsiteY23" fmla="*/ 5357053 h 5920066"/>
              <a:gd name="connsiteX24" fmla="*/ 0 w 3443287"/>
              <a:gd name="connsiteY24" fmla="*/ 5310662 h 5920066"/>
              <a:gd name="connsiteX25" fmla="*/ 0 w 3443287"/>
              <a:gd name="connsiteY25" fmla="*/ 5257308 h 5920066"/>
              <a:gd name="connsiteX26" fmla="*/ 0 w 3443287"/>
              <a:gd name="connsiteY26" fmla="*/ 5245780 h 5920066"/>
              <a:gd name="connsiteX27" fmla="*/ 0 w 3443287"/>
              <a:gd name="connsiteY27" fmla="*/ 5170107 h 5920066"/>
              <a:gd name="connsiteX28" fmla="*/ 0 w 3443287"/>
              <a:gd name="connsiteY28" fmla="*/ 5144283 h 5920066"/>
              <a:gd name="connsiteX29" fmla="*/ 0 w 3443287"/>
              <a:gd name="connsiteY29" fmla="*/ 5082813 h 5920066"/>
              <a:gd name="connsiteX30" fmla="*/ 0 w 3443287"/>
              <a:gd name="connsiteY30" fmla="*/ 5017146 h 5920066"/>
              <a:gd name="connsiteX31" fmla="*/ 0 w 3443287"/>
              <a:gd name="connsiteY31" fmla="*/ 4983068 h 5920066"/>
              <a:gd name="connsiteX32" fmla="*/ 0 w 3443287"/>
              <a:gd name="connsiteY32" fmla="*/ 4903543 h 5920066"/>
              <a:gd name="connsiteX33" fmla="*/ 0 w 3443287"/>
              <a:gd name="connsiteY33" fmla="*/ 4899808 h 5920066"/>
              <a:gd name="connsiteX34" fmla="*/ 0 w 3443287"/>
              <a:gd name="connsiteY34" fmla="*/ 4890937 h 5920066"/>
              <a:gd name="connsiteX35" fmla="*/ 0 w 3443287"/>
              <a:gd name="connsiteY35" fmla="*/ 4875069 h 5920066"/>
              <a:gd name="connsiteX36" fmla="*/ 0 w 3443287"/>
              <a:gd name="connsiteY36" fmla="*/ 4873661 h 5920066"/>
              <a:gd name="connsiteX37" fmla="*/ 0 w 3443287"/>
              <a:gd name="connsiteY37" fmla="*/ 4870043 h 5920066"/>
              <a:gd name="connsiteX38" fmla="*/ 0 w 3443287"/>
              <a:gd name="connsiteY38" fmla="*/ 4845180 h 5920066"/>
              <a:gd name="connsiteX39" fmla="*/ 0 w 3443287"/>
              <a:gd name="connsiteY39" fmla="*/ 4802692 h 5920066"/>
              <a:gd name="connsiteX40" fmla="*/ 0 w 3443287"/>
              <a:gd name="connsiteY40" fmla="*/ 4743395 h 5920066"/>
              <a:gd name="connsiteX41" fmla="*/ 0 w 3443287"/>
              <a:gd name="connsiteY41" fmla="*/ 4742906 h 5920066"/>
              <a:gd name="connsiteX42" fmla="*/ 0 w 3443287"/>
              <a:gd name="connsiteY42" fmla="*/ 4717221 h 5920066"/>
              <a:gd name="connsiteX43" fmla="*/ 0 w 3443287"/>
              <a:gd name="connsiteY43" fmla="*/ 4664488 h 5920066"/>
              <a:gd name="connsiteX44" fmla="*/ 0 w 3443287"/>
              <a:gd name="connsiteY44" fmla="*/ 4629303 h 5920066"/>
              <a:gd name="connsiteX45" fmla="*/ 0 w 3443287"/>
              <a:gd name="connsiteY45" fmla="*/ 4628197 h 5920066"/>
              <a:gd name="connsiteX46" fmla="*/ 0 w 3443287"/>
              <a:gd name="connsiteY46" fmla="*/ 4620449 h 5920066"/>
              <a:gd name="connsiteX47" fmla="*/ 0 w 3443287"/>
              <a:gd name="connsiteY47" fmla="*/ 4600829 h 5920066"/>
              <a:gd name="connsiteX48" fmla="*/ 0 w 3443287"/>
              <a:gd name="connsiteY48" fmla="*/ 4599606 h 5920066"/>
              <a:gd name="connsiteX49" fmla="*/ 0 w 3443287"/>
              <a:gd name="connsiteY49" fmla="*/ 4599421 h 5920066"/>
              <a:gd name="connsiteX50" fmla="*/ 0 w 3443287"/>
              <a:gd name="connsiteY50" fmla="*/ 4558472 h 5920066"/>
              <a:gd name="connsiteX51" fmla="*/ 0 w 3443287"/>
              <a:gd name="connsiteY51" fmla="*/ 4542771 h 5920066"/>
              <a:gd name="connsiteX52" fmla="*/ 0 w 3443287"/>
              <a:gd name="connsiteY52" fmla="*/ 4528452 h 5920066"/>
              <a:gd name="connsiteX53" fmla="*/ 0 w 3443287"/>
              <a:gd name="connsiteY53" fmla="*/ 4523933 h 5920066"/>
              <a:gd name="connsiteX54" fmla="*/ 0 w 3443287"/>
              <a:gd name="connsiteY54" fmla="*/ 4490961 h 5920066"/>
              <a:gd name="connsiteX55" fmla="*/ 0 w 3443287"/>
              <a:gd name="connsiteY55" fmla="*/ 4445170 h 5920066"/>
              <a:gd name="connsiteX56" fmla="*/ 0 w 3443287"/>
              <a:gd name="connsiteY56" fmla="*/ 4442981 h 5920066"/>
              <a:gd name="connsiteX57" fmla="*/ 0 w 3443287"/>
              <a:gd name="connsiteY57" fmla="*/ 4436639 h 5920066"/>
              <a:gd name="connsiteX58" fmla="*/ 0 w 3443287"/>
              <a:gd name="connsiteY58" fmla="*/ 4390248 h 5920066"/>
              <a:gd name="connsiteX59" fmla="*/ 0 w 3443287"/>
              <a:gd name="connsiteY59" fmla="*/ 4350891 h 5920066"/>
              <a:gd name="connsiteX60" fmla="*/ 0 w 3443287"/>
              <a:gd name="connsiteY60" fmla="*/ 4336894 h 5920066"/>
              <a:gd name="connsiteX61" fmla="*/ 0 w 3443287"/>
              <a:gd name="connsiteY61" fmla="*/ 4325366 h 5920066"/>
              <a:gd name="connsiteX62" fmla="*/ 0 w 3443287"/>
              <a:gd name="connsiteY62" fmla="*/ 4268531 h 5920066"/>
              <a:gd name="connsiteX63" fmla="*/ 0 w 3443287"/>
              <a:gd name="connsiteY63" fmla="*/ 4249693 h 5920066"/>
              <a:gd name="connsiteX64" fmla="*/ 0 w 3443287"/>
              <a:gd name="connsiteY64" fmla="*/ 4223869 h 5920066"/>
              <a:gd name="connsiteX65" fmla="*/ 0 w 3443287"/>
              <a:gd name="connsiteY65" fmla="*/ 4162399 h 5920066"/>
              <a:gd name="connsiteX66" fmla="*/ 0 w 3443287"/>
              <a:gd name="connsiteY66" fmla="*/ 4140749 h 5920066"/>
              <a:gd name="connsiteX67" fmla="*/ 0 w 3443287"/>
              <a:gd name="connsiteY67" fmla="*/ 4096732 h 5920066"/>
              <a:gd name="connsiteX68" fmla="*/ 0 w 3443287"/>
              <a:gd name="connsiteY68" fmla="*/ 4076651 h 5920066"/>
              <a:gd name="connsiteX69" fmla="*/ 0 w 3443287"/>
              <a:gd name="connsiteY69" fmla="*/ 4062654 h 5920066"/>
              <a:gd name="connsiteX70" fmla="*/ 0 w 3443287"/>
              <a:gd name="connsiteY70" fmla="*/ 3954655 h 5920066"/>
              <a:gd name="connsiteX71" fmla="*/ 0 w 3443287"/>
              <a:gd name="connsiteY71" fmla="*/ 3949629 h 5920066"/>
              <a:gd name="connsiteX72" fmla="*/ 0 w 3443287"/>
              <a:gd name="connsiteY72" fmla="*/ 3911516 h 5920066"/>
              <a:gd name="connsiteX73" fmla="*/ 0 w 3443287"/>
              <a:gd name="connsiteY73" fmla="*/ 3866509 h 5920066"/>
              <a:gd name="connsiteX74" fmla="*/ 0 w 3443287"/>
              <a:gd name="connsiteY74" fmla="*/ 3822492 h 5920066"/>
              <a:gd name="connsiteX75" fmla="*/ 0 w 3443287"/>
              <a:gd name="connsiteY75" fmla="*/ 3796807 h 5920066"/>
              <a:gd name="connsiteX76" fmla="*/ 0 w 3443287"/>
              <a:gd name="connsiteY76" fmla="*/ 3680415 h 5920066"/>
              <a:gd name="connsiteX77" fmla="*/ 0 w 3443287"/>
              <a:gd name="connsiteY77" fmla="*/ 3662362 h 5920066"/>
              <a:gd name="connsiteX78" fmla="*/ 0 w 3443287"/>
              <a:gd name="connsiteY78" fmla="*/ 3637276 h 5920066"/>
              <a:gd name="connsiteX79" fmla="*/ 0 w 3443287"/>
              <a:gd name="connsiteY79" fmla="*/ 3622357 h 5920066"/>
              <a:gd name="connsiteX80" fmla="*/ 0 w 3443287"/>
              <a:gd name="connsiteY80" fmla="*/ 3522567 h 5920066"/>
              <a:gd name="connsiteX81" fmla="*/ 0 w 3443287"/>
              <a:gd name="connsiteY81" fmla="*/ 3430477 h 5920066"/>
              <a:gd name="connsiteX82" fmla="*/ 0 w 3443287"/>
              <a:gd name="connsiteY82" fmla="*/ 3392457 h 5920066"/>
              <a:gd name="connsiteX83" fmla="*/ 0 w 3443287"/>
              <a:gd name="connsiteY83" fmla="*/ 3388122 h 5920066"/>
              <a:gd name="connsiteX84" fmla="*/ 0 w 3443287"/>
              <a:gd name="connsiteY84" fmla="*/ 3348117 h 5920066"/>
              <a:gd name="connsiteX85" fmla="*/ 0 w 3443287"/>
              <a:gd name="connsiteY85" fmla="*/ 3220335 h 5920066"/>
              <a:gd name="connsiteX86" fmla="*/ 0 w 3443287"/>
              <a:gd name="connsiteY86" fmla="*/ 3156237 h 5920066"/>
              <a:gd name="connsiteX87" fmla="*/ 0 w 3443287"/>
              <a:gd name="connsiteY87" fmla="*/ 3118217 h 5920066"/>
              <a:gd name="connsiteX88" fmla="*/ 0 w 3443287"/>
              <a:gd name="connsiteY88" fmla="*/ 3100970 h 5920066"/>
              <a:gd name="connsiteX89" fmla="*/ 0 w 3443287"/>
              <a:gd name="connsiteY89" fmla="*/ 2991102 h 5920066"/>
              <a:gd name="connsiteX90" fmla="*/ 0 w 3443287"/>
              <a:gd name="connsiteY90" fmla="*/ 2946095 h 5920066"/>
              <a:gd name="connsiteX91" fmla="*/ 0 w 3443287"/>
              <a:gd name="connsiteY91" fmla="*/ 2826730 h 5920066"/>
              <a:gd name="connsiteX92" fmla="*/ 0 w 3443287"/>
              <a:gd name="connsiteY92" fmla="*/ 2787072 h 5920066"/>
              <a:gd name="connsiteX93" fmla="*/ 0 w 3443287"/>
              <a:gd name="connsiteY93" fmla="*/ 2741948 h 5920066"/>
              <a:gd name="connsiteX94" fmla="*/ 0 w 3443287"/>
              <a:gd name="connsiteY94" fmla="*/ 2716862 h 5920066"/>
              <a:gd name="connsiteX95" fmla="*/ 0 w 3443287"/>
              <a:gd name="connsiteY95" fmla="*/ 2512832 h 5920066"/>
              <a:gd name="connsiteX96" fmla="*/ 0 w 3443287"/>
              <a:gd name="connsiteY96" fmla="*/ 2472043 h 5920066"/>
              <a:gd name="connsiteX97" fmla="*/ 0 w 3443287"/>
              <a:gd name="connsiteY97" fmla="*/ 2467708 h 5920066"/>
              <a:gd name="connsiteX98" fmla="*/ 0 w 3443287"/>
              <a:gd name="connsiteY98" fmla="*/ 2449933 h 5920066"/>
              <a:gd name="connsiteX99" fmla="*/ 0 w 3443287"/>
              <a:gd name="connsiteY99" fmla="*/ 2197803 h 5920066"/>
              <a:gd name="connsiteX100" fmla="*/ 0 w 3443287"/>
              <a:gd name="connsiteY100" fmla="*/ 2180556 h 5920066"/>
              <a:gd name="connsiteX101" fmla="*/ 0 w 3443287"/>
              <a:gd name="connsiteY101" fmla="*/ 2175692 h 5920066"/>
              <a:gd name="connsiteX102" fmla="*/ 0 w 3443287"/>
              <a:gd name="connsiteY102" fmla="*/ 2088721 h 5920066"/>
              <a:gd name="connsiteX103" fmla="*/ 0 w 3443287"/>
              <a:gd name="connsiteY103" fmla="*/ 1906316 h 5920066"/>
              <a:gd name="connsiteX104" fmla="*/ 0 w 3443287"/>
              <a:gd name="connsiteY104" fmla="*/ 1866658 h 5920066"/>
              <a:gd name="connsiteX105" fmla="*/ 0 w 3443287"/>
              <a:gd name="connsiteY105" fmla="*/ 1814481 h 5920066"/>
              <a:gd name="connsiteX106" fmla="*/ 0 w 3443287"/>
              <a:gd name="connsiteY106" fmla="*/ 1702609 h 5920066"/>
              <a:gd name="connsiteX107" fmla="*/ 0 w 3443287"/>
              <a:gd name="connsiteY107" fmla="*/ 1592418 h 5920066"/>
              <a:gd name="connsiteX108" fmla="*/ 0 w 3443287"/>
              <a:gd name="connsiteY108" fmla="*/ 1529519 h 5920066"/>
              <a:gd name="connsiteX109" fmla="*/ 0 w 3443287"/>
              <a:gd name="connsiteY109" fmla="*/ 1428369 h 5920066"/>
              <a:gd name="connsiteX110" fmla="*/ 0 w 3443287"/>
              <a:gd name="connsiteY110" fmla="*/ 1290764 h 5920066"/>
              <a:gd name="connsiteX111" fmla="*/ 0 w 3443287"/>
              <a:gd name="connsiteY111" fmla="*/ 1255278 h 5920066"/>
              <a:gd name="connsiteX112" fmla="*/ 0 w 3443287"/>
              <a:gd name="connsiteY112" fmla="*/ 1168307 h 5920066"/>
              <a:gd name="connsiteX113" fmla="*/ 0 w 3443287"/>
              <a:gd name="connsiteY113" fmla="*/ 1016524 h 5920066"/>
              <a:gd name="connsiteX114" fmla="*/ 0 w 3443287"/>
              <a:gd name="connsiteY114" fmla="*/ 894067 h 5920066"/>
              <a:gd name="connsiteX115" fmla="*/ 0 w 3443287"/>
              <a:gd name="connsiteY115" fmla="*/ 782195 h 5920066"/>
              <a:gd name="connsiteX116" fmla="*/ 0 w 3443287"/>
              <a:gd name="connsiteY116" fmla="*/ 507955 h 5920066"/>
              <a:gd name="connsiteX117" fmla="*/ 0 w 3443287"/>
              <a:gd name="connsiteY117" fmla="*/ 370350 h 5920066"/>
              <a:gd name="connsiteX118" fmla="*/ 0 w 3443287"/>
              <a:gd name="connsiteY118" fmla="*/ 96110 h 5920066"/>
              <a:gd name="connsiteX119" fmla="*/ 95997 w 3443287"/>
              <a:gd name="connsiteY119" fmla="*/ 0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3443287" h="5920066">
                <a:moveTo>
                  <a:pt x="95997" y="0"/>
                </a:moveTo>
                <a:lnTo>
                  <a:pt x="3443287" y="0"/>
                </a:lnTo>
                <a:lnTo>
                  <a:pt x="3443287" y="5920066"/>
                </a:lnTo>
                <a:lnTo>
                  <a:pt x="95989" y="5920066"/>
                </a:lnTo>
                <a:lnTo>
                  <a:pt x="64311" y="5915938"/>
                </a:lnTo>
                <a:cubicBezTo>
                  <a:pt x="0" y="5897541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59964" tIns="359964">
            <a:noAutofit/>
          </a:bodyPr>
          <a:lstStyle>
            <a:lvl1pPr algn="ctr">
              <a:defRPr sz="1400" b="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7528" y="280734"/>
            <a:ext cx="6787223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907465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54" userDrawn="1">
          <p15:clr>
            <a:srgbClr val="FBAE40"/>
          </p15:clr>
        </p15:guide>
        <p15:guide id="2" pos="2610" userDrawn="1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838200" y="1270001"/>
            <a:ext cx="6786000" cy="49784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8454232" y="280733"/>
            <a:ext cx="3442280" cy="5920066"/>
          </a:xfrm>
          <a:custGeom>
            <a:avLst/>
            <a:gdLst>
              <a:gd name="connsiteX0" fmla="*/ 0 w 3442280"/>
              <a:gd name="connsiteY0" fmla="*/ 0 h 5920066"/>
              <a:gd name="connsiteX1" fmla="*/ 3346283 w 3442280"/>
              <a:gd name="connsiteY1" fmla="*/ 0 h 5920066"/>
              <a:gd name="connsiteX2" fmla="*/ 3442280 w 3442280"/>
              <a:gd name="connsiteY2" fmla="*/ 96110 h 5920066"/>
              <a:gd name="connsiteX3" fmla="*/ 3442280 w 3442280"/>
              <a:gd name="connsiteY3" fmla="*/ 335165 h 5920066"/>
              <a:gd name="connsiteX4" fmla="*/ 3442280 w 3442280"/>
              <a:gd name="connsiteY4" fmla="*/ 370350 h 5920066"/>
              <a:gd name="connsiteX5" fmla="*/ 3442280 w 3442280"/>
              <a:gd name="connsiteY5" fmla="*/ 379204 h 5920066"/>
              <a:gd name="connsiteX6" fmla="*/ 3442280 w 3442280"/>
              <a:gd name="connsiteY6" fmla="*/ 400048 h 5920066"/>
              <a:gd name="connsiteX7" fmla="*/ 3442280 w 3442280"/>
              <a:gd name="connsiteY7" fmla="*/ 400232 h 5920066"/>
              <a:gd name="connsiteX8" fmla="*/ 3442280 w 3442280"/>
              <a:gd name="connsiteY8" fmla="*/ 471202 h 5920066"/>
              <a:gd name="connsiteX9" fmla="*/ 3442280 w 3442280"/>
              <a:gd name="connsiteY9" fmla="*/ 475721 h 5920066"/>
              <a:gd name="connsiteX10" fmla="*/ 3442280 w 3442280"/>
              <a:gd name="connsiteY10" fmla="*/ 508692 h 5920066"/>
              <a:gd name="connsiteX11" fmla="*/ 3442280 w 3442280"/>
              <a:gd name="connsiteY11" fmla="*/ 554484 h 5920066"/>
              <a:gd name="connsiteX12" fmla="*/ 3442280 w 3442280"/>
              <a:gd name="connsiteY12" fmla="*/ 563015 h 5920066"/>
              <a:gd name="connsiteX13" fmla="*/ 3442280 w 3442280"/>
              <a:gd name="connsiteY13" fmla="*/ 609405 h 5920066"/>
              <a:gd name="connsiteX14" fmla="*/ 3442280 w 3442280"/>
              <a:gd name="connsiteY14" fmla="*/ 662759 h 5920066"/>
              <a:gd name="connsiteX15" fmla="*/ 3442280 w 3442280"/>
              <a:gd name="connsiteY15" fmla="*/ 674288 h 5920066"/>
              <a:gd name="connsiteX16" fmla="*/ 3442280 w 3442280"/>
              <a:gd name="connsiteY16" fmla="*/ 749961 h 5920066"/>
              <a:gd name="connsiteX17" fmla="*/ 3442280 w 3442280"/>
              <a:gd name="connsiteY17" fmla="*/ 775785 h 5920066"/>
              <a:gd name="connsiteX18" fmla="*/ 3442280 w 3442280"/>
              <a:gd name="connsiteY18" fmla="*/ 837255 h 5920066"/>
              <a:gd name="connsiteX19" fmla="*/ 3442280 w 3442280"/>
              <a:gd name="connsiteY19" fmla="*/ 902921 h 5920066"/>
              <a:gd name="connsiteX20" fmla="*/ 3442280 w 3442280"/>
              <a:gd name="connsiteY20" fmla="*/ 936999 h 5920066"/>
              <a:gd name="connsiteX21" fmla="*/ 3442280 w 3442280"/>
              <a:gd name="connsiteY21" fmla="*/ 1016524 h 5920066"/>
              <a:gd name="connsiteX22" fmla="*/ 3442280 w 3442280"/>
              <a:gd name="connsiteY22" fmla="*/ 1029131 h 5920066"/>
              <a:gd name="connsiteX23" fmla="*/ 3442280 w 3442280"/>
              <a:gd name="connsiteY23" fmla="*/ 1044999 h 5920066"/>
              <a:gd name="connsiteX24" fmla="*/ 3442280 w 3442280"/>
              <a:gd name="connsiteY24" fmla="*/ 1046406 h 5920066"/>
              <a:gd name="connsiteX25" fmla="*/ 3442280 w 3442280"/>
              <a:gd name="connsiteY25" fmla="*/ 1050025 h 5920066"/>
              <a:gd name="connsiteX26" fmla="*/ 3442280 w 3442280"/>
              <a:gd name="connsiteY26" fmla="*/ 1074887 h 5920066"/>
              <a:gd name="connsiteX27" fmla="*/ 3442280 w 3442280"/>
              <a:gd name="connsiteY27" fmla="*/ 1176672 h 5920066"/>
              <a:gd name="connsiteX28" fmla="*/ 3442280 w 3442280"/>
              <a:gd name="connsiteY28" fmla="*/ 1177161 h 5920066"/>
              <a:gd name="connsiteX29" fmla="*/ 3442280 w 3442280"/>
              <a:gd name="connsiteY29" fmla="*/ 1202847 h 5920066"/>
              <a:gd name="connsiteX30" fmla="*/ 3442280 w 3442280"/>
              <a:gd name="connsiteY30" fmla="*/ 1255579 h 5920066"/>
              <a:gd name="connsiteX31" fmla="*/ 3442280 w 3442280"/>
              <a:gd name="connsiteY31" fmla="*/ 1290764 h 5920066"/>
              <a:gd name="connsiteX32" fmla="*/ 3442280 w 3442280"/>
              <a:gd name="connsiteY32" fmla="*/ 1299618 h 5920066"/>
              <a:gd name="connsiteX33" fmla="*/ 3442280 w 3442280"/>
              <a:gd name="connsiteY33" fmla="*/ 1319239 h 5920066"/>
              <a:gd name="connsiteX34" fmla="*/ 3442280 w 3442280"/>
              <a:gd name="connsiteY34" fmla="*/ 1320462 h 5920066"/>
              <a:gd name="connsiteX35" fmla="*/ 3442280 w 3442280"/>
              <a:gd name="connsiteY35" fmla="*/ 1320646 h 5920066"/>
              <a:gd name="connsiteX36" fmla="*/ 3442280 w 3442280"/>
              <a:gd name="connsiteY36" fmla="*/ 1349128 h 5920066"/>
              <a:gd name="connsiteX37" fmla="*/ 3442280 w 3442280"/>
              <a:gd name="connsiteY37" fmla="*/ 1377296 h 5920066"/>
              <a:gd name="connsiteX38" fmla="*/ 3442280 w 3442280"/>
              <a:gd name="connsiteY38" fmla="*/ 1391616 h 5920066"/>
              <a:gd name="connsiteX39" fmla="*/ 3442280 w 3442280"/>
              <a:gd name="connsiteY39" fmla="*/ 1396135 h 5920066"/>
              <a:gd name="connsiteX40" fmla="*/ 3442280 w 3442280"/>
              <a:gd name="connsiteY40" fmla="*/ 1429106 h 5920066"/>
              <a:gd name="connsiteX41" fmla="*/ 3442280 w 3442280"/>
              <a:gd name="connsiteY41" fmla="*/ 1474898 h 5920066"/>
              <a:gd name="connsiteX42" fmla="*/ 3442280 w 3442280"/>
              <a:gd name="connsiteY42" fmla="*/ 1477087 h 5920066"/>
              <a:gd name="connsiteX43" fmla="*/ 3442280 w 3442280"/>
              <a:gd name="connsiteY43" fmla="*/ 1483429 h 5920066"/>
              <a:gd name="connsiteX44" fmla="*/ 3442280 w 3442280"/>
              <a:gd name="connsiteY44" fmla="*/ 1529819 h 5920066"/>
              <a:gd name="connsiteX45" fmla="*/ 3442280 w 3442280"/>
              <a:gd name="connsiteY45" fmla="*/ 1569177 h 5920066"/>
              <a:gd name="connsiteX46" fmla="*/ 3442280 w 3442280"/>
              <a:gd name="connsiteY46" fmla="*/ 1583173 h 5920066"/>
              <a:gd name="connsiteX47" fmla="*/ 3442280 w 3442280"/>
              <a:gd name="connsiteY47" fmla="*/ 1594702 h 5920066"/>
              <a:gd name="connsiteX48" fmla="*/ 3442280 w 3442280"/>
              <a:gd name="connsiteY48" fmla="*/ 1651536 h 5920066"/>
              <a:gd name="connsiteX49" fmla="*/ 3442280 w 3442280"/>
              <a:gd name="connsiteY49" fmla="*/ 1670375 h 5920066"/>
              <a:gd name="connsiteX50" fmla="*/ 3442280 w 3442280"/>
              <a:gd name="connsiteY50" fmla="*/ 1696199 h 5920066"/>
              <a:gd name="connsiteX51" fmla="*/ 3442280 w 3442280"/>
              <a:gd name="connsiteY51" fmla="*/ 1757669 h 5920066"/>
              <a:gd name="connsiteX52" fmla="*/ 3442280 w 3442280"/>
              <a:gd name="connsiteY52" fmla="*/ 1779318 h 5920066"/>
              <a:gd name="connsiteX53" fmla="*/ 3442280 w 3442280"/>
              <a:gd name="connsiteY53" fmla="*/ 1823335 h 5920066"/>
              <a:gd name="connsiteX54" fmla="*/ 3442280 w 3442280"/>
              <a:gd name="connsiteY54" fmla="*/ 1843417 h 5920066"/>
              <a:gd name="connsiteX55" fmla="*/ 3442280 w 3442280"/>
              <a:gd name="connsiteY55" fmla="*/ 1857413 h 5920066"/>
              <a:gd name="connsiteX56" fmla="*/ 3442280 w 3442280"/>
              <a:gd name="connsiteY56" fmla="*/ 1965413 h 5920066"/>
              <a:gd name="connsiteX57" fmla="*/ 3442280 w 3442280"/>
              <a:gd name="connsiteY57" fmla="*/ 1970439 h 5920066"/>
              <a:gd name="connsiteX58" fmla="*/ 3442280 w 3442280"/>
              <a:gd name="connsiteY58" fmla="*/ 2008551 h 5920066"/>
              <a:gd name="connsiteX59" fmla="*/ 3442280 w 3442280"/>
              <a:gd name="connsiteY59" fmla="*/ 2053558 h 5920066"/>
              <a:gd name="connsiteX60" fmla="*/ 3442280 w 3442280"/>
              <a:gd name="connsiteY60" fmla="*/ 2097575 h 5920066"/>
              <a:gd name="connsiteX61" fmla="*/ 3442280 w 3442280"/>
              <a:gd name="connsiteY61" fmla="*/ 2123261 h 5920066"/>
              <a:gd name="connsiteX62" fmla="*/ 3442280 w 3442280"/>
              <a:gd name="connsiteY62" fmla="*/ 2239653 h 5920066"/>
              <a:gd name="connsiteX63" fmla="*/ 3442280 w 3442280"/>
              <a:gd name="connsiteY63" fmla="*/ 2257705 h 5920066"/>
              <a:gd name="connsiteX64" fmla="*/ 3442280 w 3442280"/>
              <a:gd name="connsiteY64" fmla="*/ 2282791 h 5920066"/>
              <a:gd name="connsiteX65" fmla="*/ 3442280 w 3442280"/>
              <a:gd name="connsiteY65" fmla="*/ 2297710 h 5920066"/>
              <a:gd name="connsiteX66" fmla="*/ 3442280 w 3442280"/>
              <a:gd name="connsiteY66" fmla="*/ 2397501 h 5920066"/>
              <a:gd name="connsiteX67" fmla="*/ 3442280 w 3442280"/>
              <a:gd name="connsiteY67" fmla="*/ 2489591 h 5920066"/>
              <a:gd name="connsiteX68" fmla="*/ 3442280 w 3442280"/>
              <a:gd name="connsiteY68" fmla="*/ 2527610 h 5920066"/>
              <a:gd name="connsiteX69" fmla="*/ 3442280 w 3442280"/>
              <a:gd name="connsiteY69" fmla="*/ 2531945 h 5920066"/>
              <a:gd name="connsiteX70" fmla="*/ 3442280 w 3442280"/>
              <a:gd name="connsiteY70" fmla="*/ 2571950 h 5920066"/>
              <a:gd name="connsiteX71" fmla="*/ 3442280 w 3442280"/>
              <a:gd name="connsiteY71" fmla="*/ 2699732 h 5920066"/>
              <a:gd name="connsiteX72" fmla="*/ 3442280 w 3442280"/>
              <a:gd name="connsiteY72" fmla="*/ 2763831 h 5920066"/>
              <a:gd name="connsiteX73" fmla="*/ 3442280 w 3442280"/>
              <a:gd name="connsiteY73" fmla="*/ 2801851 h 5920066"/>
              <a:gd name="connsiteX74" fmla="*/ 3442280 w 3442280"/>
              <a:gd name="connsiteY74" fmla="*/ 2819097 h 5920066"/>
              <a:gd name="connsiteX75" fmla="*/ 3442280 w 3442280"/>
              <a:gd name="connsiteY75" fmla="*/ 2928965 h 5920066"/>
              <a:gd name="connsiteX76" fmla="*/ 3442280 w 3442280"/>
              <a:gd name="connsiteY76" fmla="*/ 2973972 h 5920066"/>
              <a:gd name="connsiteX77" fmla="*/ 3442280 w 3442280"/>
              <a:gd name="connsiteY77" fmla="*/ 3093337 h 5920066"/>
              <a:gd name="connsiteX78" fmla="*/ 3442280 w 3442280"/>
              <a:gd name="connsiteY78" fmla="*/ 3132995 h 5920066"/>
              <a:gd name="connsiteX79" fmla="*/ 3442280 w 3442280"/>
              <a:gd name="connsiteY79" fmla="*/ 3178119 h 5920066"/>
              <a:gd name="connsiteX80" fmla="*/ 3442280 w 3442280"/>
              <a:gd name="connsiteY80" fmla="*/ 3203205 h 5920066"/>
              <a:gd name="connsiteX81" fmla="*/ 3442280 w 3442280"/>
              <a:gd name="connsiteY81" fmla="*/ 3407236 h 5920066"/>
              <a:gd name="connsiteX82" fmla="*/ 3442280 w 3442280"/>
              <a:gd name="connsiteY82" fmla="*/ 3448024 h 5920066"/>
              <a:gd name="connsiteX83" fmla="*/ 3442280 w 3442280"/>
              <a:gd name="connsiteY83" fmla="*/ 3452359 h 5920066"/>
              <a:gd name="connsiteX84" fmla="*/ 3442280 w 3442280"/>
              <a:gd name="connsiteY84" fmla="*/ 3470135 h 5920066"/>
              <a:gd name="connsiteX85" fmla="*/ 3442280 w 3442280"/>
              <a:gd name="connsiteY85" fmla="*/ 3722265 h 5920066"/>
              <a:gd name="connsiteX86" fmla="*/ 3442280 w 3442280"/>
              <a:gd name="connsiteY86" fmla="*/ 3739511 h 5920066"/>
              <a:gd name="connsiteX87" fmla="*/ 3442280 w 3442280"/>
              <a:gd name="connsiteY87" fmla="*/ 3744375 h 5920066"/>
              <a:gd name="connsiteX88" fmla="*/ 3442280 w 3442280"/>
              <a:gd name="connsiteY88" fmla="*/ 3831346 h 5920066"/>
              <a:gd name="connsiteX89" fmla="*/ 3442280 w 3442280"/>
              <a:gd name="connsiteY89" fmla="*/ 4013751 h 5920066"/>
              <a:gd name="connsiteX90" fmla="*/ 3442280 w 3442280"/>
              <a:gd name="connsiteY90" fmla="*/ 4053409 h 5920066"/>
              <a:gd name="connsiteX91" fmla="*/ 3442280 w 3442280"/>
              <a:gd name="connsiteY91" fmla="*/ 4105586 h 5920066"/>
              <a:gd name="connsiteX92" fmla="*/ 3442280 w 3442280"/>
              <a:gd name="connsiteY92" fmla="*/ 4217459 h 5920066"/>
              <a:gd name="connsiteX93" fmla="*/ 3442280 w 3442280"/>
              <a:gd name="connsiteY93" fmla="*/ 4327650 h 5920066"/>
              <a:gd name="connsiteX94" fmla="*/ 3442280 w 3442280"/>
              <a:gd name="connsiteY94" fmla="*/ 4390549 h 5920066"/>
              <a:gd name="connsiteX95" fmla="*/ 3442280 w 3442280"/>
              <a:gd name="connsiteY95" fmla="*/ 4491699 h 5920066"/>
              <a:gd name="connsiteX96" fmla="*/ 3442280 w 3442280"/>
              <a:gd name="connsiteY96" fmla="*/ 4629303 h 5920066"/>
              <a:gd name="connsiteX97" fmla="*/ 3442280 w 3442280"/>
              <a:gd name="connsiteY97" fmla="*/ 4664789 h 5920066"/>
              <a:gd name="connsiteX98" fmla="*/ 3442280 w 3442280"/>
              <a:gd name="connsiteY98" fmla="*/ 4751760 h 5920066"/>
              <a:gd name="connsiteX99" fmla="*/ 3442280 w 3442280"/>
              <a:gd name="connsiteY99" fmla="*/ 4903543 h 5920066"/>
              <a:gd name="connsiteX100" fmla="*/ 3442280 w 3442280"/>
              <a:gd name="connsiteY100" fmla="*/ 5026000 h 5920066"/>
              <a:gd name="connsiteX101" fmla="*/ 3442280 w 3442280"/>
              <a:gd name="connsiteY101" fmla="*/ 5137873 h 5920066"/>
              <a:gd name="connsiteX102" fmla="*/ 3442280 w 3442280"/>
              <a:gd name="connsiteY102" fmla="*/ 5412113 h 5920066"/>
              <a:gd name="connsiteX103" fmla="*/ 3442280 w 3442280"/>
              <a:gd name="connsiteY103" fmla="*/ 5549717 h 5920066"/>
              <a:gd name="connsiteX104" fmla="*/ 3442280 w 3442280"/>
              <a:gd name="connsiteY104" fmla="*/ 5823957 h 5920066"/>
              <a:gd name="connsiteX105" fmla="*/ 3361283 w 3442280"/>
              <a:gd name="connsiteY105" fmla="*/ 5918566 h 5920066"/>
              <a:gd name="connsiteX106" fmla="*/ 3346294 w 3442280"/>
              <a:gd name="connsiteY106" fmla="*/ 5920066 h 5920066"/>
              <a:gd name="connsiteX107" fmla="*/ 0 w 3442280"/>
              <a:gd name="connsiteY107" fmla="*/ 5920066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442280" h="5920066">
                <a:moveTo>
                  <a:pt x="0" y="0"/>
                </a:moveTo>
                <a:lnTo>
                  <a:pt x="3346283" y="0"/>
                </a:lnTo>
                <a:cubicBezTo>
                  <a:pt x="3442280" y="0"/>
                  <a:pt x="3442280" y="96110"/>
                  <a:pt x="3442280" y="96110"/>
                </a:cubicBezTo>
                <a:cubicBezTo>
                  <a:pt x="3442280" y="96110"/>
                  <a:pt x="3442280" y="96110"/>
                  <a:pt x="3442280" y="335165"/>
                </a:cubicBezTo>
                <a:lnTo>
                  <a:pt x="3442280" y="370350"/>
                </a:lnTo>
                <a:cubicBezTo>
                  <a:pt x="3442280" y="370350"/>
                  <a:pt x="3442280" y="370350"/>
                  <a:pt x="3442280" y="379204"/>
                </a:cubicBezTo>
                <a:lnTo>
                  <a:pt x="3442280" y="400048"/>
                </a:lnTo>
                <a:lnTo>
                  <a:pt x="3442280" y="400232"/>
                </a:lnTo>
                <a:cubicBezTo>
                  <a:pt x="3442280" y="415173"/>
                  <a:pt x="3442280" y="437585"/>
                  <a:pt x="3442280" y="471202"/>
                </a:cubicBezTo>
                <a:lnTo>
                  <a:pt x="3442280" y="475721"/>
                </a:lnTo>
                <a:lnTo>
                  <a:pt x="3442280" y="508692"/>
                </a:lnTo>
                <a:cubicBezTo>
                  <a:pt x="3442280" y="522527"/>
                  <a:pt x="3442280" y="537744"/>
                  <a:pt x="3442280" y="554484"/>
                </a:cubicBezTo>
                <a:lnTo>
                  <a:pt x="3442280" y="563015"/>
                </a:lnTo>
                <a:lnTo>
                  <a:pt x="3442280" y="609405"/>
                </a:lnTo>
                <a:lnTo>
                  <a:pt x="3442280" y="662759"/>
                </a:lnTo>
                <a:lnTo>
                  <a:pt x="3442280" y="674288"/>
                </a:lnTo>
                <a:cubicBezTo>
                  <a:pt x="3442280" y="697668"/>
                  <a:pt x="3442280" y="722846"/>
                  <a:pt x="3442280" y="749961"/>
                </a:cubicBezTo>
                <a:lnTo>
                  <a:pt x="3442280" y="775785"/>
                </a:lnTo>
                <a:lnTo>
                  <a:pt x="3442280" y="837255"/>
                </a:lnTo>
                <a:lnTo>
                  <a:pt x="3442280" y="902921"/>
                </a:lnTo>
                <a:lnTo>
                  <a:pt x="3442280" y="936999"/>
                </a:lnTo>
                <a:lnTo>
                  <a:pt x="3442280" y="1016524"/>
                </a:lnTo>
                <a:cubicBezTo>
                  <a:pt x="3442280" y="1016524"/>
                  <a:pt x="3442280" y="1016524"/>
                  <a:pt x="3442280" y="1029131"/>
                </a:cubicBezTo>
                <a:lnTo>
                  <a:pt x="3442280" y="1044999"/>
                </a:lnTo>
                <a:lnTo>
                  <a:pt x="3442280" y="1046406"/>
                </a:lnTo>
                <a:lnTo>
                  <a:pt x="3442280" y="1050025"/>
                </a:lnTo>
                <a:lnTo>
                  <a:pt x="3442280" y="1074887"/>
                </a:lnTo>
                <a:cubicBezTo>
                  <a:pt x="3442280" y="1098232"/>
                  <a:pt x="3442280" y="1130916"/>
                  <a:pt x="3442280" y="1176672"/>
                </a:cubicBezTo>
                <a:lnTo>
                  <a:pt x="3442280" y="1177161"/>
                </a:lnTo>
                <a:lnTo>
                  <a:pt x="3442280" y="1202847"/>
                </a:lnTo>
                <a:lnTo>
                  <a:pt x="3442280" y="1255579"/>
                </a:lnTo>
                <a:lnTo>
                  <a:pt x="3442280" y="1290764"/>
                </a:lnTo>
                <a:cubicBezTo>
                  <a:pt x="3442280" y="1290764"/>
                  <a:pt x="3442280" y="1290764"/>
                  <a:pt x="3442280" y="1299618"/>
                </a:cubicBezTo>
                <a:lnTo>
                  <a:pt x="3442280" y="1319239"/>
                </a:lnTo>
                <a:lnTo>
                  <a:pt x="3442280" y="1320462"/>
                </a:lnTo>
                <a:lnTo>
                  <a:pt x="3442280" y="1320646"/>
                </a:lnTo>
                <a:cubicBezTo>
                  <a:pt x="3442280" y="1328117"/>
                  <a:pt x="3442280" y="1337455"/>
                  <a:pt x="3442280" y="1349128"/>
                </a:cubicBezTo>
                <a:lnTo>
                  <a:pt x="3442280" y="1377296"/>
                </a:lnTo>
                <a:lnTo>
                  <a:pt x="3442280" y="1391616"/>
                </a:lnTo>
                <a:lnTo>
                  <a:pt x="3442280" y="1396135"/>
                </a:lnTo>
                <a:lnTo>
                  <a:pt x="3442280" y="1429106"/>
                </a:lnTo>
                <a:cubicBezTo>
                  <a:pt x="3442280" y="1442941"/>
                  <a:pt x="3442280" y="1458158"/>
                  <a:pt x="3442280" y="1474898"/>
                </a:cubicBezTo>
                <a:lnTo>
                  <a:pt x="3442280" y="1477087"/>
                </a:lnTo>
                <a:lnTo>
                  <a:pt x="3442280" y="1483429"/>
                </a:lnTo>
                <a:lnTo>
                  <a:pt x="3442280" y="1529819"/>
                </a:lnTo>
                <a:lnTo>
                  <a:pt x="3442280" y="1569177"/>
                </a:lnTo>
                <a:lnTo>
                  <a:pt x="3442280" y="1583173"/>
                </a:lnTo>
                <a:lnTo>
                  <a:pt x="3442280" y="1594702"/>
                </a:lnTo>
                <a:lnTo>
                  <a:pt x="3442280" y="1651536"/>
                </a:lnTo>
                <a:lnTo>
                  <a:pt x="3442280" y="1670375"/>
                </a:lnTo>
                <a:lnTo>
                  <a:pt x="3442280" y="1696199"/>
                </a:lnTo>
                <a:lnTo>
                  <a:pt x="3442280" y="1757669"/>
                </a:lnTo>
                <a:lnTo>
                  <a:pt x="3442280" y="1779318"/>
                </a:lnTo>
                <a:lnTo>
                  <a:pt x="3442280" y="1823335"/>
                </a:lnTo>
                <a:lnTo>
                  <a:pt x="3442280" y="1843417"/>
                </a:lnTo>
                <a:lnTo>
                  <a:pt x="3442280" y="1857413"/>
                </a:lnTo>
                <a:lnTo>
                  <a:pt x="3442280" y="1965413"/>
                </a:lnTo>
                <a:lnTo>
                  <a:pt x="3442280" y="1970439"/>
                </a:lnTo>
                <a:lnTo>
                  <a:pt x="3442280" y="2008551"/>
                </a:lnTo>
                <a:lnTo>
                  <a:pt x="3442280" y="2053558"/>
                </a:lnTo>
                <a:lnTo>
                  <a:pt x="3442280" y="2097575"/>
                </a:lnTo>
                <a:lnTo>
                  <a:pt x="3442280" y="2123261"/>
                </a:lnTo>
                <a:lnTo>
                  <a:pt x="3442280" y="2239653"/>
                </a:lnTo>
                <a:lnTo>
                  <a:pt x="3442280" y="2257705"/>
                </a:lnTo>
                <a:lnTo>
                  <a:pt x="3442280" y="2282791"/>
                </a:lnTo>
                <a:lnTo>
                  <a:pt x="3442280" y="2297710"/>
                </a:lnTo>
                <a:lnTo>
                  <a:pt x="3442280" y="2397501"/>
                </a:lnTo>
                <a:lnTo>
                  <a:pt x="3442280" y="2489591"/>
                </a:lnTo>
                <a:lnTo>
                  <a:pt x="3442280" y="2527610"/>
                </a:lnTo>
                <a:lnTo>
                  <a:pt x="3442280" y="2531945"/>
                </a:lnTo>
                <a:lnTo>
                  <a:pt x="3442280" y="2571950"/>
                </a:lnTo>
                <a:lnTo>
                  <a:pt x="3442280" y="2699732"/>
                </a:lnTo>
                <a:lnTo>
                  <a:pt x="3442280" y="2763831"/>
                </a:lnTo>
                <a:lnTo>
                  <a:pt x="3442280" y="2801851"/>
                </a:lnTo>
                <a:lnTo>
                  <a:pt x="3442280" y="2819097"/>
                </a:lnTo>
                <a:lnTo>
                  <a:pt x="3442280" y="2928965"/>
                </a:lnTo>
                <a:lnTo>
                  <a:pt x="3442280" y="2973972"/>
                </a:lnTo>
                <a:lnTo>
                  <a:pt x="3442280" y="3093337"/>
                </a:lnTo>
                <a:lnTo>
                  <a:pt x="3442280" y="3132995"/>
                </a:lnTo>
                <a:lnTo>
                  <a:pt x="3442280" y="3178119"/>
                </a:lnTo>
                <a:lnTo>
                  <a:pt x="3442280" y="3203205"/>
                </a:lnTo>
                <a:lnTo>
                  <a:pt x="3442280" y="3407236"/>
                </a:lnTo>
                <a:lnTo>
                  <a:pt x="3442280" y="3448024"/>
                </a:lnTo>
                <a:lnTo>
                  <a:pt x="3442280" y="3452359"/>
                </a:lnTo>
                <a:lnTo>
                  <a:pt x="3442280" y="3470135"/>
                </a:lnTo>
                <a:lnTo>
                  <a:pt x="3442280" y="3722265"/>
                </a:lnTo>
                <a:lnTo>
                  <a:pt x="3442280" y="3739511"/>
                </a:lnTo>
                <a:lnTo>
                  <a:pt x="3442280" y="3744375"/>
                </a:lnTo>
                <a:lnTo>
                  <a:pt x="3442280" y="3831346"/>
                </a:lnTo>
                <a:lnTo>
                  <a:pt x="3442280" y="4013751"/>
                </a:lnTo>
                <a:lnTo>
                  <a:pt x="3442280" y="4053409"/>
                </a:lnTo>
                <a:lnTo>
                  <a:pt x="3442280" y="4105586"/>
                </a:lnTo>
                <a:lnTo>
                  <a:pt x="3442280" y="4217459"/>
                </a:lnTo>
                <a:lnTo>
                  <a:pt x="3442280" y="4327650"/>
                </a:lnTo>
                <a:lnTo>
                  <a:pt x="3442280" y="4390549"/>
                </a:lnTo>
                <a:lnTo>
                  <a:pt x="3442280" y="4491699"/>
                </a:lnTo>
                <a:lnTo>
                  <a:pt x="3442280" y="4629303"/>
                </a:lnTo>
                <a:lnTo>
                  <a:pt x="3442280" y="4664789"/>
                </a:lnTo>
                <a:lnTo>
                  <a:pt x="3442280" y="4751760"/>
                </a:lnTo>
                <a:lnTo>
                  <a:pt x="3442280" y="4903543"/>
                </a:lnTo>
                <a:lnTo>
                  <a:pt x="3442280" y="5026000"/>
                </a:lnTo>
                <a:lnTo>
                  <a:pt x="3442280" y="5137873"/>
                </a:lnTo>
                <a:lnTo>
                  <a:pt x="3442280" y="5412113"/>
                </a:lnTo>
                <a:lnTo>
                  <a:pt x="3442280" y="5549717"/>
                </a:lnTo>
                <a:lnTo>
                  <a:pt x="3442280" y="5823957"/>
                </a:lnTo>
                <a:cubicBezTo>
                  <a:pt x="3442280" y="5896040"/>
                  <a:pt x="3388282" y="5914060"/>
                  <a:pt x="3361283" y="5918566"/>
                </a:cubicBezTo>
                <a:lnTo>
                  <a:pt x="3346294" y="5920066"/>
                </a:lnTo>
                <a:lnTo>
                  <a:pt x="0" y="5920066"/>
                </a:ln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59964" tIns="359964">
            <a:noAutofit/>
          </a:bodyPr>
          <a:lstStyle>
            <a:lvl1pPr algn="ctr">
              <a:defRPr sz="1400" b="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45576" y="280734"/>
            <a:ext cx="677862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977910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806" userDrawn="1">
          <p15:clr>
            <a:srgbClr val="FBAE40"/>
          </p15:clr>
        </p15:guide>
        <p15:guide id="2" pos="5322" userDrawn="1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696912" y="1201147"/>
            <a:ext cx="11199600" cy="4999652"/>
          </a:xfrm>
          <a:custGeom>
            <a:avLst/>
            <a:gdLst>
              <a:gd name="connsiteX0" fmla="*/ 95997 w 11199600"/>
              <a:gd name="connsiteY0" fmla="*/ 0 h 4999652"/>
              <a:gd name="connsiteX1" fmla="*/ 11103603 w 11199600"/>
              <a:gd name="connsiteY1" fmla="*/ 0 h 4999652"/>
              <a:gd name="connsiteX2" fmla="*/ 11199600 w 11199600"/>
              <a:gd name="connsiteY2" fmla="*/ 96110 h 4999652"/>
              <a:gd name="connsiteX3" fmla="*/ 11199600 w 11199600"/>
              <a:gd name="connsiteY3" fmla="*/ 335165 h 4999652"/>
              <a:gd name="connsiteX4" fmla="*/ 11199600 w 11199600"/>
              <a:gd name="connsiteY4" fmla="*/ 370350 h 4999652"/>
              <a:gd name="connsiteX5" fmla="*/ 11199600 w 11199600"/>
              <a:gd name="connsiteY5" fmla="*/ 379204 h 4999652"/>
              <a:gd name="connsiteX6" fmla="*/ 11199600 w 11199600"/>
              <a:gd name="connsiteY6" fmla="*/ 400048 h 4999652"/>
              <a:gd name="connsiteX7" fmla="*/ 11199600 w 11199600"/>
              <a:gd name="connsiteY7" fmla="*/ 400232 h 4999652"/>
              <a:gd name="connsiteX8" fmla="*/ 11199600 w 11199600"/>
              <a:gd name="connsiteY8" fmla="*/ 471202 h 4999652"/>
              <a:gd name="connsiteX9" fmla="*/ 11199600 w 11199600"/>
              <a:gd name="connsiteY9" fmla="*/ 475721 h 4999652"/>
              <a:gd name="connsiteX10" fmla="*/ 11199600 w 11199600"/>
              <a:gd name="connsiteY10" fmla="*/ 508692 h 4999652"/>
              <a:gd name="connsiteX11" fmla="*/ 11199600 w 11199600"/>
              <a:gd name="connsiteY11" fmla="*/ 554484 h 4999652"/>
              <a:gd name="connsiteX12" fmla="*/ 11199600 w 11199600"/>
              <a:gd name="connsiteY12" fmla="*/ 563015 h 4999652"/>
              <a:gd name="connsiteX13" fmla="*/ 11199600 w 11199600"/>
              <a:gd name="connsiteY13" fmla="*/ 609405 h 4999652"/>
              <a:gd name="connsiteX14" fmla="*/ 11199600 w 11199600"/>
              <a:gd name="connsiteY14" fmla="*/ 662759 h 4999652"/>
              <a:gd name="connsiteX15" fmla="*/ 11199600 w 11199600"/>
              <a:gd name="connsiteY15" fmla="*/ 674288 h 4999652"/>
              <a:gd name="connsiteX16" fmla="*/ 11199600 w 11199600"/>
              <a:gd name="connsiteY16" fmla="*/ 749961 h 4999652"/>
              <a:gd name="connsiteX17" fmla="*/ 11199600 w 11199600"/>
              <a:gd name="connsiteY17" fmla="*/ 775785 h 4999652"/>
              <a:gd name="connsiteX18" fmla="*/ 11199600 w 11199600"/>
              <a:gd name="connsiteY18" fmla="*/ 837255 h 4999652"/>
              <a:gd name="connsiteX19" fmla="*/ 11199600 w 11199600"/>
              <a:gd name="connsiteY19" fmla="*/ 902921 h 4999652"/>
              <a:gd name="connsiteX20" fmla="*/ 11199600 w 11199600"/>
              <a:gd name="connsiteY20" fmla="*/ 936999 h 4999652"/>
              <a:gd name="connsiteX21" fmla="*/ 11199600 w 11199600"/>
              <a:gd name="connsiteY21" fmla="*/ 1016524 h 4999652"/>
              <a:gd name="connsiteX22" fmla="*/ 11199600 w 11199600"/>
              <a:gd name="connsiteY22" fmla="*/ 1029131 h 4999652"/>
              <a:gd name="connsiteX23" fmla="*/ 11199600 w 11199600"/>
              <a:gd name="connsiteY23" fmla="*/ 1044999 h 4999652"/>
              <a:gd name="connsiteX24" fmla="*/ 11199600 w 11199600"/>
              <a:gd name="connsiteY24" fmla="*/ 1046406 h 4999652"/>
              <a:gd name="connsiteX25" fmla="*/ 11199600 w 11199600"/>
              <a:gd name="connsiteY25" fmla="*/ 1050025 h 4999652"/>
              <a:gd name="connsiteX26" fmla="*/ 11199600 w 11199600"/>
              <a:gd name="connsiteY26" fmla="*/ 1074887 h 4999652"/>
              <a:gd name="connsiteX27" fmla="*/ 11199600 w 11199600"/>
              <a:gd name="connsiteY27" fmla="*/ 1176672 h 4999652"/>
              <a:gd name="connsiteX28" fmla="*/ 11199600 w 11199600"/>
              <a:gd name="connsiteY28" fmla="*/ 1177161 h 4999652"/>
              <a:gd name="connsiteX29" fmla="*/ 11199600 w 11199600"/>
              <a:gd name="connsiteY29" fmla="*/ 1202847 h 4999652"/>
              <a:gd name="connsiteX30" fmla="*/ 11199600 w 11199600"/>
              <a:gd name="connsiteY30" fmla="*/ 1208224 h 4999652"/>
              <a:gd name="connsiteX31" fmla="*/ 11199600 w 11199600"/>
              <a:gd name="connsiteY31" fmla="*/ 1255579 h 4999652"/>
              <a:gd name="connsiteX32" fmla="*/ 11199600 w 11199600"/>
              <a:gd name="connsiteY32" fmla="*/ 1290764 h 4999652"/>
              <a:gd name="connsiteX33" fmla="*/ 11199600 w 11199600"/>
              <a:gd name="connsiteY33" fmla="*/ 1299618 h 4999652"/>
              <a:gd name="connsiteX34" fmla="*/ 11199600 w 11199600"/>
              <a:gd name="connsiteY34" fmla="*/ 1319238 h 4999652"/>
              <a:gd name="connsiteX35" fmla="*/ 11199600 w 11199600"/>
              <a:gd name="connsiteY35" fmla="*/ 1319239 h 4999652"/>
              <a:gd name="connsiteX36" fmla="*/ 11199600 w 11199600"/>
              <a:gd name="connsiteY36" fmla="*/ 1320462 h 4999652"/>
              <a:gd name="connsiteX37" fmla="*/ 11199600 w 11199600"/>
              <a:gd name="connsiteY37" fmla="*/ 1320646 h 4999652"/>
              <a:gd name="connsiteX38" fmla="*/ 11199600 w 11199600"/>
              <a:gd name="connsiteY38" fmla="*/ 1337290 h 4999652"/>
              <a:gd name="connsiteX39" fmla="*/ 11199600 w 11199600"/>
              <a:gd name="connsiteY39" fmla="*/ 1349128 h 4999652"/>
              <a:gd name="connsiteX40" fmla="*/ 11199600 w 11199600"/>
              <a:gd name="connsiteY40" fmla="*/ 1362376 h 4999652"/>
              <a:gd name="connsiteX41" fmla="*/ 11199600 w 11199600"/>
              <a:gd name="connsiteY41" fmla="*/ 1377295 h 4999652"/>
              <a:gd name="connsiteX42" fmla="*/ 11199600 w 11199600"/>
              <a:gd name="connsiteY42" fmla="*/ 1377296 h 4999652"/>
              <a:gd name="connsiteX43" fmla="*/ 11199600 w 11199600"/>
              <a:gd name="connsiteY43" fmla="*/ 1391616 h 4999652"/>
              <a:gd name="connsiteX44" fmla="*/ 11199600 w 11199600"/>
              <a:gd name="connsiteY44" fmla="*/ 1396135 h 4999652"/>
              <a:gd name="connsiteX45" fmla="*/ 11199600 w 11199600"/>
              <a:gd name="connsiteY45" fmla="*/ 1429106 h 4999652"/>
              <a:gd name="connsiteX46" fmla="*/ 11199600 w 11199600"/>
              <a:gd name="connsiteY46" fmla="*/ 1474898 h 4999652"/>
              <a:gd name="connsiteX47" fmla="*/ 11199600 w 11199600"/>
              <a:gd name="connsiteY47" fmla="*/ 1477086 h 4999652"/>
              <a:gd name="connsiteX48" fmla="*/ 11199600 w 11199600"/>
              <a:gd name="connsiteY48" fmla="*/ 1477087 h 4999652"/>
              <a:gd name="connsiteX49" fmla="*/ 11199600 w 11199600"/>
              <a:gd name="connsiteY49" fmla="*/ 1483429 h 4999652"/>
              <a:gd name="connsiteX50" fmla="*/ 11199600 w 11199600"/>
              <a:gd name="connsiteY50" fmla="*/ 1529819 h 4999652"/>
              <a:gd name="connsiteX51" fmla="*/ 11199600 w 11199600"/>
              <a:gd name="connsiteY51" fmla="*/ 1569176 h 4999652"/>
              <a:gd name="connsiteX52" fmla="*/ 11199600 w 11199600"/>
              <a:gd name="connsiteY52" fmla="*/ 1569177 h 4999652"/>
              <a:gd name="connsiteX53" fmla="*/ 11199600 w 11199600"/>
              <a:gd name="connsiteY53" fmla="*/ 1583173 h 4999652"/>
              <a:gd name="connsiteX54" fmla="*/ 11199600 w 11199600"/>
              <a:gd name="connsiteY54" fmla="*/ 1594702 h 4999652"/>
              <a:gd name="connsiteX55" fmla="*/ 11199600 w 11199600"/>
              <a:gd name="connsiteY55" fmla="*/ 1607195 h 4999652"/>
              <a:gd name="connsiteX56" fmla="*/ 11199600 w 11199600"/>
              <a:gd name="connsiteY56" fmla="*/ 1611530 h 4999652"/>
              <a:gd name="connsiteX57" fmla="*/ 11199600 w 11199600"/>
              <a:gd name="connsiteY57" fmla="*/ 1651535 h 4999652"/>
              <a:gd name="connsiteX58" fmla="*/ 11199600 w 11199600"/>
              <a:gd name="connsiteY58" fmla="*/ 1651536 h 4999652"/>
              <a:gd name="connsiteX59" fmla="*/ 11199600 w 11199600"/>
              <a:gd name="connsiteY59" fmla="*/ 1670375 h 4999652"/>
              <a:gd name="connsiteX60" fmla="*/ 11199600 w 11199600"/>
              <a:gd name="connsiteY60" fmla="*/ 1696199 h 4999652"/>
              <a:gd name="connsiteX61" fmla="*/ 11199600 w 11199600"/>
              <a:gd name="connsiteY61" fmla="*/ 1757669 h 4999652"/>
              <a:gd name="connsiteX62" fmla="*/ 11199600 w 11199600"/>
              <a:gd name="connsiteY62" fmla="*/ 1779317 h 4999652"/>
              <a:gd name="connsiteX63" fmla="*/ 11199600 w 11199600"/>
              <a:gd name="connsiteY63" fmla="*/ 1779318 h 4999652"/>
              <a:gd name="connsiteX64" fmla="*/ 11199600 w 11199600"/>
              <a:gd name="connsiteY64" fmla="*/ 1823335 h 4999652"/>
              <a:gd name="connsiteX65" fmla="*/ 11199600 w 11199600"/>
              <a:gd name="connsiteY65" fmla="*/ 1843416 h 4999652"/>
              <a:gd name="connsiteX66" fmla="*/ 11199600 w 11199600"/>
              <a:gd name="connsiteY66" fmla="*/ 1843417 h 4999652"/>
              <a:gd name="connsiteX67" fmla="*/ 11199600 w 11199600"/>
              <a:gd name="connsiteY67" fmla="*/ 1857413 h 4999652"/>
              <a:gd name="connsiteX68" fmla="*/ 11199600 w 11199600"/>
              <a:gd name="connsiteY68" fmla="*/ 1881436 h 4999652"/>
              <a:gd name="connsiteX69" fmla="*/ 11199600 w 11199600"/>
              <a:gd name="connsiteY69" fmla="*/ 1898682 h 4999652"/>
              <a:gd name="connsiteX70" fmla="*/ 11199600 w 11199600"/>
              <a:gd name="connsiteY70" fmla="*/ 1965413 h 4999652"/>
              <a:gd name="connsiteX71" fmla="*/ 11199600 w 11199600"/>
              <a:gd name="connsiteY71" fmla="*/ 1970439 h 4999652"/>
              <a:gd name="connsiteX72" fmla="*/ 11199600 w 11199600"/>
              <a:gd name="connsiteY72" fmla="*/ 2008550 h 4999652"/>
              <a:gd name="connsiteX73" fmla="*/ 11199600 w 11199600"/>
              <a:gd name="connsiteY73" fmla="*/ 2008551 h 4999652"/>
              <a:gd name="connsiteX74" fmla="*/ 11199600 w 11199600"/>
              <a:gd name="connsiteY74" fmla="*/ 2053557 h 4999652"/>
              <a:gd name="connsiteX75" fmla="*/ 11199600 w 11199600"/>
              <a:gd name="connsiteY75" fmla="*/ 2053558 h 4999652"/>
              <a:gd name="connsiteX76" fmla="*/ 11199600 w 11199600"/>
              <a:gd name="connsiteY76" fmla="*/ 2097575 h 4999652"/>
              <a:gd name="connsiteX77" fmla="*/ 11199600 w 11199600"/>
              <a:gd name="connsiteY77" fmla="*/ 2123261 h 4999652"/>
              <a:gd name="connsiteX78" fmla="*/ 11199600 w 11199600"/>
              <a:gd name="connsiteY78" fmla="*/ 2172922 h 4999652"/>
              <a:gd name="connsiteX79" fmla="*/ 11199600 w 11199600"/>
              <a:gd name="connsiteY79" fmla="*/ 2212580 h 4999652"/>
              <a:gd name="connsiteX80" fmla="*/ 11199600 w 11199600"/>
              <a:gd name="connsiteY80" fmla="*/ 2239653 h 4999652"/>
              <a:gd name="connsiteX81" fmla="*/ 11199600 w 11199600"/>
              <a:gd name="connsiteY81" fmla="*/ 2257704 h 4999652"/>
              <a:gd name="connsiteX82" fmla="*/ 11199600 w 11199600"/>
              <a:gd name="connsiteY82" fmla="*/ 2257705 h 4999652"/>
              <a:gd name="connsiteX83" fmla="*/ 11199600 w 11199600"/>
              <a:gd name="connsiteY83" fmla="*/ 2282790 h 4999652"/>
              <a:gd name="connsiteX84" fmla="*/ 11199600 w 11199600"/>
              <a:gd name="connsiteY84" fmla="*/ 2282791 h 4999652"/>
              <a:gd name="connsiteX85" fmla="*/ 11199600 w 11199600"/>
              <a:gd name="connsiteY85" fmla="*/ 2297710 h 4999652"/>
              <a:gd name="connsiteX86" fmla="*/ 11199600 w 11199600"/>
              <a:gd name="connsiteY86" fmla="*/ 2397501 h 4999652"/>
              <a:gd name="connsiteX87" fmla="*/ 11199600 w 11199600"/>
              <a:gd name="connsiteY87" fmla="*/ 2486821 h 4999652"/>
              <a:gd name="connsiteX88" fmla="*/ 11199600 w 11199600"/>
              <a:gd name="connsiteY88" fmla="*/ 2489591 h 4999652"/>
              <a:gd name="connsiteX89" fmla="*/ 11199600 w 11199600"/>
              <a:gd name="connsiteY89" fmla="*/ 2527609 h 4999652"/>
              <a:gd name="connsiteX90" fmla="*/ 11199600 w 11199600"/>
              <a:gd name="connsiteY90" fmla="*/ 2527610 h 4999652"/>
              <a:gd name="connsiteX91" fmla="*/ 11199600 w 11199600"/>
              <a:gd name="connsiteY91" fmla="*/ 2531944 h 4999652"/>
              <a:gd name="connsiteX92" fmla="*/ 11199600 w 11199600"/>
              <a:gd name="connsiteY92" fmla="*/ 2531945 h 4999652"/>
              <a:gd name="connsiteX93" fmla="*/ 11199600 w 11199600"/>
              <a:gd name="connsiteY93" fmla="*/ 2549720 h 4999652"/>
              <a:gd name="connsiteX94" fmla="*/ 11199600 w 11199600"/>
              <a:gd name="connsiteY94" fmla="*/ 2571950 h 4999652"/>
              <a:gd name="connsiteX95" fmla="*/ 11199600 w 11199600"/>
              <a:gd name="connsiteY95" fmla="*/ 2699732 h 4999652"/>
              <a:gd name="connsiteX96" fmla="*/ 11199600 w 11199600"/>
              <a:gd name="connsiteY96" fmla="*/ 2763831 h 4999652"/>
              <a:gd name="connsiteX97" fmla="*/ 11199600 w 11199600"/>
              <a:gd name="connsiteY97" fmla="*/ 2790282 h 4999652"/>
              <a:gd name="connsiteX98" fmla="*/ 11199600 w 11199600"/>
              <a:gd name="connsiteY98" fmla="*/ 2801850 h 4999652"/>
              <a:gd name="connsiteX99" fmla="*/ 11199600 w 11199600"/>
              <a:gd name="connsiteY99" fmla="*/ 2819096 h 4999652"/>
              <a:gd name="connsiteX100" fmla="*/ 11199600 w 11199600"/>
              <a:gd name="connsiteY100" fmla="*/ 2823960 h 4999652"/>
              <a:gd name="connsiteX101" fmla="*/ 11199600 w 11199600"/>
              <a:gd name="connsiteY101" fmla="*/ 2910931 h 4999652"/>
              <a:gd name="connsiteX102" fmla="*/ 11199600 w 11199600"/>
              <a:gd name="connsiteY102" fmla="*/ 3093336 h 4999652"/>
              <a:gd name="connsiteX103" fmla="*/ 11199600 w 11199600"/>
              <a:gd name="connsiteY103" fmla="*/ 3132994 h 4999652"/>
              <a:gd name="connsiteX104" fmla="*/ 11199600 w 11199600"/>
              <a:gd name="connsiteY104" fmla="*/ 3185171 h 4999652"/>
              <a:gd name="connsiteX105" fmla="*/ 11199600 w 11199600"/>
              <a:gd name="connsiteY105" fmla="*/ 3297044 h 4999652"/>
              <a:gd name="connsiteX106" fmla="*/ 11199600 w 11199600"/>
              <a:gd name="connsiteY106" fmla="*/ 3407235 h 4999652"/>
              <a:gd name="connsiteX107" fmla="*/ 11199600 w 11199600"/>
              <a:gd name="connsiteY107" fmla="*/ 3470134 h 4999652"/>
              <a:gd name="connsiteX108" fmla="*/ 11199600 w 11199600"/>
              <a:gd name="connsiteY108" fmla="*/ 3571284 h 4999652"/>
              <a:gd name="connsiteX109" fmla="*/ 11199600 w 11199600"/>
              <a:gd name="connsiteY109" fmla="*/ 3708888 h 4999652"/>
              <a:gd name="connsiteX110" fmla="*/ 11199600 w 11199600"/>
              <a:gd name="connsiteY110" fmla="*/ 3744374 h 4999652"/>
              <a:gd name="connsiteX111" fmla="*/ 11199600 w 11199600"/>
              <a:gd name="connsiteY111" fmla="*/ 3831345 h 4999652"/>
              <a:gd name="connsiteX112" fmla="*/ 11199600 w 11199600"/>
              <a:gd name="connsiteY112" fmla="*/ 3983128 h 4999652"/>
              <a:gd name="connsiteX113" fmla="*/ 11199600 w 11199600"/>
              <a:gd name="connsiteY113" fmla="*/ 4105585 h 4999652"/>
              <a:gd name="connsiteX114" fmla="*/ 11199600 w 11199600"/>
              <a:gd name="connsiteY114" fmla="*/ 4217458 h 4999652"/>
              <a:gd name="connsiteX115" fmla="*/ 11199600 w 11199600"/>
              <a:gd name="connsiteY115" fmla="*/ 4491698 h 4999652"/>
              <a:gd name="connsiteX116" fmla="*/ 11199600 w 11199600"/>
              <a:gd name="connsiteY116" fmla="*/ 4629302 h 4999652"/>
              <a:gd name="connsiteX117" fmla="*/ 11199600 w 11199600"/>
              <a:gd name="connsiteY117" fmla="*/ 4903542 h 4999652"/>
              <a:gd name="connsiteX118" fmla="*/ 11103603 w 11199600"/>
              <a:gd name="connsiteY118" fmla="*/ 4999652 h 4999652"/>
              <a:gd name="connsiteX119" fmla="*/ 95997 w 11199600"/>
              <a:gd name="connsiteY119" fmla="*/ 4999652 h 4999652"/>
              <a:gd name="connsiteX120" fmla="*/ 0 w 11199600"/>
              <a:gd name="connsiteY120" fmla="*/ 4903542 h 4999652"/>
              <a:gd name="connsiteX121" fmla="*/ 0 w 11199600"/>
              <a:gd name="connsiteY121" fmla="*/ 4899807 h 4999652"/>
              <a:gd name="connsiteX122" fmla="*/ 0 w 11199600"/>
              <a:gd name="connsiteY122" fmla="*/ 4890936 h 4999652"/>
              <a:gd name="connsiteX123" fmla="*/ 0 w 11199600"/>
              <a:gd name="connsiteY123" fmla="*/ 4873660 h 4999652"/>
              <a:gd name="connsiteX124" fmla="*/ 0 w 11199600"/>
              <a:gd name="connsiteY124" fmla="*/ 4845179 h 4999652"/>
              <a:gd name="connsiteX125" fmla="*/ 0 w 11199600"/>
              <a:gd name="connsiteY125" fmla="*/ 4802691 h 4999652"/>
              <a:gd name="connsiteX126" fmla="*/ 0 w 11199600"/>
              <a:gd name="connsiteY126" fmla="*/ 4743394 h 4999652"/>
              <a:gd name="connsiteX127" fmla="*/ 0 w 11199600"/>
              <a:gd name="connsiteY127" fmla="*/ 4664487 h 4999652"/>
              <a:gd name="connsiteX128" fmla="*/ 0 w 11199600"/>
              <a:gd name="connsiteY128" fmla="*/ 4629302 h 4999652"/>
              <a:gd name="connsiteX129" fmla="*/ 0 w 11199600"/>
              <a:gd name="connsiteY129" fmla="*/ 4628196 h 4999652"/>
              <a:gd name="connsiteX130" fmla="*/ 0 w 11199600"/>
              <a:gd name="connsiteY130" fmla="*/ 4620448 h 4999652"/>
              <a:gd name="connsiteX131" fmla="*/ 0 w 11199600"/>
              <a:gd name="connsiteY131" fmla="*/ 4599605 h 4999652"/>
              <a:gd name="connsiteX132" fmla="*/ 0 w 11199600"/>
              <a:gd name="connsiteY132" fmla="*/ 4599420 h 4999652"/>
              <a:gd name="connsiteX133" fmla="*/ 0 w 11199600"/>
              <a:gd name="connsiteY133" fmla="*/ 4558471 h 4999652"/>
              <a:gd name="connsiteX134" fmla="*/ 0 w 11199600"/>
              <a:gd name="connsiteY134" fmla="*/ 4528451 h 4999652"/>
              <a:gd name="connsiteX135" fmla="*/ 0 w 11199600"/>
              <a:gd name="connsiteY135" fmla="*/ 4523932 h 4999652"/>
              <a:gd name="connsiteX136" fmla="*/ 0 w 11199600"/>
              <a:gd name="connsiteY136" fmla="*/ 4490960 h 4999652"/>
              <a:gd name="connsiteX137" fmla="*/ 0 w 11199600"/>
              <a:gd name="connsiteY137" fmla="*/ 4445169 h 4999652"/>
              <a:gd name="connsiteX138" fmla="*/ 0 w 11199600"/>
              <a:gd name="connsiteY138" fmla="*/ 4436638 h 4999652"/>
              <a:gd name="connsiteX139" fmla="*/ 0 w 11199600"/>
              <a:gd name="connsiteY139" fmla="*/ 4390247 h 4999652"/>
              <a:gd name="connsiteX140" fmla="*/ 0 w 11199600"/>
              <a:gd name="connsiteY140" fmla="*/ 4336893 h 4999652"/>
              <a:gd name="connsiteX141" fmla="*/ 0 w 11199600"/>
              <a:gd name="connsiteY141" fmla="*/ 4325365 h 4999652"/>
              <a:gd name="connsiteX142" fmla="*/ 0 w 11199600"/>
              <a:gd name="connsiteY142" fmla="*/ 4249692 h 4999652"/>
              <a:gd name="connsiteX143" fmla="*/ 0 w 11199600"/>
              <a:gd name="connsiteY143" fmla="*/ 4223868 h 4999652"/>
              <a:gd name="connsiteX144" fmla="*/ 0 w 11199600"/>
              <a:gd name="connsiteY144" fmla="*/ 4162398 h 4999652"/>
              <a:gd name="connsiteX145" fmla="*/ 0 w 11199600"/>
              <a:gd name="connsiteY145" fmla="*/ 4096731 h 4999652"/>
              <a:gd name="connsiteX146" fmla="*/ 0 w 11199600"/>
              <a:gd name="connsiteY146" fmla="*/ 4062653 h 4999652"/>
              <a:gd name="connsiteX147" fmla="*/ 0 w 11199600"/>
              <a:gd name="connsiteY147" fmla="*/ 3983128 h 4999652"/>
              <a:gd name="connsiteX148" fmla="*/ 0 w 11199600"/>
              <a:gd name="connsiteY148" fmla="*/ 3979393 h 4999652"/>
              <a:gd name="connsiteX149" fmla="*/ 0 w 11199600"/>
              <a:gd name="connsiteY149" fmla="*/ 3970522 h 4999652"/>
              <a:gd name="connsiteX150" fmla="*/ 0 w 11199600"/>
              <a:gd name="connsiteY150" fmla="*/ 3954654 h 4999652"/>
              <a:gd name="connsiteX151" fmla="*/ 0 w 11199600"/>
              <a:gd name="connsiteY151" fmla="*/ 3953246 h 4999652"/>
              <a:gd name="connsiteX152" fmla="*/ 0 w 11199600"/>
              <a:gd name="connsiteY152" fmla="*/ 3949628 h 4999652"/>
              <a:gd name="connsiteX153" fmla="*/ 0 w 11199600"/>
              <a:gd name="connsiteY153" fmla="*/ 3924765 h 4999652"/>
              <a:gd name="connsiteX154" fmla="*/ 0 w 11199600"/>
              <a:gd name="connsiteY154" fmla="*/ 3882277 h 4999652"/>
              <a:gd name="connsiteX155" fmla="*/ 0 w 11199600"/>
              <a:gd name="connsiteY155" fmla="*/ 3822980 h 4999652"/>
              <a:gd name="connsiteX156" fmla="*/ 0 w 11199600"/>
              <a:gd name="connsiteY156" fmla="*/ 3822491 h 4999652"/>
              <a:gd name="connsiteX157" fmla="*/ 0 w 11199600"/>
              <a:gd name="connsiteY157" fmla="*/ 3796806 h 4999652"/>
              <a:gd name="connsiteX158" fmla="*/ 0 w 11199600"/>
              <a:gd name="connsiteY158" fmla="*/ 3744073 h 4999652"/>
              <a:gd name="connsiteX159" fmla="*/ 0 w 11199600"/>
              <a:gd name="connsiteY159" fmla="*/ 3708888 h 4999652"/>
              <a:gd name="connsiteX160" fmla="*/ 0 w 11199600"/>
              <a:gd name="connsiteY160" fmla="*/ 3707782 h 4999652"/>
              <a:gd name="connsiteX161" fmla="*/ 0 w 11199600"/>
              <a:gd name="connsiteY161" fmla="*/ 3700034 h 4999652"/>
              <a:gd name="connsiteX162" fmla="*/ 0 w 11199600"/>
              <a:gd name="connsiteY162" fmla="*/ 3680414 h 4999652"/>
              <a:gd name="connsiteX163" fmla="*/ 0 w 11199600"/>
              <a:gd name="connsiteY163" fmla="*/ 3679191 h 4999652"/>
              <a:gd name="connsiteX164" fmla="*/ 0 w 11199600"/>
              <a:gd name="connsiteY164" fmla="*/ 3679006 h 4999652"/>
              <a:gd name="connsiteX165" fmla="*/ 0 w 11199600"/>
              <a:gd name="connsiteY165" fmla="*/ 3638057 h 4999652"/>
              <a:gd name="connsiteX166" fmla="*/ 0 w 11199600"/>
              <a:gd name="connsiteY166" fmla="*/ 3622356 h 4999652"/>
              <a:gd name="connsiteX167" fmla="*/ 0 w 11199600"/>
              <a:gd name="connsiteY167" fmla="*/ 3608037 h 4999652"/>
              <a:gd name="connsiteX168" fmla="*/ 0 w 11199600"/>
              <a:gd name="connsiteY168" fmla="*/ 3603518 h 4999652"/>
              <a:gd name="connsiteX169" fmla="*/ 0 w 11199600"/>
              <a:gd name="connsiteY169" fmla="*/ 3570546 h 4999652"/>
              <a:gd name="connsiteX170" fmla="*/ 0 w 11199600"/>
              <a:gd name="connsiteY170" fmla="*/ 3524755 h 4999652"/>
              <a:gd name="connsiteX171" fmla="*/ 0 w 11199600"/>
              <a:gd name="connsiteY171" fmla="*/ 3522566 h 4999652"/>
              <a:gd name="connsiteX172" fmla="*/ 0 w 11199600"/>
              <a:gd name="connsiteY172" fmla="*/ 3516224 h 4999652"/>
              <a:gd name="connsiteX173" fmla="*/ 0 w 11199600"/>
              <a:gd name="connsiteY173" fmla="*/ 3469833 h 4999652"/>
              <a:gd name="connsiteX174" fmla="*/ 0 w 11199600"/>
              <a:gd name="connsiteY174" fmla="*/ 3430476 h 4999652"/>
              <a:gd name="connsiteX175" fmla="*/ 0 w 11199600"/>
              <a:gd name="connsiteY175" fmla="*/ 3416479 h 4999652"/>
              <a:gd name="connsiteX176" fmla="*/ 0 w 11199600"/>
              <a:gd name="connsiteY176" fmla="*/ 3404951 h 4999652"/>
              <a:gd name="connsiteX177" fmla="*/ 0 w 11199600"/>
              <a:gd name="connsiteY177" fmla="*/ 3348116 h 4999652"/>
              <a:gd name="connsiteX178" fmla="*/ 0 w 11199600"/>
              <a:gd name="connsiteY178" fmla="*/ 3329278 h 4999652"/>
              <a:gd name="connsiteX179" fmla="*/ 0 w 11199600"/>
              <a:gd name="connsiteY179" fmla="*/ 3303454 h 4999652"/>
              <a:gd name="connsiteX180" fmla="*/ 0 w 11199600"/>
              <a:gd name="connsiteY180" fmla="*/ 3241984 h 4999652"/>
              <a:gd name="connsiteX181" fmla="*/ 0 w 11199600"/>
              <a:gd name="connsiteY181" fmla="*/ 3220334 h 4999652"/>
              <a:gd name="connsiteX182" fmla="*/ 0 w 11199600"/>
              <a:gd name="connsiteY182" fmla="*/ 3176317 h 4999652"/>
              <a:gd name="connsiteX183" fmla="*/ 0 w 11199600"/>
              <a:gd name="connsiteY183" fmla="*/ 3156236 h 4999652"/>
              <a:gd name="connsiteX184" fmla="*/ 0 w 11199600"/>
              <a:gd name="connsiteY184" fmla="*/ 3142239 h 4999652"/>
              <a:gd name="connsiteX185" fmla="*/ 0 w 11199600"/>
              <a:gd name="connsiteY185" fmla="*/ 3034240 h 4999652"/>
              <a:gd name="connsiteX186" fmla="*/ 0 w 11199600"/>
              <a:gd name="connsiteY186" fmla="*/ 3029214 h 4999652"/>
              <a:gd name="connsiteX187" fmla="*/ 0 w 11199600"/>
              <a:gd name="connsiteY187" fmla="*/ 2991101 h 4999652"/>
              <a:gd name="connsiteX188" fmla="*/ 0 w 11199600"/>
              <a:gd name="connsiteY188" fmla="*/ 2946094 h 4999652"/>
              <a:gd name="connsiteX189" fmla="*/ 0 w 11199600"/>
              <a:gd name="connsiteY189" fmla="*/ 2902077 h 4999652"/>
              <a:gd name="connsiteX190" fmla="*/ 0 w 11199600"/>
              <a:gd name="connsiteY190" fmla="*/ 2876392 h 4999652"/>
              <a:gd name="connsiteX191" fmla="*/ 0 w 11199600"/>
              <a:gd name="connsiteY191" fmla="*/ 2790282 h 4999652"/>
              <a:gd name="connsiteX192" fmla="*/ 0 w 11199600"/>
              <a:gd name="connsiteY192" fmla="*/ 2787072 h 4999652"/>
              <a:gd name="connsiteX193" fmla="*/ 0 w 11199600"/>
              <a:gd name="connsiteY193" fmla="*/ 2760000 h 4999652"/>
              <a:gd name="connsiteX194" fmla="*/ 0 w 11199600"/>
              <a:gd name="connsiteY194" fmla="*/ 2741948 h 4999652"/>
              <a:gd name="connsiteX195" fmla="*/ 0 w 11199600"/>
              <a:gd name="connsiteY195" fmla="*/ 2741947 h 4999652"/>
              <a:gd name="connsiteX196" fmla="*/ 0 w 11199600"/>
              <a:gd name="connsiteY196" fmla="*/ 2716862 h 4999652"/>
              <a:gd name="connsiteX197" fmla="*/ 0 w 11199600"/>
              <a:gd name="connsiteY197" fmla="*/ 2716861 h 4999652"/>
              <a:gd name="connsiteX198" fmla="*/ 0 w 11199600"/>
              <a:gd name="connsiteY198" fmla="*/ 2701942 h 4999652"/>
              <a:gd name="connsiteX199" fmla="*/ 0 w 11199600"/>
              <a:gd name="connsiteY199" fmla="*/ 2602152 h 4999652"/>
              <a:gd name="connsiteX200" fmla="*/ 0 w 11199600"/>
              <a:gd name="connsiteY200" fmla="*/ 2512832 h 4999652"/>
              <a:gd name="connsiteX201" fmla="*/ 0 w 11199600"/>
              <a:gd name="connsiteY201" fmla="*/ 2510062 h 4999652"/>
              <a:gd name="connsiteX202" fmla="*/ 0 w 11199600"/>
              <a:gd name="connsiteY202" fmla="*/ 2472043 h 4999652"/>
              <a:gd name="connsiteX203" fmla="*/ 0 w 11199600"/>
              <a:gd name="connsiteY203" fmla="*/ 2472042 h 4999652"/>
              <a:gd name="connsiteX204" fmla="*/ 0 w 11199600"/>
              <a:gd name="connsiteY204" fmla="*/ 2467708 h 4999652"/>
              <a:gd name="connsiteX205" fmla="*/ 0 w 11199600"/>
              <a:gd name="connsiteY205" fmla="*/ 2467707 h 4999652"/>
              <a:gd name="connsiteX206" fmla="*/ 0 w 11199600"/>
              <a:gd name="connsiteY206" fmla="*/ 2449933 h 4999652"/>
              <a:gd name="connsiteX207" fmla="*/ 0 w 11199600"/>
              <a:gd name="connsiteY207" fmla="*/ 2427702 h 4999652"/>
              <a:gd name="connsiteX208" fmla="*/ 0 w 11199600"/>
              <a:gd name="connsiteY208" fmla="*/ 2299920 h 4999652"/>
              <a:gd name="connsiteX209" fmla="*/ 0 w 11199600"/>
              <a:gd name="connsiteY209" fmla="*/ 2235822 h 4999652"/>
              <a:gd name="connsiteX210" fmla="*/ 0 w 11199600"/>
              <a:gd name="connsiteY210" fmla="*/ 2197803 h 4999652"/>
              <a:gd name="connsiteX211" fmla="*/ 0 w 11199600"/>
              <a:gd name="connsiteY211" fmla="*/ 2197802 h 4999652"/>
              <a:gd name="connsiteX212" fmla="*/ 0 w 11199600"/>
              <a:gd name="connsiteY212" fmla="*/ 2180556 h 4999652"/>
              <a:gd name="connsiteX213" fmla="*/ 0 w 11199600"/>
              <a:gd name="connsiteY213" fmla="*/ 2180555 h 4999652"/>
              <a:gd name="connsiteX214" fmla="*/ 0 w 11199600"/>
              <a:gd name="connsiteY214" fmla="*/ 2175692 h 4999652"/>
              <a:gd name="connsiteX215" fmla="*/ 0 w 11199600"/>
              <a:gd name="connsiteY215" fmla="*/ 2088721 h 4999652"/>
              <a:gd name="connsiteX216" fmla="*/ 0 w 11199600"/>
              <a:gd name="connsiteY216" fmla="*/ 2070687 h 4999652"/>
              <a:gd name="connsiteX217" fmla="*/ 0 w 11199600"/>
              <a:gd name="connsiteY217" fmla="*/ 2025680 h 4999652"/>
              <a:gd name="connsiteX218" fmla="*/ 0 w 11199600"/>
              <a:gd name="connsiteY218" fmla="*/ 1906316 h 4999652"/>
              <a:gd name="connsiteX219" fmla="*/ 0 w 11199600"/>
              <a:gd name="connsiteY219" fmla="*/ 1906315 h 4999652"/>
              <a:gd name="connsiteX220" fmla="*/ 0 w 11199600"/>
              <a:gd name="connsiteY220" fmla="*/ 1866658 h 4999652"/>
              <a:gd name="connsiteX221" fmla="*/ 0 w 11199600"/>
              <a:gd name="connsiteY221" fmla="*/ 1866657 h 4999652"/>
              <a:gd name="connsiteX222" fmla="*/ 0 w 11199600"/>
              <a:gd name="connsiteY222" fmla="*/ 1821533 h 4999652"/>
              <a:gd name="connsiteX223" fmla="*/ 0 w 11199600"/>
              <a:gd name="connsiteY223" fmla="*/ 1814481 h 4999652"/>
              <a:gd name="connsiteX224" fmla="*/ 0 w 11199600"/>
              <a:gd name="connsiteY224" fmla="*/ 1796447 h 4999652"/>
              <a:gd name="connsiteX225" fmla="*/ 0 w 11199600"/>
              <a:gd name="connsiteY225" fmla="*/ 1702609 h 4999652"/>
              <a:gd name="connsiteX226" fmla="*/ 0 w 11199600"/>
              <a:gd name="connsiteY226" fmla="*/ 1592418 h 4999652"/>
              <a:gd name="connsiteX227" fmla="*/ 0 w 11199600"/>
              <a:gd name="connsiteY227" fmla="*/ 1592417 h 4999652"/>
              <a:gd name="connsiteX228" fmla="*/ 0 w 11199600"/>
              <a:gd name="connsiteY228" fmla="*/ 1551628 h 4999652"/>
              <a:gd name="connsiteX229" fmla="*/ 0 w 11199600"/>
              <a:gd name="connsiteY229" fmla="*/ 1547293 h 4999652"/>
              <a:gd name="connsiteX230" fmla="*/ 0 w 11199600"/>
              <a:gd name="connsiteY230" fmla="*/ 1529519 h 4999652"/>
              <a:gd name="connsiteX231" fmla="*/ 0 w 11199600"/>
              <a:gd name="connsiteY231" fmla="*/ 1529518 h 4999652"/>
              <a:gd name="connsiteX232" fmla="*/ 0 w 11199600"/>
              <a:gd name="connsiteY232" fmla="*/ 1428369 h 4999652"/>
              <a:gd name="connsiteX233" fmla="*/ 0 w 11199600"/>
              <a:gd name="connsiteY233" fmla="*/ 1290764 h 4999652"/>
              <a:gd name="connsiteX234" fmla="*/ 0 w 11199600"/>
              <a:gd name="connsiteY234" fmla="*/ 1277388 h 4999652"/>
              <a:gd name="connsiteX235" fmla="*/ 0 w 11199600"/>
              <a:gd name="connsiteY235" fmla="*/ 1260141 h 4999652"/>
              <a:gd name="connsiteX236" fmla="*/ 0 w 11199600"/>
              <a:gd name="connsiteY236" fmla="*/ 1255278 h 4999652"/>
              <a:gd name="connsiteX237" fmla="*/ 0 w 11199600"/>
              <a:gd name="connsiteY237" fmla="*/ 1255277 h 4999652"/>
              <a:gd name="connsiteX238" fmla="*/ 0 w 11199600"/>
              <a:gd name="connsiteY238" fmla="*/ 1208224 h 4999652"/>
              <a:gd name="connsiteX239" fmla="*/ 0 w 11199600"/>
              <a:gd name="connsiteY239" fmla="*/ 1168307 h 4999652"/>
              <a:gd name="connsiteX240" fmla="*/ 0 w 11199600"/>
              <a:gd name="connsiteY240" fmla="*/ 1016524 h 4999652"/>
              <a:gd name="connsiteX241" fmla="*/ 0 w 11199600"/>
              <a:gd name="connsiteY241" fmla="*/ 894067 h 4999652"/>
              <a:gd name="connsiteX242" fmla="*/ 0 w 11199600"/>
              <a:gd name="connsiteY242" fmla="*/ 782195 h 4999652"/>
              <a:gd name="connsiteX243" fmla="*/ 0 w 11199600"/>
              <a:gd name="connsiteY243" fmla="*/ 507955 h 4999652"/>
              <a:gd name="connsiteX244" fmla="*/ 0 w 11199600"/>
              <a:gd name="connsiteY244" fmla="*/ 370350 h 4999652"/>
              <a:gd name="connsiteX245" fmla="*/ 0 w 11199600"/>
              <a:gd name="connsiteY245" fmla="*/ 96110 h 4999652"/>
              <a:gd name="connsiteX246" fmla="*/ 95997 w 11199600"/>
              <a:gd name="connsiteY246" fmla="*/ 0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</a:cxnLst>
            <a:rect l="l" t="t" r="r" b="b"/>
            <a:pathLst>
              <a:path w="11199600" h="4999652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08224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8"/>
                </a:ln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lnTo>
                  <a:pt x="11199600" y="1337290"/>
                </a:lnTo>
                <a:lnTo>
                  <a:pt x="11199600" y="1349128"/>
                </a:lnTo>
                <a:lnTo>
                  <a:pt x="11199600" y="1362376"/>
                </a:lnTo>
                <a:lnTo>
                  <a:pt x="11199600" y="1377295"/>
                </a:ln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6"/>
                </a:ln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6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07195"/>
                </a:lnTo>
                <a:lnTo>
                  <a:pt x="11199600" y="1611530"/>
                </a:lnTo>
                <a:lnTo>
                  <a:pt x="11199600" y="1651535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7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6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881436"/>
                </a:lnTo>
                <a:lnTo>
                  <a:pt x="11199600" y="1898682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0"/>
                </a:lnTo>
                <a:lnTo>
                  <a:pt x="11199600" y="2008551"/>
                </a:lnTo>
                <a:lnTo>
                  <a:pt x="11199600" y="2053557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172922"/>
                </a:lnTo>
                <a:lnTo>
                  <a:pt x="11199600" y="2212580"/>
                </a:lnTo>
                <a:lnTo>
                  <a:pt x="11199600" y="2239653"/>
                </a:lnTo>
                <a:lnTo>
                  <a:pt x="11199600" y="2257704"/>
                </a:lnTo>
                <a:lnTo>
                  <a:pt x="11199600" y="2257705"/>
                </a:lnTo>
                <a:lnTo>
                  <a:pt x="11199600" y="2282790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6821"/>
                </a:lnTo>
                <a:lnTo>
                  <a:pt x="11199600" y="2489591"/>
                </a:lnTo>
                <a:lnTo>
                  <a:pt x="11199600" y="2527609"/>
                </a:lnTo>
                <a:lnTo>
                  <a:pt x="11199600" y="2527610"/>
                </a:lnTo>
                <a:lnTo>
                  <a:pt x="11199600" y="2531944"/>
                </a:lnTo>
                <a:lnTo>
                  <a:pt x="11199600" y="2531945"/>
                </a:lnTo>
                <a:lnTo>
                  <a:pt x="11199600" y="2549720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790282"/>
                </a:lnTo>
                <a:lnTo>
                  <a:pt x="11199600" y="2801850"/>
                </a:lnTo>
                <a:lnTo>
                  <a:pt x="11199600" y="2819096"/>
                </a:lnTo>
                <a:lnTo>
                  <a:pt x="11199600" y="2823960"/>
                </a:lnTo>
                <a:lnTo>
                  <a:pt x="11199600" y="2910931"/>
                </a:lnTo>
                <a:lnTo>
                  <a:pt x="11199600" y="3093336"/>
                </a:lnTo>
                <a:lnTo>
                  <a:pt x="11199600" y="3132994"/>
                </a:lnTo>
                <a:lnTo>
                  <a:pt x="11199600" y="3185171"/>
                </a:lnTo>
                <a:lnTo>
                  <a:pt x="11199600" y="3297044"/>
                </a:lnTo>
                <a:lnTo>
                  <a:pt x="11199600" y="3407235"/>
                </a:lnTo>
                <a:lnTo>
                  <a:pt x="11199600" y="3470134"/>
                </a:lnTo>
                <a:lnTo>
                  <a:pt x="11199600" y="3571284"/>
                </a:lnTo>
                <a:lnTo>
                  <a:pt x="11199600" y="3708888"/>
                </a:lnTo>
                <a:lnTo>
                  <a:pt x="11199600" y="3744374"/>
                </a:lnTo>
                <a:lnTo>
                  <a:pt x="11199600" y="3831345"/>
                </a:lnTo>
                <a:lnTo>
                  <a:pt x="11199600" y="3983128"/>
                </a:lnTo>
                <a:lnTo>
                  <a:pt x="11199600" y="4105585"/>
                </a:lnTo>
                <a:lnTo>
                  <a:pt x="11199600" y="4217458"/>
                </a:lnTo>
                <a:lnTo>
                  <a:pt x="11199600" y="4491698"/>
                </a:lnTo>
                <a:lnTo>
                  <a:pt x="11199600" y="4629302"/>
                </a:lnTo>
                <a:lnTo>
                  <a:pt x="11199600" y="4903542"/>
                </a:lnTo>
                <a:cubicBezTo>
                  <a:pt x="11199600" y="4999652"/>
                  <a:pt x="11103603" y="4999652"/>
                  <a:pt x="11103603" y="4999652"/>
                </a:cubicBezTo>
                <a:cubicBezTo>
                  <a:pt x="11103603" y="4999652"/>
                  <a:pt x="11103603" y="4999652"/>
                  <a:pt x="95997" y="4999652"/>
                </a:cubicBezTo>
                <a:cubicBezTo>
                  <a:pt x="0" y="4999652"/>
                  <a:pt x="0" y="4903542"/>
                  <a:pt x="0" y="4903542"/>
                </a:cubicBezTo>
                <a:lnTo>
                  <a:pt x="0" y="4899807"/>
                </a:lnTo>
                <a:lnTo>
                  <a:pt x="0" y="4890936"/>
                </a:lnTo>
                <a:lnTo>
                  <a:pt x="0" y="4873660"/>
                </a:lnTo>
                <a:lnTo>
                  <a:pt x="0" y="4845179"/>
                </a:lnTo>
                <a:lnTo>
                  <a:pt x="0" y="4802691"/>
                </a:lnTo>
                <a:lnTo>
                  <a:pt x="0" y="4743394"/>
                </a:lnTo>
                <a:lnTo>
                  <a:pt x="0" y="4664487"/>
                </a:lnTo>
                <a:lnTo>
                  <a:pt x="0" y="4629302"/>
                </a:lnTo>
                <a:lnTo>
                  <a:pt x="0" y="4628196"/>
                </a:lnTo>
                <a:lnTo>
                  <a:pt x="0" y="4620448"/>
                </a:lnTo>
                <a:lnTo>
                  <a:pt x="0" y="4599605"/>
                </a:lnTo>
                <a:lnTo>
                  <a:pt x="0" y="4599420"/>
                </a:lnTo>
                <a:lnTo>
                  <a:pt x="0" y="4558471"/>
                </a:lnTo>
                <a:lnTo>
                  <a:pt x="0" y="4528451"/>
                </a:lnTo>
                <a:lnTo>
                  <a:pt x="0" y="4523932"/>
                </a:lnTo>
                <a:lnTo>
                  <a:pt x="0" y="4490960"/>
                </a:lnTo>
                <a:lnTo>
                  <a:pt x="0" y="4445169"/>
                </a:lnTo>
                <a:lnTo>
                  <a:pt x="0" y="4436638"/>
                </a:lnTo>
                <a:lnTo>
                  <a:pt x="0" y="4390247"/>
                </a:lnTo>
                <a:lnTo>
                  <a:pt x="0" y="4336893"/>
                </a:lnTo>
                <a:lnTo>
                  <a:pt x="0" y="4325365"/>
                </a:lnTo>
                <a:lnTo>
                  <a:pt x="0" y="4249692"/>
                </a:lnTo>
                <a:lnTo>
                  <a:pt x="0" y="4223868"/>
                </a:lnTo>
                <a:lnTo>
                  <a:pt x="0" y="4162398"/>
                </a:lnTo>
                <a:lnTo>
                  <a:pt x="0" y="4096731"/>
                </a:lnTo>
                <a:lnTo>
                  <a:pt x="0" y="4062653"/>
                </a:lnTo>
                <a:lnTo>
                  <a:pt x="0" y="3983128"/>
                </a:lnTo>
                <a:lnTo>
                  <a:pt x="0" y="3979393"/>
                </a:lnTo>
                <a:lnTo>
                  <a:pt x="0" y="3970522"/>
                </a:lnTo>
                <a:lnTo>
                  <a:pt x="0" y="3954654"/>
                </a:lnTo>
                <a:lnTo>
                  <a:pt x="0" y="3953246"/>
                </a:lnTo>
                <a:lnTo>
                  <a:pt x="0" y="3949628"/>
                </a:lnTo>
                <a:lnTo>
                  <a:pt x="0" y="3924765"/>
                </a:lnTo>
                <a:lnTo>
                  <a:pt x="0" y="3882277"/>
                </a:lnTo>
                <a:lnTo>
                  <a:pt x="0" y="3822980"/>
                </a:lnTo>
                <a:lnTo>
                  <a:pt x="0" y="3822491"/>
                </a:lnTo>
                <a:lnTo>
                  <a:pt x="0" y="3796806"/>
                </a:lnTo>
                <a:lnTo>
                  <a:pt x="0" y="3744073"/>
                </a:lnTo>
                <a:lnTo>
                  <a:pt x="0" y="3708888"/>
                </a:lnTo>
                <a:lnTo>
                  <a:pt x="0" y="3707782"/>
                </a:lnTo>
                <a:lnTo>
                  <a:pt x="0" y="3700034"/>
                </a:lnTo>
                <a:lnTo>
                  <a:pt x="0" y="3680414"/>
                </a:lnTo>
                <a:lnTo>
                  <a:pt x="0" y="3679191"/>
                </a:lnTo>
                <a:lnTo>
                  <a:pt x="0" y="3679006"/>
                </a:lnTo>
                <a:lnTo>
                  <a:pt x="0" y="3638057"/>
                </a:lnTo>
                <a:lnTo>
                  <a:pt x="0" y="3622356"/>
                </a:lnTo>
                <a:lnTo>
                  <a:pt x="0" y="3608037"/>
                </a:lnTo>
                <a:lnTo>
                  <a:pt x="0" y="3603518"/>
                </a:lnTo>
                <a:lnTo>
                  <a:pt x="0" y="3570546"/>
                </a:lnTo>
                <a:lnTo>
                  <a:pt x="0" y="3524755"/>
                </a:lnTo>
                <a:lnTo>
                  <a:pt x="0" y="3522566"/>
                </a:lnTo>
                <a:lnTo>
                  <a:pt x="0" y="3516224"/>
                </a:lnTo>
                <a:lnTo>
                  <a:pt x="0" y="3469833"/>
                </a:lnTo>
                <a:lnTo>
                  <a:pt x="0" y="3430476"/>
                </a:lnTo>
                <a:lnTo>
                  <a:pt x="0" y="3416479"/>
                </a:lnTo>
                <a:lnTo>
                  <a:pt x="0" y="3404951"/>
                </a:lnTo>
                <a:lnTo>
                  <a:pt x="0" y="3348116"/>
                </a:lnTo>
                <a:lnTo>
                  <a:pt x="0" y="3329278"/>
                </a:lnTo>
                <a:lnTo>
                  <a:pt x="0" y="3303454"/>
                </a:lnTo>
                <a:lnTo>
                  <a:pt x="0" y="3241984"/>
                </a:lnTo>
                <a:lnTo>
                  <a:pt x="0" y="3220334"/>
                </a:lnTo>
                <a:lnTo>
                  <a:pt x="0" y="3176317"/>
                </a:lnTo>
                <a:lnTo>
                  <a:pt x="0" y="3156236"/>
                </a:lnTo>
                <a:lnTo>
                  <a:pt x="0" y="3142239"/>
                </a:lnTo>
                <a:lnTo>
                  <a:pt x="0" y="3034240"/>
                </a:lnTo>
                <a:lnTo>
                  <a:pt x="0" y="3029214"/>
                </a:lnTo>
                <a:lnTo>
                  <a:pt x="0" y="2991101"/>
                </a:lnTo>
                <a:lnTo>
                  <a:pt x="0" y="2946094"/>
                </a:lnTo>
                <a:lnTo>
                  <a:pt x="0" y="2902077"/>
                </a:lnTo>
                <a:lnTo>
                  <a:pt x="0" y="2876392"/>
                </a:lnTo>
                <a:lnTo>
                  <a:pt x="0" y="2790282"/>
                </a:lnTo>
                <a:lnTo>
                  <a:pt x="0" y="2787072"/>
                </a:lnTo>
                <a:lnTo>
                  <a:pt x="0" y="2760000"/>
                </a:lnTo>
                <a:lnTo>
                  <a:pt x="0" y="2741948"/>
                </a:lnTo>
                <a:lnTo>
                  <a:pt x="0" y="2741947"/>
                </a:lnTo>
                <a:lnTo>
                  <a:pt x="0" y="2716862"/>
                </a:lnTo>
                <a:lnTo>
                  <a:pt x="0" y="2716861"/>
                </a:lnTo>
                <a:lnTo>
                  <a:pt x="0" y="2701942"/>
                </a:lnTo>
                <a:lnTo>
                  <a:pt x="0" y="2602152"/>
                </a:lnTo>
                <a:lnTo>
                  <a:pt x="0" y="2512832"/>
                </a:lnTo>
                <a:lnTo>
                  <a:pt x="0" y="2510062"/>
                </a:lnTo>
                <a:lnTo>
                  <a:pt x="0" y="2472043"/>
                </a:lnTo>
                <a:lnTo>
                  <a:pt x="0" y="2472042"/>
                </a:lnTo>
                <a:lnTo>
                  <a:pt x="0" y="2467708"/>
                </a:lnTo>
                <a:lnTo>
                  <a:pt x="0" y="2467707"/>
                </a:lnTo>
                <a:lnTo>
                  <a:pt x="0" y="2449933"/>
                </a:lnTo>
                <a:lnTo>
                  <a:pt x="0" y="2427702"/>
                </a:lnTo>
                <a:lnTo>
                  <a:pt x="0" y="2299920"/>
                </a:lnTo>
                <a:lnTo>
                  <a:pt x="0" y="2235822"/>
                </a:lnTo>
                <a:lnTo>
                  <a:pt x="0" y="2197803"/>
                </a:lnTo>
                <a:lnTo>
                  <a:pt x="0" y="2197802"/>
                </a:lnTo>
                <a:lnTo>
                  <a:pt x="0" y="2180556"/>
                </a:lnTo>
                <a:lnTo>
                  <a:pt x="0" y="2180555"/>
                </a:lnTo>
                <a:lnTo>
                  <a:pt x="0" y="2175692"/>
                </a:lnTo>
                <a:lnTo>
                  <a:pt x="0" y="2088721"/>
                </a:lnTo>
                <a:lnTo>
                  <a:pt x="0" y="2070687"/>
                </a:lnTo>
                <a:lnTo>
                  <a:pt x="0" y="2025680"/>
                </a:lnTo>
                <a:lnTo>
                  <a:pt x="0" y="1906316"/>
                </a:lnTo>
                <a:lnTo>
                  <a:pt x="0" y="1906315"/>
                </a:lnTo>
                <a:lnTo>
                  <a:pt x="0" y="1866658"/>
                </a:lnTo>
                <a:lnTo>
                  <a:pt x="0" y="1866657"/>
                </a:lnTo>
                <a:lnTo>
                  <a:pt x="0" y="1821533"/>
                </a:lnTo>
                <a:lnTo>
                  <a:pt x="0" y="1814481"/>
                </a:lnTo>
                <a:lnTo>
                  <a:pt x="0" y="1796447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92417"/>
                </a:lnTo>
                <a:lnTo>
                  <a:pt x="0" y="1551628"/>
                </a:lnTo>
                <a:lnTo>
                  <a:pt x="0" y="1547293"/>
                </a:lnTo>
                <a:lnTo>
                  <a:pt x="0" y="1529519"/>
                </a:lnTo>
                <a:lnTo>
                  <a:pt x="0" y="1529518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77388"/>
                </a:lnTo>
                <a:lnTo>
                  <a:pt x="0" y="1260141"/>
                </a:lnTo>
                <a:lnTo>
                  <a:pt x="0" y="1255278"/>
                </a:lnTo>
                <a:lnTo>
                  <a:pt x="0" y="1255277"/>
                </a:lnTo>
                <a:lnTo>
                  <a:pt x="0" y="1208224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39676" tIns="35996" rIns="35996" bIns="35996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029679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2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696912" y="280733"/>
            <a:ext cx="11199600" cy="5920067"/>
          </a:xfrm>
          <a:custGeom>
            <a:avLst/>
            <a:gdLst>
              <a:gd name="connsiteX0" fmla="*/ 95997 w 11199600"/>
              <a:gd name="connsiteY0" fmla="*/ 0 h 5920067"/>
              <a:gd name="connsiteX1" fmla="*/ 11103603 w 11199600"/>
              <a:gd name="connsiteY1" fmla="*/ 0 h 5920067"/>
              <a:gd name="connsiteX2" fmla="*/ 11199600 w 11199600"/>
              <a:gd name="connsiteY2" fmla="*/ 96110 h 5920067"/>
              <a:gd name="connsiteX3" fmla="*/ 11199600 w 11199600"/>
              <a:gd name="connsiteY3" fmla="*/ 335165 h 5920067"/>
              <a:gd name="connsiteX4" fmla="*/ 11199600 w 11199600"/>
              <a:gd name="connsiteY4" fmla="*/ 370350 h 5920067"/>
              <a:gd name="connsiteX5" fmla="*/ 11199600 w 11199600"/>
              <a:gd name="connsiteY5" fmla="*/ 379204 h 5920067"/>
              <a:gd name="connsiteX6" fmla="*/ 11199600 w 11199600"/>
              <a:gd name="connsiteY6" fmla="*/ 400048 h 5920067"/>
              <a:gd name="connsiteX7" fmla="*/ 11199600 w 11199600"/>
              <a:gd name="connsiteY7" fmla="*/ 400232 h 5920067"/>
              <a:gd name="connsiteX8" fmla="*/ 11199600 w 11199600"/>
              <a:gd name="connsiteY8" fmla="*/ 471202 h 5920067"/>
              <a:gd name="connsiteX9" fmla="*/ 11199600 w 11199600"/>
              <a:gd name="connsiteY9" fmla="*/ 475721 h 5920067"/>
              <a:gd name="connsiteX10" fmla="*/ 11199600 w 11199600"/>
              <a:gd name="connsiteY10" fmla="*/ 508692 h 5920067"/>
              <a:gd name="connsiteX11" fmla="*/ 11199600 w 11199600"/>
              <a:gd name="connsiteY11" fmla="*/ 554484 h 5920067"/>
              <a:gd name="connsiteX12" fmla="*/ 11199600 w 11199600"/>
              <a:gd name="connsiteY12" fmla="*/ 563015 h 5920067"/>
              <a:gd name="connsiteX13" fmla="*/ 11199600 w 11199600"/>
              <a:gd name="connsiteY13" fmla="*/ 609405 h 5920067"/>
              <a:gd name="connsiteX14" fmla="*/ 11199600 w 11199600"/>
              <a:gd name="connsiteY14" fmla="*/ 662759 h 5920067"/>
              <a:gd name="connsiteX15" fmla="*/ 11199600 w 11199600"/>
              <a:gd name="connsiteY15" fmla="*/ 674288 h 5920067"/>
              <a:gd name="connsiteX16" fmla="*/ 11199600 w 11199600"/>
              <a:gd name="connsiteY16" fmla="*/ 749961 h 5920067"/>
              <a:gd name="connsiteX17" fmla="*/ 11199600 w 11199600"/>
              <a:gd name="connsiteY17" fmla="*/ 775785 h 5920067"/>
              <a:gd name="connsiteX18" fmla="*/ 11199600 w 11199600"/>
              <a:gd name="connsiteY18" fmla="*/ 837255 h 5920067"/>
              <a:gd name="connsiteX19" fmla="*/ 11199600 w 11199600"/>
              <a:gd name="connsiteY19" fmla="*/ 902921 h 5920067"/>
              <a:gd name="connsiteX20" fmla="*/ 11199600 w 11199600"/>
              <a:gd name="connsiteY20" fmla="*/ 936999 h 5920067"/>
              <a:gd name="connsiteX21" fmla="*/ 11199600 w 11199600"/>
              <a:gd name="connsiteY21" fmla="*/ 1016524 h 5920067"/>
              <a:gd name="connsiteX22" fmla="*/ 11199600 w 11199600"/>
              <a:gd name="connsiteY22" fmla="*/ 1029131 h 5920067"/>
              <a:gd name="connsiteX23" fmla="*/ 11199600 w 11199600"/>
              <a:gd name="connsiteY23" fmla="*/ 1044999 h 5920067"/>
              <a:gd name="connsiteX24" fmla="*/ 11199600 w 11199600"/>
              <a:gd name="connsiteY24" fmla="*/ 1046406 h 5920067"/>
              <a:gd name="connsiteX25" fmla="*/ 11199600 w 11199600"/>
              <a:gd name="connsiteY25" fmla="*/ 1050025 h 5920067"/>
              <a:gd name="connsiteX26" fmla="*/ 11199600 w 11199600"/>
              <a:gd name="connsiteY26" fmla="*/ 1074887 h 5920067"/>
              <a:gd name="connsiteX27" fmla="*/ 11199600 w 11199600"/>
              <a:gd name="connsiteY27" fmla="*/ 1176672 h 5920067"/>
              <a:gd name="connsiteX28" fmla="*/ 11199600 w 11199600"/>
              <a:gd name="connsiteY28" fmla="*/ 1177161 h 5920067"/>
              <a:gd name="connsiteX29" fmla="*/ 11199600 w 11199600"/>
              <a:gd name="connsiteY29" fmla="*/ 1202847 h 5920067"/>
              <a:gd name="connsiteX30" fmla="*/ 11199600 w 11199600"/>
              <a:gd name="connsiteY30" fmla="*/ 1255579 h 5920067"/>
              <a:gd name="connsiteX31" fmla="*/ 11199600 w 11199600"/>
              <a:gd name="connsiteY31" fmla="*/ 1290764 h 5920067"/>
              <a:gd name="connsiteX32" fmla="*/ 11199600 w 11199600"/>
              <a:gd name="connsiteY32" fmla="*/ 1299618 h 5920067"/>
              <a:gd name="connsiteX33" fmla="*/ 11199600 w 11199600"/>
              <a:gd name="connsiteY33" fmla="*/ 1319239 h 5920067"/>
              <a:gd name="connsiteX34" fmla="*/ 11199600 w 11199600"/>
              <a:gd name="connsiteY34" fmla="*/ 1320462 h 5920067"/>
              <a:gd name="connsiteX35" fmla="*/ 11199600 w 11199600"/>
              <a:gd name="connsiteY35" fmla="*/ 1320646 h 5920067"/>
              <a:gd name="connsiteX36" fmla="*/ 11199600 w 11199600"/>
              <a:gd name="connsiteY36" fmla="*/ 1349128 h 5920067"/>
              <a:gd name="connsiteX37" fmla="*/ 11199600 w 11199600"/>
              <a:gd name="connsiteY37" fmla="*/ 1377296 h 5920067"/>
              <a:gd name="connsiteX38" fmla="*/ 11199600 w 11199600"/>
              <a:gd name="connsiteY38" fmla="*/ 1391616 h 5920067"/>
              <a:gd name="connsiteX39" fmla="*/ 11199600 w 11199600"/>
              <a:gd name="connsiteY39" fmla="*/ 1396135 h 5920067"/>
              <a:gd name="connsiteX40" fmla="*/ 11199600 w 11199600"/>
              <a:gd name="connsiteY40" fmla="*/ 1429106 h 5920067"/>
              <a:gd name="connsiteX41" fmla="*/ 11199600 w 11199600"/>
              <a:gd name="connsiteY41" fmla="*/ 1474898 h 5920067"/>
              <a:gd name="connsiteX42" fmla="*/ 11199600 w 11199600"/>
              <a:gd name="connsiteY42" fmla="*/ 1477087 h 5920067"/>
              <a:gd name="connsiteX43" fmla="*/ 11199600 w 11199600"/>
              <a:gd name="connsiteY43" fmla="*/ 1483429 h 5920067"/>
              <a:gd name="connsiteX44" fmla="*/ 11199600 w 11199600"/>
              <a:gd name="connsiteY44" fmla="*/ 1529819 h 5920067"/>
              <a:gd name="connsiteX45" fmla="*/ 11199600 w 11199600"/>
              <a:gd name="connsiteY45" fmla="*/ 1569177 h 5920067"/>
              <a:gd name="connsiteX46" fmla="*/ 11199600 w 11199600"/>
              <a:gd name="connsiteY46" fmla="*/ 1583173 h 5920067"/>
              <a:gd name="connsiteX47" fmla="*/ 11199600 w 11199600"/>
              <a:gd name="connsiteY47" fmla="*/ 1594702 h 5920067"/>
              <a:gd name="connsiteX48" fmla="*/ 11199600 w 11199600"/>
              <a:gd name="connsiteY48" fmla="*/ 1651536 h 5920067"/>
              <a:gd name="connsiteX49" fmla="*/ 11199600 w 11199600"/>
              <a:gd name="connsiteY49" fmla="*/ 1670375 h 5920067"/>
              <a:gd name="connsiteX50" fmla="*/ 11199600 w 11199600"/>
              <a:gd name="connsiteY50" fmla="*/ 1696199 h 5920067"/>
              <a:gd name="connsiteX51" fmla="*/ 11199600 w 11199600"/>
              <a:gd name="connsiteY51" fmla="*/ 1757669 h 5920067"/>
              <a:gd name="connsiteX52" fmla="*/ 11199600 w 11199600"/>
              <a:gd name="connsiteY52" fmla="*/ 1779318 h 5920067"/>
              <a:gd name="connsiteX53" fmla="*/ 11199600 w 11199600"/>
              <a:gd name="connsiteY53" fmla="*/ 1823335 h 5920067"/>
              <a:gd name="connsiteX54" fmla="*/ 11199600 w 11199600"/>
              <a:gd name="connsiteY54" fmla="*/ 1843417 h 5920067"/>
              <a:gd name="connsiteX55" fmla="*/ 11199600 w 11199600"/>
              <a:gd name="connsiteY55" fmla="*/ 1857413 h 5920067"/>
              <a:gd name="connsiteX56" fmla="*/ 11199600 w 11199600"/>
              <a:gd name="connsiteY56" fmla="*/ 1965413 h 5920067"/>
              <a:gd name="connsiteX57" fmla="*/ 11199600 w 11199600"/>
              <a:gd name="connsiteY57" fmla="*/ 1970439 h 5920067"/>
              <a:gd name="connsiteX58" fmla="*/ 11199600 w 11199600"/>
              <a:gd name="connsiteY58" fmla="*/ 2008551 h 5920067"/>
              <a:gd name="connsiteX59" fmla="*/ 11199600 w 11199600"/>
              <a:gd name="connsiteY59" fmla="*/ 2053558 h 5920067"/>
              <a:gd name="connsiteX60" fmla="*/ 11199600 w 11199600"/>
              <a:gd name="connsiteY60" fmla="*/ 2097575 h 5920067"/>
              <a:gd name="connsiteX61" fmla="*/ 11199600 w 11199600"/>
              <a:gd name="connsiteY61" fmla="*/ 2123261 h 5920067"/>
              <a:gd name="connsiteX62" fmla="*/ 11199600 w 11199600"/>
              <a:gd name="connsiteY62" fmla="*/ 2239653 h 5920067"/>
              <a:gd name="connsiteX63" fmla="*/ 11199600 w 11199600"/>
              <a:gd name="connsiteY63" fmla="*/ 2257705 h 5920067"/>
              <a:gd name="connsiteX64" fmla="*/ 11199600 w 11199600"/>
              <a:gd name="connsiteY64" fmla="*/ 2282791 h 5920067"/>
              <a:gd name="connsiteX65" fmla="*/ 11199600 w 11199600"/>
              <a:gd name="connsiteY65" fmla="*/ 2297710 h 5920067"/>
              <a:gd name="connsiteX66" fmla="*/ 11199600 w 11199600"/>
              <a:gd name="connsiteY66" fmla="*/ 2397501 h 5920067"/>
              <a:gd name="connsiteX67" fmla="*/ 11199600 w 11199600"/>
              <a:gd name="connsiteY67" fmla="*/ 2489591 h 5920067"/>
              <a:gd name="connsiteX68" fmla="*/ 11199600 w 11199600"/>
              <a:gd name="connsiteY68" fmla="*/ 2527610 h 5920067"/>
              <a:gd name="connsiteX69" fmla="*/ 11199600 w 11199600"/>
              <a:gd name="connsiteY69" fmla="*/ 2531945 h 5920067"/>
              <a:gd name="connsiteX70" fmla="*/ 11199600 w 11199600"/>
              <a:gd name="connsiteY70" fmla="*/ 2571950 h 5920067"/>
              <a:gd name="connsiteX71" fmla="*/ 11199600 w 11199600"/>
              <a:gd name="connsiteY71" fmla="*/ 2699732 h 5920067"/>
              <a:gd name="connsiteX72" fmla="*/ 11199600 w 11199600"/>
              <a:gd name="connsiteY72" fmla="*/ 2763831 h 5920067"/>
              <a:gd name="connsiteX73" fmla="*/ 11199600 w 11199600"/>
              <a:gd name="connsiteY73" fmla="*/ 2801851 h 5920067"/>
              <a:gd name="connsiteX74" fmla="*/ 11199600 w 11199600"/>
              <a:gd name="connsiteY74" fmla="*/ 2819097 h 5920067"/>
              <a:gd name="connsiteX75" fmla="*/ 11199600 w 11199600"/>
              <a:gd name="connsiteY75" fmla="*/ 2928965 h 5920067"/>
              <a:gd name="connsiteX76" fmla="*/ 11199600 w 11199600"/>
              <a:gd name="connsiteY76" fmla="*/ 2973972 h 5920067"/>
              <a:gd name="connsiteX77" fmla="*/ 11199600 w 11199600"/>
              <a:gd name="connsiteY77" fmla="*/ 3093337 h 5920067"/>
              <a:gd name="connsiteX78" fmla="*/ 11199600 w 11199600"/>
              <a:gd name="connsiteY78" fmla="*/ 3132995 h 5920067"/>
              <a:gd name="connsiteX79" fmla="*/ 11199600 w 11199600"/>
              <a:gd name="connsiteY79" fmla="*/ 3178119 h 5920067"/>
              <a:gd name="connsiteX80" fmla="*/ 11199600 w 11199600"/>
              <a:gd name="connsiteY80" fmla="*/ 3203205 h 5920067"/>
              <a:gd name="connsiteX81" fmla="*/ 11199600 w 11199600"/>
              <a:gd name="connsiteY81" fmla="*/ 3407236 h 5920067"/>
              <a:gd name="connsiteX82" fmla="*/ 11199600 w 11199600"/>
              <a:gd name="connsiteY82" fmla="*/ 3448024 h 5920067"/>
              <a:gd name="connsiteX83" fmla="*/ 11199600 w 11199600"/>
              <a:gd name="connsiteY83" fmla="*/ 3452359 h 5920067"/>
              <a:gd name="connsiteX84" fmla="*/ 11199600 w 11199600"/>
              <a:gd name="connsiteY84" fmla="*/ 3470135 h 5920067"/>
              <a:gd name="connsiteX85" fmla="*/ 11199600 w 11199600"/>
              <a:gd name="connsiteY85" fmla="*/ 3722265 h 5920067"/>
              <a:gd name="connsiteX86" fmla="*/ 11199600 w 11199600"/>
              <a:gd name="connsiteY86" fmla="*/ 3739511 h 5920067"/>
              <a:gd name="connsiteX87" fmla="*/ 11199600 w 11199600"/>
              <a:gd name="connsiteY87" fmla="*/ 3744375 h 5920067"/>
              <a:gd name="connsiteX88" fmla="*/ 11199600 w 11199600"/>
              <a:gd name="connsiteY88" fmla="*/ 3831346 h 5920067"/>
              <a:gd name="connsiteX89" fmla="*/ 11199600 w 11199600"/>
              <a:gd name="connsiteY89" fmla="*/ 4013751 h 5920067"/>
              <a:gd name="connsiteX90" fmla="*/ 11199600 w 11199600"/>
              <a:gd name="connsiteY90" fmla="*/ 4053409 h 5920067"/>
              <a:gd name="connsiteX91" fmla="*/ 11199600 w 11199600"/>
              <a:gd name="connsiteY91" fmla="*/ 4105586 h 5920067"/>
              <a:gd name="connsiteX92" fmla="*/ 11199600 w 11199600"/>
              <a:gd name="connsiteY92" fmla="*/ 4217459 h 5920067"/>
              <a:gd name="connsiteX93" fmla="*/ 11199600 w 11199600"/>
              <a:gd name="connsiteY93" fmla="*/ 4327650 h 5920067"/>
              <a:gd name="connsiteX94" fmla="*/ 11199600 w 11199600"/>
              <a:gd name="connsiteY94" fmla="*/ 4390549 h 5920067"/>
              <a:gd name="connsiteX95" fmla="*/ 11199600 w 11199600"/>
              <a:gd name="connsiteY95" fmla="*/ 4491699 h 5920067"/>
              <a:gd name="connsiteX96" fmla="*/ 11199600 w 11199600"/>
              <a:gd name="connsiteY96" fmla="*/ 4629303 h 5920067"/>
              <a:gd name="connsiteX97" fmla="*/ 11199600 w 11199600"/>
              <a:gd name="connsiteY97" fmla="*/ 4664789 h 5920067"/>
              <a:gd name="connsiteX98" fmla="*/ 11199600 w 11199600"/>
              <a:gd name="connsiteY98" fmla="*/ 4751760 h 5920067"/>
              <a:gd name="connsiteX99" fmla="*/ 11199600 w 11199600"/>
              <a:gd name="connsiteY99" fmla="*/ 4903543 h 5920067"/>
              <a:gd name="connsiteX100" fmla="*/ 11199600 w 11199600"/>
              <a:gd name="connsiteY100" fmla="*/ 5026000 h 5920067"/>
              <a:gd name="connsiteX101" fmla="*/ 11199600 w 11199600"/>
              <a:gd name="connsiteY101" fmla="*/ 5137873 h 5920067"/>
              <a:gd name="connsiteX102" fmla="*/ 11199600 w 11199600"/>
              <a:gd name="connsiteY102" fmla="*/ 5412113 h 5920067"/>
              <a:gd name="connsiteX103" fmla="*/ 11199600 w 11199600"/>
              <a:gd name="connsiteY103" fmla="*/ 5549717 h 5920067"/>
              <a:gd name="connsiteX104" fmla="*/ 11199600 w 11199600"/>
              <a:gd name="connsiteY104" fmla="*/ 5823957 h 5920067"/>
              <a:gd name="connsiteX105" fmla="*/ 11103603 w 11199600"/>
              <a:gd name="connsiteY105" fmla="*/ 5920067 h 5920067"/>
              <a:gd name="connsiteX106" fmla="*/ 95997 w 11199600"/>
              <a:gd name="connsiteY106" fmla="*/ 5920067 h 5920067"/>
              <a:gd name="connsiteX107" fmla="*/ 0 w 11199600"/>
              <a:gd name="connsiteY107" fmla="*/ 5823957 h 5920067"/>
              <a:gd name="connsiteX108" fmla="*/ 0 w 11199600"/>
              <a:gd name="connsiteY108" fmla="*/ 5820222 h 5920067"/>
              <a:gd name="connsiteX109" fmla="*/ 0 w 11199600"/>
              <a:gd name="connsiteY109" fmla="*/ 5811351 h 5920067"/>
              <a:gd name="connsiteX110" fmla="*/ 0 w 11199600"/>
              <a:gd name="connsiteY110" fmla="*/ 5794075 h 5920067"/>
              <a:gd name="connsiteX111" fmla="*/ 0 w 11199600"/>
              <a:gd name="connsiteY111" fmla="*/ 5765594 h 5920067"/>
              <a:gd name="connsiteX112" fmla="*/ 0 w 11199600"/>
              <a:gd name="connsiteY112" fmla="*/ 5723106 h 5920067"/>
              <a:gd name="connsiteX113" fmla="*/ 0 w 11199600"/>
              <a:gd name="connsiteY113" fmla="*/ 5663809 h 5920067"/>
              <a:gd name="connsiteX114" fmla="*/ 0 w 11199600"/>
              <a:gd name="connsiteY114" fmla="*/ 5584902 h 5920067"/>
              <a:gd name="connsiteX115" fmla="*/ 0 w 11199600"/>
              <a:gd name="connsiteY115" fmla="*/ 5549717 h 5920067"/>
              <a:gd name="connsiteX116" fmla="*/ 0 w 11199600"/>
              <a:gd name="connsiteY116" fmla="*/ 5548611 h 5920067"/>
              <a:gd name="connsiteX117" fmla="*/ 0 w 11199600"/>
              <a:gd name="connsiteY117" fmla="*/ 5540863 h 5920067"/>
              <a:gd name="connsiteX118" fmla="*/ 0 w 11199600"/>
              <a:gd name="connsiteY118" fmla="*/ 5520020 h 5920067"/>
              <a:gd name="connsiteX119" fmla="*/ 0 w 11199600"/>
              <a:gd name="connsiteY119" fmla="*/ 5519835 h 5920067"/>
              <a:gd name="connsiteX120" fmla="*/ 0 w 11199600"/>
              <a:gd name="connsiteY120" fmla="*/ 5478886 h 5920067"/>
              <a:gd name="connsiteX121" fmla="*/ 0 w 11199600"/>
              <a:gd name="connsiteY121" fmla="*/ 5448866 h 5920067"/>
              <a:gd name="connsiteX122" fmla="*/ 0 w 11199600"/>
              <a:gd name="connsiteY122" fmla="*/ 5444347 h 5920067"/>
              <a:gd name="connsiteX123" fmla="*/ 0 w 11199600"/>
              <a:gd name="connsiteY123" fmla="*/ 5411375 h 5920067"/>
              <a:gd name="connsiteX124" fmla="*/ 0 w 11199600"/>
              <a:gd name="connsiteY124" fmla="*/ 5365584 h 5920067"/>
              <a:gd name="connsiteX125" fmla="*/ 0 w 11199600"/>
              <a:gd name="connsiteY125" fmla="*/ 5357053 h 5920067"/>
              <a:gd name="connsiteX126" fmla="*/ 0 w 11199600"/>
              <a:gd name="connsiteY126" fmla="*/ 5310662 h 5920067"/>
              <a:gd name="connsiteX127" fmla="*/ 0 w 11199600"/>
              <a:gd name="connsiteY127" fmla="*/ 5257308 h 5920067"/>
              <a:gd name="connsiteX128" fmla="*/ 0 w 11199600"/>
              <a:gd name="connsiteY128" fmla="*/ 5245780 h 5920067"/>
              <a:gd name="connsiteX129" fmla="*/ 0 w 11199600"/>
              <a:gd name="connsiteY129" fmla="*/ 5170107 h 5920067"/>
              <a:gd name="connsiteX130" fmla="*/ 0 w 11199600"/>
              <a:gd name="connsiteY130" fmla="*/ 5144283 h 5920067"/>
              <a:gd name="connsiteX131" fmla="*/ 0 w 11199600"/>
              <a:gd name="connsiteY131" fmla="*/ 5082813 h 5920067"/>
              <a:gd name="connsiteX132" fmla="*/ 0 w 11199600"/>
              <a:gd name="connsiteY132" fmla="*/ 5017146 h 5920067"/>
              <a:gd name="connsiteX133" fmla="*/ 0 w 11199600"/>
              <a:gd name="connsiteY133" fmla="*/ 4983068 h 5920067"/>
              <a:gd name="connsiteX134" fmla="*/ 0 w 11199600"/>
              <a:gd name="connsiteY134" fmla="*/ 4903543 h 5920067"/>
              <a:gd name="connsiteX135" fmla="*/ 0 w 11199600"/>
              <a:gd name="connsiteY135" fmla="*/ 4899808 h 5920067"/>
              <a:gd name="connsiteX136" fmla="*/ 0 w 11199600"/>
              <a:gd name="connsiteY136" fmla="*/ 4890937 h 5920067"/>
              <a:gd name="connsiteX137" fmla="*/ 0 w 11199600"/>
              <a:gd name="connsiteY137" fmla="*/ 4875069 h 5920067"/>
              <a:gd name="connsiteX138" fmla="*/ 0 w 11199600"/>
              <a:gd name="connsiteY138" fmla="*/ 4873661 h 5920067"/>
              <a:gd name="connsiteX139" fmla="*/ 0 w 11199600"/>
              <a:gd name="connsiteY139" fmla="*/ 4870043 h 5920067"/>
              <a:gd name="connsiteX140" fmla="*/ 0 w 11199600"/>
              <a:gd name="connsiteY140" fmla="*/ 4845180 h 5920067"/>
              <a:gd name="connsiteX141" fmla="*/ 0 w 11199600"/>
              <a:gd name="connsiteY141" fmla="*/ 4802692 h 5920067"/>
              <a:gd name="connsiteX142" fmla="*/ 0 w 11199600"/>
              <a:gd name="connsiteY142" fmla="*/ 4743395 h 5920067"/>
              <a:gd name="connsiteX143" fmla="*/ 0 w 11199600"/>
              <a:gd name="connsiteY143" fmla="*/ 4742906 h 5920067"/>
              <a:gd name="connsiteX144" fmla="*/ 0 w 11199600"/>
              <a:gd name="connsiteY144" fmla="*/ 4717221 h 5920067"/>
              <a:gd name="connsiteX145" fmla="*/ 0 w 11199600"/>
              <a:gd name="connsiteY145" fmla="*/ 4664488 h 5920067"/>
              <a:gd name="connsiteX146" fmla="*/ 0 w 11199600"/>
              <a:gd name="connsiteY146" fmla="*/ 4629303 h 5920067"/>
              <a:gd name="connsiteX147" fmla="*/ 0 w 11199600"/>
              <a:gd name="connsiteY147" fmla="*/ 4628197 h 5920067"/>
              <a:gd name="connsiteX148" fmla="*/ 0 w 11199600"/>
              <a:gd name="connsiteY148" fmla="*/ 4620449 h 5920067"/>
              <a:gd name="connsiteX149" fmla="*/ 0 w 11199600"/>
              <a:gd name="connsiteY149" fmla="*/ 4600829 h 5920067"/>
              <a:gd name="connsiteX150" fmla="*/ 0 w 11199600"/>
              <a:gd name="connsiteY150" fmla="*/ 4599606 h 5920067"/>
              <a:gd name="connsiteX151" fmla="*/ 0 w 11199600"/>
              <a:gd name="connsiteY151" fmla="*/ 4599421 h 5920067"/>
              <a:gd name="connsiteX152" fmla="*/ 0 w 11199600"/>
              <a:gd name="connsiteY152" fmla="*/ 4558472 h 5920067"/>
              <a:gd name="connsiteX153" fmla="*/ 0 w 11199600"/>
              <a:gd name="connsiteY153" fmla="*/ 4542771 h 5920067"/>
              <a:gd name="connsiteX154" fmla="*/ 0 w 11199600"/>
              <a:gd name="connsiteY154" fmla="*/ 4528452 h 5920067"/>
              <a:gd name="connsiteX155" fmla="*/ 0 w 11199600"/>
              <a:gd name="connsiteY155" fmla="*/ 4523933 h 5920067"/>
              <a:gd name="connsiteX156" fmla="*/ 0 w 11199600"/>
              <a:gd name="connsiteY156" fmla="*/ 4490961 h 5920067"/>
              <a:gd name="connsiteX157" fmla="*/ 0 w 11199600"/>
              <a:gd name="connsiteY157" fmla="*/ 4445170 h 5920067"/>
              <a:gd name="connsiteX158" fmla="*/ 0 w 11199600"/>
              <a:gd name="connsiteY158" fmla="*/ 4442981 h 5920067"/>
              <a:gd name="connsiteX159" fmla="*/ 0 w 11199600"/>
              <a:gd name="connsiteY159" fmla="*/ 4436639 h 5920067"/>
              <a:gd name="connsiteX160" fmla="*/ 0 w 11199600"/>
              <a:gd name="connsiteY160" fmla="*/ 4390248 h 5920067"/>
              <a:gd name="connsiteX161" fmla="*/ 0 w 11199600"/>
              <a:gd name="connsiteY161" fmla="*/ 4350891 h 5920067"/>
              <a:gd name="connsiteX162" fmla="*/ 0 w 11199600"/>
              <a:gd name="connsiteY162" fmla="*/ 4336894 h 5920067"/>
              <a:gd name="connsiteX163" fmla="*/ 0 w 11199600"/>
              <a:gd name="connsiteY163" fmla="*/ 4325366 h 5920067"/>
              <a:gd name="connsiteX164" fmla="*/ 0 w 11199600"/>
              <a:gd name="connsiteY164" fmla="*/ 4268531 h 5920067"/>
              <a:gd name="connsiteX165" fmla="*/ 0 w 11199600"/>
              <a:gd name="connsiteY165" fmla="*/ 4249693 h 5920067"/>
              <a:gd name="connsiteX166" fmla="*/ 0 w 11199600"/>
              <a:gd name="connsiteY166" fmla="*/ 4223869 h 5920067"/>
              <a:gd name="connsiteX167" fmla="*/ 0 w 11199600"/>
              <a:gd name="connsiteY167" fmla="*/ 4162399 h 5920067"/>
              <a:gd name="connsiteX168" fmla="*/ 0 w 11199600"/>
              <a:gd name="connsiteY168" fmla="*/ 4140749 h 5920067"/>
              <a:gd name="connsiteX169" fmla="*/ 0 w 11199600"/>
              <a:gd name="connsiteY169" fmla="*/ 4096732 h 5920067"/>
              <a:gd name="connsiteX170" fmla="*/ 0 w 11199600"/>
              <a:gd name="connsiteY170" fmla="*/ 4076651 h 5920067"/>
              <a:gd name="connsiteX171" fmla="*/ 0 w 11199600"/>
              <a:gd name="connsiteY171" fmla="*/ 4062654 h 5920067"/>
              <a:gd name="connsiteX172" fmla="*/ 0 w 11199600"/>
              <a:gd name="connsiteY172" fmla="*/ 3954655 h 5920067"/>
              <a:gd name="connsiteX173" fmla="*/ 0 w 11199600"/>
              <a:gd name="connsiteY173" fmla="*/ 3949629 h 5920067"/>
              <a:gd name="connsiteX174" fmla="*/ 0 w 11199600"/>
              <a:gd name="connsiteY174" fmla="*/ 3911516 h 5920067"/>
              <a:gd name="connsiteX175" fmla="*/ 0 w 11199600"/>
              <a:gd name="connsiteY175" fmla="*/ 3866509 h 5920067"/>
              <a:gd name="connsiteX176" fmla="*/ 0 w 11199600"/>
              <a:gd name="connsiteY176" fmla="*/ 3822492 h 5920067"/>
              <a:gd name="connsiteX177" fmla="*/ 0 w 11199600"/>
              <a:gd name="connsiteY177" fmla="*/ 3796807 h 5920067"/>
              <a:gd name="connsiteX178" fmla="*/ 0 w 11199600"/>
              <a:gd name="connsiteY178" fmla="*/ 3680415 h 5920067"/>
              <a:gd name="connsiteX179" fmla="*/ 0 w 11199600"/>
              <a:gd name="connsiteY179" fmla="*/ 3662362 h 5920067"/>
              <a:gd name="connsiteX180" fmla="*/ 0 w 11199600"/>
              <a:gd name="connsiteY180" fmla="*/ 3637276 h 5920067"/>
              <a:gd name="connsiteX181" fmla="*/ 0 w 11199600"/>
              <a:gd name="connsiteY181" fmla="*/ 3622357 h 5920067"/>
              <a:gd name="connsiteX182" fmla="*/ 0 w 11199600"/>
              <a:gd name="connsiteY182" fmla="*/ 3522567 h 5920067"/>
              <a:gd name="connsiteX183" fmla="*/ 0 w 11199600"/>
              <a:gd name="connsiteY183" fmla="*/ 3430477 h 5920067"/>
              <a:gd name="connsiteX184" fmla="*/ 0 w 11199600"/>
              <a:gd name="connsiteY184" fmla="*/ 3392457 h 5920067"/>
              <a:gd name="connsiteX185" fmla="*/ 0 w 11199600"/>
              <a:gd name="connsiteY185" fmla="*/ 3388122 h 5920067"/>
              <a:gd name="connsiteX186" fmla="*/ 0 w 11199600"/>
              <a:gd name="connsiteY186" fmla="*/ 3348117 h 5920067"/>
              <a:gd name="connsiteX187" fmla="*/ 0 w 11199600"/>
              <a:gd name="connsiteY187" fmla="*/ 3220335 h 5920067"/>
              <a:gd name="connsiteX188" fmla="*/ 0 w 11199600"/>
              <a:gd name="connsiteY188" fmla="*/ 3156237 h 5920067"/>
              <a:gd name="connsiteX189" fmla="*/ 0 w 11199600"/>
              <a:gd name="connsiteY189" fmla="*/ 3118217 h 5920067"/>
              <a:gd name="connsiteX190" fmla="*/ 0 w 11199600"/>
              <a:gd name="connsiteY190" fmla="*/ 3100970 h 5920067"/>
              <a:gd name="connsiteX191" fmla="*/ 0 w 11199600"/>
              <a:gd name="connsiteY191" fmla="*/ 2991102 h 5920067"/>
              <a:gd name="connsiteX192" fmla="*/ 0 w 11199600"/>
              <a:gd name="connsiteY192" fmla="*/ 2946095 h 5920067"/>
              <a:gd name="connsiteX193" fmla="*/ 0 w 11199600"/>
              <a:gd name="connsiteY193" fmla="*/ 2826730 h 5920067"/>
              <a:gd name="connsiteX194" fmla="*/ 0 w 11199600"/>
              <a:gd name="connsiteY194" fmla="*/ 2787072 h 5920067"/>
              <a:gd name="connsiteX195" fmla="*/ 0 w 11199600"/>
              <a:gd name="connsiteY195" fmla="*/ 2741948 h 5920067"/>
              <a:gd name="connsiteX196" fmla="*/ 0 w 11199600"/>
              <a:gd name="connsiteY196" fmla="*/ 2716862 h 5920067"/>
              <a:gd name="connsiteX197" fmla="*/ 0 w 11199600"/>
              <a:gd name="connsiteY197" fmla="*/ 2512832 h 5920067"/>
              <a:gd name="connsiteX198" fmla="*/ 0 w 11199600"/>
              <a:gd name="connsiteY198" fmla="*/ 2472043 h 5920067"/>
              <a:gd name="connsiteX199" fmla="*/ 0 w 11199600"/>
              <a:gd name="connsiteY199" fmla="*/ 2467708 h 5920067"/>
              <a:gd name="connsiteX200" fmla="*/ 0 w 11199600"/>
              <a:gd name="connsiteY200" fmla="*/ 2449933 h 5920067"/>
              <a:gd name="connsiteX201" fmla="*/ 0 w 11199600"/>
              <a:gd name="connsiteY201" fmla="*/ 2197803 h 5920067"/>
              <a:gd name="connsiteX202" fmla="*/ 0 w 11199600"/>
              <a:gd name="connsiteY202" fmla="*/ 2180556 h 5920067"/>
              <a:gd name="connsiteX203" fmla="*/ 0 w 11199600"/>
              <a:gd name="connsiteY203" fmla="*/ 2175692 h 5920067"/>
              <a:gd name="connsiteX204" fmla="*/ 0 w 11199600"/>
              <a:gd name="connsiteY204" fmla="*/ 2088721 h 5920067"/>
              <a:gd name="connsiteX205" fmla="*/ 0 w 11199600"/>
              <a:gd name="connsiteY205" fmla="*/ 1906316 h 5920067"/>
              <a:gd name="connsiteX206" fmla="*/ 0 w 11199600"/>
              <a:gd name="connsiteY206" fmla="*/ 1866658 h 5920067"/>
              <a:gd name="connsiteX207" fmla="*/ 0 w 11199600"/>
              <a:gd name="connsiteY207" fmla="*/ 1814481 h 5920067"/>
              <a:gd name="connsiteX208" fmla="*/ 0 w 11199600"/>
              <a:gd name="connsiteY208" fmla="*/ 1702609 h 5920067"/>
              <a:gd name="connsiteX209" fmla="*/ 0 w 11199600"/>
              <a:gd name="connsiteY209" fmla="*/ 1592418 h 5920067"/>
              <a:gd name="connsiteX210" fmla="*/ 0 w 11199600"/>
              <a:gd name="connsiteY210" fmla="*/ 1529519 h 5920067"/>
              <a:gd name="connsiteX211" fmla="*/ 0 w 11199600"/>
              <a:gd name="connsiteY211" fmla="*/ 1428369 h 5920067"/>
              <a:gd name="connsiteX212" fmla="*/ 0 w 11199600"/>
              <a:gd name="connsiteY212" fmla="*/ 1290764 h 5920067"/>
              <a:gd name="connsiteX213" fmla="*/ 0 w 11199600"/>
              <a:gd name="connsiteY213" fmla="*/ 1255278 h 5920067"/>
              <a:gd name="connsiteX214" fmla="*/ 0 w 11199600"/>
              <a:gd name="connsiteY214" fmla="*/ 1168307 h 5920067"/>
              <a:gd name="connsiteX215" fmla="*/ 0 w 11199600"/>
              <a:gd name="connsiteY215" fmla="*/ 1016524 h 5920067"/>
              <a:gd name="connsiteX216" fmla="*/ 0 w 11199600"/>
              <a:gd name="connsiteY216" fmla="*/ 894067 h 5920067"/>
              <a:gd name="connsiteX217" fmla="*/ 0 w 11199600"/>
              <a:gd name="connsiteY217" fmla="*/ 782195 h 5920067"/>
              <a:gd name="connsiteX218" fmla="*/ 0 w 11199600"/>
              <a:gd name="connsiteY218" fmla="*/ 507955 h 5920067"/>
              <a:gd name="connsiteX219" fmla="*/ 0 w 11199600"/>
              <a:gd name="connsiteY219" fmla="*/ 370350 h 5920067"/>
              <a:gd name="connsiteX220" fmla="*/ 0 w 11199600"/>
              <a:gd name="connsiteY220" fmla="*/ 96110 h 5920067"/>
              <a:gd name="connsiteX221" fmla="*/ 95997 w 11199600"/>
              <a:gd name="connsiteY221" fmla="*/ 0 h 5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11199600" h="5920067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cubicBezTo>
                  <a:pt x="11199600" y="1328117"/>
                  <a:pt x="11199600" y="1337455"/>
                  <a:pt x="11199600" y="1349128"/>
                </a:cubicBez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239653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9591"/>
                </a:lnTo>
                <a:lnTo>
                  <a:pt x="11199600" y="2527610"/>
                </a:lnTo>
                <a:lnTo>
                  <a:pt x="11199600" y="2531945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801851"/>
                </a:lnTo>
                <a:lnTo>
                  <a:pt x="11199600" y="2819097"/>
                </a:lnTo>
                <a:lnTo>
                  <a:pt x="11199600" y="2928965"/>
                </a:lnTo>
                <a:lnTo>
                  <a:pt x="11199600" y="2973972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178119"/>
                </a:lnTo>
                <a:lnTo>
                  <a:pt x="11199600" y="3203205"/>
                </a:lnTo>
                <a:lnTo>
                  <a:pt x="11199600" y="3407236"/>
                </a:lnTo>
                <a:lnTo>
                  <a:pt x="11199600" y="3448024"/>
                </a:lnTo>
                <a:lnTo>
                  <a:pt x="11199600" y="3452359"/>
                </a:lnTo>
                <a:lnTo>
                  <a:pt x="11199600" y="3470135"/>
                </a:lnTo>
                <a:lnTo>
                  <a:pt x="11199600" y="3722265"/>
                </a:lnTo>
                <a:lnTo>
                  <a:pt x="11199600" y="3739511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013751"/>
                </a:lnTo>
                <a:lnTo>
                  <a:pt x="11199600" y="4053409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327650"/>
                </a:lnTo>
                <a:lnTo>
                  <a:pt x="11199600" y="439054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664789"/>
                </a:lnTo>
                <a:lnTo>
                  <a:pt x="11199600" y="4751760"/>
                </a:lnTo>
                <a:lnTo>
                  <a:pt x="11199600" y="4903543"/>
                </a:lnTo>
                <a:lnTo>
                  <a:pt x="11199600" y="5026000"/>
                </a:lnTo>
                <a:lnTo>
                  <a:pt x="11199600" y="5137873"/>
                </a:lnTo>
                <a:lnTo>
                  <a:pt x="11199600" y="5412113"/>
                </a:lnTo>
                <a:lnTo>
                  <a:pt x="11199600" y="5549717"/>
                </a:lnTo>
                <a:lnTo>
                  <a:pt x="11199600" y="5823957"/>
                </a:lnTo>
                <a:cubicBezTo>
                  <a:pt x="11199600" y="5920067"/>
                  <a:pt x="11103603" y="5920067"/>
                  <a:pt x="11103603" y="5920067"/>
                </a:cubicBezTo>
                <a:cubicBezTo>
                  <a:pt x="11103603" y="5920067"/>
                  <a:pt x="11103603" y="5920067"/>
                  <a:pt x="95997" y="5920067"/>
                </a:cubicBezTo>
                <a:cubicBezTo>
                  <a:pt x="0" y="5920067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  <a:alpha val="10000"/>
            </a:schemeClr>
          </a:solidFill>
        </p:spPr>
        <p:txBody>
          <a:bodyPr wrap="square" lIns="3239676" tIns="35996" rIns="35996" bIns="35996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49642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59302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6" y="1278385"/>
            <a:ext cx="1048917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02686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846827" y="1270001"/>
            <a:ext cx="5058000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 bwMode="gray">
          <a:xfrm>
            <a:off x="6276751" y="1270001"/>
            <a:ext cx="5058000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323823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08349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/>
          <p:cNvSpPr>
            <a:spLocks noChangeAspect="1"/>
          </p:cNvSpPr>
          <p:nvPr userDrawn="1"/>
        </p:nvSpPr>
        <p:spPr bwMode="gray">
          <a:xfrm>
            <a:off x="693739" y="1695449"/>
            <a:ext cx="10641600" cy="2630915"/>
          </a:xfrm>
          <a:custGeom>
            <a:avLst/>
            <a:gdLst>
              <a:gd name="T0" fmla="*/ 2480 w 2480"/>
              <a:gd name="T1" fmla="*/ 528 h 611"/>
              <a:gd name="T2" fmla="*/ 2480 w 2480"/>
              <a:gd name="T3" fmla="*/ 32 h 611"/>
              <a:gd name="T4" fmla="*/ 2448 w 2480"/>
              <a:gd name="T5" fmla="*/ 0 h 611"/>
              <a:gd name="T6" fmla="*/ 32 w 2480"/>
              <a:gd name="T7" fmla="*/ 0 h 611"/>
              <a:gd name="T8" fmla="*/ 0 w 2480"/>
              <a:gd name="T9" fmla="*/ 32 h 611"/>
              <a:gd name="T10" fmla="*/ 0 w 2480"/>
              <a:gd name="T11" fmla="*/ 528 h 611"/>
              <a:gd name="T12" fmla="*/ 32 w 2480"/>
              <a:gd name="T13" fmla="*/ 560 h 611"/>
              <a:gd name="T14" fmla="*/ 237 w 2480"/>
              <a:gd name="T15" fmla="*/ 560 h 611"/>
              <a:gd name="T16" fmla="*/ 271 w 2480"/>
              <a:gd name="T17" fmla="*/ 604 h 611"/>
              <a:gd name="T18" fmla="*/ 289 w 2480"/>
              <a:gd name="T19" fmla="*/ 604 h 611"/>
              <a:gd name="T20" fmla="*/ 323 w 2480"/>
              <a:gd name="T21" fmla="*/ 560 h 611"/>
              <a:gd name="T22" fmla="*/ 2448 w 2480"/>
              <a:gd name="T23" fmla="*/ 560 h 611"/>
              <a:gd name="T24" fmla="*/ 2480 w 2480"/>
              <a:gd name="T25" fmla="*/ 528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80" h="611">
                <a:moveTo>
                  <a:pt x="2480" y="528"/>
                </a:moveTo>
                <a:cubicBezTo>
                  <a:pt x="2480" y="32"/>
                  <a:pt x="2480" y="32"/>
                  <a:pt x="2480" y="32"/>
                </a:cubicBezTo>
                <a:cubicBezTo>
                  <a:pt x="2480" y="32"/>
                  <a:pt x="2480" y="0"/>
                  <a:pt x="2448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0" y="0"/>
                  <a:pt x="0" y="32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528"/>
                  <a:pt x="0" y="560"/>
                  <a:pt x="32" y="560"/>
                </a:cubicBezTo>
                <a:cubicBezTo>
                  <a:pt x="237" y="560"/>
                  <a:pt x="237" y="560"/>
                  <a:pt x="237" y="560"/>
                </a:cubicBezTo>
                <a:cubicBezTo>
                  <a:pt x="271" y="604"/>
                  <a:pt x="271" y="604"/>
                  <a:pt x="271" y="604"/>
                </a:cubicBezTo>
                <a:cubicBezTo>
                  <a:pt x="276" y="611"/>
                  <a:pt x="284" y="611"/>
                  <a:pt x="289" y="604"/>
                </a:cubicBezTo>
                <a:cubicBezTo>
                  <a:pt x="323" y="560"/>
                  <a:pt x="323" y="560"/>
                  <a:pt x="323" y="560"/>
                </a:cubicBezTo>
                <a:cubicBezTo>
                  <a:pt x="2448" y="560"/>
                  <a:pt x="2448" y="560"/>
                  <a:pt x="2448" y="560"/>
                </a:cubicBezTo>
                <a:cubicBezTo>
                  <a:pt x="2448" y="560"/>
                  <a:pt x="2480" y="560"/>
                  <a:pt x="2480" y="528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1172150" y="1695452"/>
            <a:ext cx="10162600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3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4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52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 bwMode="gray">
          <a:xfrm>
            <a:off x="0" y="1643200"/>
            <a:ext cx="11339513" cy="3055937"/>
            <a:chOff x="409575" y="3144838"/>
            <a:chExt cx="11339513" cy="3055937"/>
          </a:xfrm>
        </p:grpSpPr>
        <p:sp>
          <p:nvSpPr>
            <p:cNvPr id="45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842434" y="2116801"/>
            <a:ext cx="10313209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240705"/>
            <a:ext cx="7082733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20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01" y="3556800"/>
            <a:ext cx="10305675" cy="385233"/>
          </a:xfrm>
        </p:spPr>
        <p:txBody>
          <a:bodyPr>
            <a:noAutofit/>
          </a:bodyPr>
          <a:lstStyle>
            <a:lvl1pPr>
              <a:lnSpc>
                <a:spcPts val="2199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5242061"/>
            <a:ext cx="2196000" cy="1318571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838200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3015150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426676" y="6559200"/>
            <a:ext cx="3600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-426676" y="6200775"/>
            <a:ext cx="3600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1206675" y="7019956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506675" y="6266693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-426676" y="5242062"/>
            <a:ext cx="3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 userDrawn="1"/>
        </p:nvSpPr>
        <p:spPr>
          <a:xfrm>
            <a:off x="-1506675" y="5297119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grpSp>
        <p:nvGrpSpPr>
          <p:cNvPr id="53" name="Group 52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54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5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167642" y="4291504"/>
            <a:ext cx="298800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65127853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6" y="1278385"/>
            <a:ext cx="1048917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61" indent="-268261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21" indent="-266673">
              <a:buClr>
                <a:schemeClr val="accent2"/>
              </a:buClr>
              <a:defRPr/>
            </a:lvl3pPr>
            <a:lvl4pPr marL="807958" indent="-260324">
              <a:buClr>
                <a:schemeClr val="accent3"/>
              </a:buClr>
              <a:defRPr/>
            </a:lvl4pPr>
            <a:lvl5pPr marL="1071455" indent="-252387">
              <a:buClr>
                <a:schemeClr val="accent4"/>
              </a:buCl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63498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6" y="1795637"/>
            <a:ext cx="10489175" cy="44051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61" indent="-268261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21" indent="-266673">
              <a:buClr>
                <a:schemeClr val="accent2"/>
              </a:buClr>
              <a:defRPr/>
            </a:lvl3pPr>
            <a:lvl4pPr marL="807958" indent="-260324">
              <a:buClr>
                <a:schemeClr val="accent3"/>
              </a:buClr>
              <a:defRPr/>
            </a:lvl4pPr>
            <a:lvl5pPr marL="1071455" indent="-252387">
              <a:buClr>
                <a:schemeClr val="accent4"/>
              </a:buCl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845575" y="1277982"/>
            <a:ext cx="10489175" cy="436017"/>
          </a:xfrm>
        </p:spPr>
        <p:txBody>
          <a:bodyPr>
            <a:noAutofit/>
          </a:bodyPr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898688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6" y="1278385"/>
            <a:ext cx="1048917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8261" indent="-268261">
              <a:buClr>
                <a:schemeClr val="accent1"/>
              </a:buClr>
              <a:buFont typeface="ING Me" pitchFamily="2" charset="0"/>
              <a:buChar char="•"/>
              <a:defRPr/>
            </a:lvl1pPr>
            <a:lvl2pPr marL="538110" indent="-268261">
              <a:buClr>
                <a:schemeClr val="accent2"/>
              </a:buClr>
              <a:buFont typeface="ING Me" pitchFamily="2" charset="0"/>
              <a:buChar char="•"/>
              <a:defRPr/>
            </a:lvl2pPr>
            <a:lvl3pPr marL="804782" indent="-266673">
              <a:buClr>
                <a:schemeClr val="accent3"/>
              </a:buClr>
              <a:defRPr/>
            </a:lvl3pPr>
            <a:lvl4pPr marL="1077806" indent="-260324">
              <a:buClr>
                <a:schemeClr val="accent4"/>
              </a:buClr>
              <a:defRPr/>
            </a:lvl4pPr>
            <a:lvl5pPr marL="1341303" indent="-252387">
              <a:buClr>
                <a:schemeClr val="accent5"/>
              </a:buCl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6487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6" y="1278385"/>
            <a:ext cx="1048917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81289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/>
          <p:cNvGrpSpPr>
            <a:grpSpLocks noChangeAspect="1"/>
          </p:cNvGrpSpPr>
          <p:nvPr userDrawn="1"/>
        </p:nvGrpSpPr>
        <p:grpSpPr bwMode="gray">
          <a:xfrm>
            <a:off x="1" y="1643200"/>
            <a:ext cx="5909320" cy="3045600"/>
            <a:chOff x="3465513" y="2070100"/>
            <a:chExt cx="5260975" cy="2711450"/>
          </a:xfrm>
        </p:grpSpPr>
        <p:sp>
          <p:nvSpPr>
            <p:cNvPr id="67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65" name="Picture Placeholder 64"/>
          <p:cNvSpPr>
            <a:spLocks noGrp="1"/>
          </p:cNvSpPr>
          <p:nvPr>
            <p:ph type="pic" sz="quarter" idx="12"/>
          </p:nvPr>
        </p:nvSpPr>
        <p:spPr bwMode="gray">
          <a:xfrm>
            <a:off x="-3175" y="2"/>
            <a:ext cx="12195175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79712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842434" y="2012286"/>
            <a:ext cx="4877966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031479"/>
            <a:ext cx="4877966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17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34" y="3603487"/>
            <a:ext cx="4877966" cy="290712"/>
          </a:xfrm>
        </p:spPr>
        <p:txBody>
          <a:bodyPr bIns="0">
            <a:noAutofit/>
          </a:bodyPr>
          <a:lstStyle>
            <a:lvl1pPr algn="l">
              <a:lnSpc>
                <a:spcPts val="1699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6055201"/>
            <a:ext cx="219600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3015150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-426676" y="6200775"/>
            <a:ext cx="3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1206675" y="7019956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1506675" y="6266693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838200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-426676" y="6559200"/>
            <a:ext cx="3600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78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0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1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2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3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4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5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6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7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8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89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0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1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2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3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4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5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6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7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8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42434" y="4381898"/>
            <a:ext cx="4878000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4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337760353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 userDrawn="1"/>
        </p:nvGrpSpPr>
        <p:grpSpPr bwMode="gray">
          <a:xfrm>
            <a:off x="0" y="1643200"/>
            <a:ext cx="11339513" cy="3055937"/>
            <a:chOff x="409575" y="3144838"/>
            <a:chExt cx="11339513" cy="3055937"/>
          </a:xfrm>
        </p:grpSpPr>
        <p:sp>
          <p:nvSpPr>
            <p:cNvPr id="51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842434" y="2116801"/>
            <a:ext cx="10313209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240705"/>
            <a:ext cx="7082733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20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01" y="3556800"/>
            <a:ext cx="10305675" cy="385233"/>
          </a:xfrm>
        </p:spPr>
        <p:txBody>
          <a:bodyPr>
            <a:noAutofit/>
          </a:bodyPr>
          <a:lstStyle>
            <a:lvl1pPr>
              <a:lnSpc>
                <a:spcPts val="2199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5242063"/>
            <a:ext cx="2196000" cy="1317138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3015150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426676" y="6200775"/>
            <a:ext cx="3600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1206675" y="7019956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506675" y="6266693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-426676" y="5242062"/>
            <a:ext cx="3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-1506675" y="5297119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838200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-426676" y="6559200"/>
            <a:ext cx="3600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5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7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4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167642" y="4291504"/>
            <a:ext cx="298800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10749168" y="-133099"/>
            <a:ext cx="1441027" cy="1565166"/>
            <a:chOff x="5364088" y="4720073"/>
            <a:chExt cx="1441027" cy="1565166"/>
          </a:xfrm>
        </p:grpSpPr>
        <p:sp>
          <p:nvSpPr>
            <p:cNvPr id="48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9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774608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/>
          <p:cNvGrpSpPr>
            <a:grpSpLocks noChangeAspect="1"/>
          </p:cNvGrpSpPr>
          <p:nvPr userDrawn="1"/>
        </p:nvGrpSpPr>
        <p:grpSpPr bwMode="gray">
          <a:xfrm>
            <a:off x="1" y="1643200"/>
            <a:ext cx="5909320" cy="3045600"/>
            <a:chOff x="3465513" y="2070100"/>
            <a:chExt cx="5260975" cy="2711450"/>
          </a:xfrm>
        </p:grpSpPr>
        <p:sp>
          <p:nvSpPr>
            <p:cNvPr id="67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5" name="Picture Placeholder 64"/>
          <p:cNvSpPr>
            <a:spLocks noGrp="1"/>
          </p:cNvSpPr>
          <p:nvPr>
            <p:ph type="pic" sz="quarter" idx="12"/>
          </p:nvPr>
        </p:nvSpPr>
        <p:spPr bwMode="gray">
          <a:xfrm>
            <a:off x="-3175" y="2"/>
            <a:ext cx="12195175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79712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842434" y="2012286"/>
            <a:ext cx="4877966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031479"/>
            <a:ext cx="4877966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17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34" y="3603487"/>
            <a:ext cx="4877966" cy="290712"/>
          </a:xfrm>
        </p:spPr>
        <p:txBody>
          <a:bodyPr bIns="0">
            <a:noAutofit/>
          </a:bodyPr>
          <a:lstStyle>
            <a:lvl1pPr algn="l">
              <a:lnSpc>
                <a:spcPts val="1699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6055201"/>
            <a:ext cx="219600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3015150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-426676" y="6200775"/>
            <a:ext cx="3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1206675" y="7019956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3" name="TextBox 22"/>
          <p:cNvSpPr txBox="1"/>
          <p:nvPr userDrawn="1"/>
        </p:nvSpPr>
        <p:spPr>
          <a:xfrm>
            <a:off x="-1506675" y="6266693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838200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-426676" y="6559200"/>
            <a:ext cx="3600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78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9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0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1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2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3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4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5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6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7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8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89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0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1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2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3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4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5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6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7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8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42434" y="4381898"/>
            <a:ext cx="4878000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4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25105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>
            <a:grpSpLocks noChangeAspect="1"/>
          </p:cNvGrpSpPr>
          <p:nvPr userDrawn="1"/>
        </p:nvGrpSpPr>
        <p:grpSpPr bwMode="gray">
          <a:xfrm>
            <a:off x="1" y="1643200"/>
            <a:ext cx="5909320" cy="3045600"/>
            <a:chOff x="3465513" y="2070100"/>
            <a:chExt cx="5260975" cy="2711450"/>
          </a:xfrm>
        </p:grpSpPr>
        <p:sp>
          <p:nvSpPr>
            <p:cNvPr id="81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5" name="Freeform 84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842434" y="2012286"/>
            <a:ext cx="4877966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031479"/>
            <a:ext cx="4877966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17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34" y="3603487"/>
            <a:ext cx="4877966" cy="290712"/>
          </a:xfrm>
        </p:spPr>
        <p:txBody>
          <a:bodyPr bIns="0">
            <a:noAutofit/>
          </a:bodyPr>
          <a:lstStyle>
            <a:lvl1pPr algn="l">
              <a:lnSpc>
                <a:spcPts val="1699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6055201"/>
            <a:ext cx="219600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3015150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-426676" y="6200775"/>
            <a:ext cx="3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1206675" y="7019956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-1506675" y="6266693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838200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-426676" y="6559200"/>
            <a:ext cx="3600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5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4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42434" y="4381898"/>
            <a:ext cx="4878000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4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10749168" y="-133099"/>
            <a:ext cx="1441027" cy="1565166"/>
            <a:chOff x="5364088" y="4720073"/>
            <a:chExt cx="1441027" cy="1565166"/>
          </a:xfrm>
        </p:grpSpPr>
        <p:sp>
          <p:nvSpPr>
            <p:cNvPr id="4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8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  <p:sp>
        <p:nvSpPr>
          <p:cNvPr id="54" name="Picture Placeholder 53"/>
          <p:cNvSpPr>
            <a:spLocks noGrp="1"/>
          </p:cNvSpPr>
          <p:nvPr>
            <p:ph type="pic" sz="quarter" idx="12"/>
          </p:nvPr>
        </p:nvSpPr>
        <p:spPr bwMode="gray">
          <a:xfrm>
            <a:off x="-3175" y="2"/>
            <a:ext cx="12195175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79712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910939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0" y="1643200"/>
            <a:ext cx="11339513" cy="3055937"/>
            <a:chOff x="409575" y="3144838"/>
            <a:chExt cx="11339513" cy="3055937"/>
          </a:xfrm>
        </p:grpSpPr>
        <p:sp>
          <p:nvSpPr>
            <p:cNvPr id="37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842434" y="2116801"/>
            <a:ext cx="10313209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240705"/>
            <a:ext cx="7082733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20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01" y="3556800"/>
            <a:ext cx="10305675" cy="385233"/>
          </a:xfrm>
        </p:spPr>
        <p:txBody>
          <a:bodyPr>
            <a:noAutofit/>
          </a:bodyPr>
          <a:lstStyle>
            <a:lvl1pPr>
              <a:lnSpc>
                <a:spcPts val="2199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pic>
        <p:nvPicPr>
          <p:cNvPr id="13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838200" y="6291857"/>
            <a:ext cx="2196000" cy="287825"/>
          </a:xfrm>
          <a:prstGeom prst="rect">
            <a:avLst/>
          </a:prstGeom>
        </p:spPr>
      </p:pic>
      <p:grpSp>
        <p:nvGrpSpPr>
          <p:cNvPr id="44" name="Group 43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45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6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3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167642" y="4291504"/>
            <a:ext cx="298800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309886404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>
            <a:grpSpLocks noChangeAspect="1"/>
          </p:cNvGrpSpPr>
          <p:nvPr userDrawn="1"/>
        </p:nvGrpSpPr>
        <p:grpSpPr bwMode="gray">
          <a:xfrm>
            <a:off x="1" y="1643200"/>
            <a:ext cx="5909320" cy="3045600"/>
            <a:chOff x="3465513" y="2070100"/>
            <a:chExt cx="5260975" cy="2711450"/>
          </a:xfrm>
        </p:grpSpPr>
        <p:sp>
          <p:nvSpPr>
            <p:cNvPr id="75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76" name="Freeform 75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842434" y="2012286"/>
            <a:ext cx="4877966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031479"/>
            <a:ext cx="4877966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17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34" y="3603487"/>
            <a:ext cx="4877966" cy="290712"/>
          </a:xfrm>
        </p:spPr>
        <p:txBody>
          <a:bodyPr bIns="0">
            <a:noAutofit/>
          </a:bodyPr>
          <a:lstStyle>
            <a:lvl1pPr algn="l">
              <a:lnSpc>
                <a:spcPts val="1699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pic>
        <p:nvPicPr>
          <p:cNvPr id="19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838200" y="6291857"/>
            <a:ext cx="2196000" cy="287825"/>
          </a:xfrm>
          <a:prstGeom prst="rect">
            <a:avLst/>
          </a:prstGeom>
        </p:spPr>
      </p:pic>
      <p:grpSp>
        <p:nvGrpSpPr>
          <p:cNvPr id="42" name="Group 41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4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3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42434" y="4381898"/>
            <a:ext cx="4878000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4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2"/>
          </p:nvPr>
        </p:nvSpPr>
        <p:spPr bwMode="gray">
          <a:xfrm>
            <a:off x="-3175" y="2"/>
            <a:ext cx="12195175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79712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976561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 userDrawn="1"/>
        </p:nvGrpSpPr>
        <p:grpSpPr bwMode="gray">
          <a:xfrm>
            <a:off x="0" y="1643200"/>
            <a:ext cx="11339513" cy="3055937"/>
            <a:chOff x="409575" y="3144838"/>
            <a:chExt cx="11339513" cy="3055937"/>
          </a:xfrm>
        </p:grpSpPr>
        <p:sp>
          <p:nvSpPr>
            <p:cNvPr id="40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842434" y="2116801"/>
            <a:ext cx="10313209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240705"/>
            <a:ext cx="7082733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20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01" y="3556800"/>
            <a:ext cx="10305675" cy="385233"/>
          </a:xfrm>
        </p:spPr>
        <p:txBody>
          <a:bodyPr>
            <a:noAutofit/>
          </a:bodyPr>
          <a:lstStyle>
            <a:lvl1pPr>
              <a:lnSpc>
                <a:spcPts val="2199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pic>
        <p:nvPicPr>
          <p:cNvPr id="35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838201" y="6291857"/>
            <a:ext cx="2188369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167642" y="4291504"/>
            <a:ext cx="298800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10749168" y="-133099"/>
            <a:ext cx="1441027" cy="1565166"/>
            <a:chOff x="5364088" y="4720073"/>
            <a:chExt cx="1441027" cy="1565166"/>
          </a:xfrm>
        </p:grpSpPr>
        <p:sp>
          <p:nvSpPr>
            <p:cNvPr id="43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4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5952247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Al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/>
          <p:cNvGrpSpPr>
            <a:grpSpLocks noChangeAspect="1"/>
          </p:cNvGrpSpPr>
          <p:nvPr userDrawn="1"/>
        </p:nvGrpSpPr>
        <p:grpSpPr bwMode="gray">
          <a:xfrm>
            <a:off x="1" y="1643200"/>
            <a:ext cx="5909320" cy="3045600"/>
            <a:chOff x="3465513" y="2070100"/>
            <a:chExt cx="5260975" cy="2711450"/>
          </a:xfrm>
        </p:grpSpPr>
        <p:sp>
          <p:nvSpPr>
            <p:cNvPr id="80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1" name="Freeform 80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842434" y="2012286"/>
            <a:ext cx="4877966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031479"/>
            <a:ext cx="4877966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17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34" y="3603487"/>
            <a:ext cx="4877966" cy="290712"/>
          </a:xfrm>
        </p:spPr>
        <p:txBody>
          <a:bodyPr bIns="0">
            <a:noAutofit/>
          </a:bodyPr>
          <a:lstStyle>
            <a:lvl1pPr algn="l">
              <a:lnSpc>
                <a:spcPts val="1699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pic>
        <p:nvPicPr>
          <p:cNvPr id="30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838201" y="6291857"/>
            <a:ext cx="2188369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42434" y="4381898"/>
            <a:ext cx="4878000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4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70" name="Picture Placeholder 69"/>
          <p:cNvSpPr>
            <a:spLocks noGrp="1"/>
          </p:cNvSpPr>
          <p:nvPr>
            <p:ph type="pic" sz="quarter" idx="12"/>
          </p:nvPr>
        </p:nvSpPr>
        <p:spPr bwMode="gray">
          <a:xfrm>
            <a:off x="-3175" y="2"/>
            <a:ext cx="12195175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79712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10749168" y="-133099"/>
            <a:ext cx="1441027" cy="1565166"/>
            <a:chOff x="5364088" y="4720073"/>
            <a:chExt cx="1441027" cy="1565166"/>
          </a:xfrm>
        </p:grpSpPr>
        <p:sp>
          <p:nvSpPr>
            <p:cNvPr id="41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2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8410896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696912" y="1201147"/>
            <a:ext cx="11199600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845575" y="1327150"/>
            <a:ext cx="10489176" cy="4752000"/>
          </a:xfrm>
        </p:spPr>
        <p:txBody>
          <a:bodyPr>
            <a:noAutofit/>
          </a:bodyPr>
          <a:lstStyle>
            <a:lvl1pPr marL="431956" marR="0" indent="-431956" algn="l" defTabSz="914286" rtl="0" eaLnBrk="1" fontAlgn="auto" latinLnBrk="0" hangingPunct="1">
              <a:lnSpc>
                <a:spcPts val="2199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55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612538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Picture R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>
            <a:spLocks noChangeAspect="1"/>
          </p:cNvSpPr>
          <p:nvPr userDrawn="1"/>
        </p:nvSpPr>
        <p:spPr bwMode="gray">
          <a:xfrm>
            <a:off x="696912" y="1201147"/>
            <a:ext cx="11199600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845576" y="1327149"/>
            <a:ext cx="5987025" cy="4752000"/>
          </a:xfrm>
        </p:spPr>
        <p:txBody>
          <a:bodyPr>
            <a:noAutofit/>
          </a:bodyPr>
          <a:lstStyle>
            <a:lvl1pPr marL="431956" marR="0" indent="-431956" algn="l" defTabSz="914286" rtl="0" eaLnBrk="1" fontAlgn="auto" latinLnBrk="0" hangingPunct="1">
              <a:lnSpc>
                <a:spcPts val="2199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55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7296150" y="1201147"/>
            <a:ext cx="4600362" cy="4999652"/>
          </a:xfrm>
          <a:custGeom>
            <a:avLst/>
            <a:gdLst>
              <a:gd name="connsiteX0" fmla="*/ 0 w 4600362"/>
              <a:gd name="connsiteY0" fmla="*/ 0 h 4999652"/>
              <a:gd name="connsiteX1" fmla="*/ 4504373 w 4600362"/>
              <a:gd name="connsiteY1" fmla="*/ 0 h 4999652"/>
              <a:gd name="connsiteX2" fmla="*/ 4536051 w 4600362"/>
              <a:gd name="connsiteY2" fmla="*/ 4129 h 4999652"/>
              <a:gd name="connsiteX3" fmla="*/ 4600362 w 4600362"/>
              <a:gd name="connsiteY3" fmla="*/ 96109 h 4999652"/>
              <a:gd name="connsiteX4" fmla="*/ 4600362 w 4600362"/>
              <a:gd name="connsiteY4" fmla="*/ 335164 h 4999652"/>
              <a:gd name="connsiteX5" fmla="*/ 4600362 w 4600362"/>
              <a:gd name="connsiteY5" fmla="*/ 370349 h 4999652"/>
              <a:gd name="connsiteX6" fmla="*/ 4600362 w 4600362"/>
              <a:gd name="connsiteY6" fmla="*/ 379203 h 4999652"/>
              <a:gd name="connsiteX7" fmla="*/ 4600362 w 4600362"/>
              <a:gd name="connsiteY7" fmla="*/ 400047 h 4999652"/>
              <a:gd name="connsiteX8" fmla="*/ 4600362 w 4600362"/>
              <a:gd name="connsiteY8" fmla="*/ 400231 h 4999652"/>
              <a:gd name="connsiteX9" fmla="*/ 4600362 w 4600362"/>
              <a:gd name="connsiteY9" fmla="*/ 471201 h 4999652"/>
              <a:gd name="connsiteX10" fmla="*/ 4600362 w 4600362"/>
              <a:gd name="connsiteY10" fmla="*/ 475720 h 4999652"/>
              <a:gd name="connsiteX11" fmla="*/ 4600362 w 4600362"/>
              <a:gd name="connsiteY11" fmla="*/ 508691 h 4999652"/>
              <a:gd name="connsiteX12" fmla="*/ 4600362 w 4600362"/>
              <a:gd name="connsiteY12" fmla="*/ 554483 h 4999652"/>
              <a:gd name="connsiteX13" fmla="*/ 4600362 w 4600362"/>
              <a:gd name="connsiteY13" fmla="*/ 563014 h 4999652"/>
              <a:gd name="connsiteX14" fmla="*/ 4600362 w 4600362"/>
              <a:gd name="connsiteY14" fmla="*/ 609404 h 4999652"/>
              <a:gd name="connsiteX15" fmla="*/ 4600362 w 4600362"/>
              <a:gd name="connsiteY15" fmla="*/ 662758 h 4999652"/>
              <a:gd name="connsiteX16" fmla="*/ 4600362 w 4600362"/>
              <a:gd name="connsiteY16" fmla="*/ 674287 h 4999652"/>
              <a:gd name="connsiteX17" fmla="*/ 4600362 w 4600362"/>
              <a:gd name="connsiteY17" fmla="*/ 749960 h 4999652"/>
              <a:gd name="connsiteX18" fmla="*/ 4600362 w 4600362"/>
              <a:gd name="connsiteY18" fmla="*/ 775784 h 4999652"/>
              <a:gd name="connsiteX19" fmla="*/ 4600362 w 4600362"/>
              <a:gd name="connsiteY19" fmla="*/ 837254 h 4999652"/>
              <a:gd name="connsiteX20" fmla="*/ 4600362 w 4600362"/>
              <a:gd name="connsiteY20" fmla="*/ 902920 h 4999652"/>
              <a:gd name="connsiteX21" fmla="*/ 4600362 w 4600362"/>
              <a:gd name="connsiteY21" fmla="*/ 936998 h 4999652"/>
              <a:gd name="connsiteX22" fmla="*/ 4600362 w 4600362"/>
              <a:gd name="connsiteY22" fmla="*/ 1044998 h 4999652"/>
              <a:gd name="connsiteX23" fmla="*/ 4600362 w 4600362"/>
              <a:gd name="connsiteY23" fmla="*/ 1050024 h 4999652"/>
              <a:gd name="connsiteX24" fmla="*/ 4600362 w 4600362"/>
              <a:gd name="connsiteY24" fmla="*/ 1177160 h 4999652"/>
              <a:gd name="connsiteX25" fmla="*/ 4600362 w 4600362"/>
              <a:gd name="connsiteY25" fmla="*/ 1202846 h 4999652"/>
              <a:gd name="connsiteX26" fmla="*/ 4600362 w 4600362"/>
              <a:gd name="connsiteY26" fmla="*/ 1319238 h 4999652"/>
              <a:gd name="connsiteX27" fmla="*/ 4600362 w 4600362"/>
              <a:gd name="connsiteY27" fmla="*/ 1377295 h 4999652"/>
              <a:gd name="connsiteX28" fmla="*/ 4600362 w 4600362"/>
              <a:gd name="connsiteY28" fmla="*/ 1477086 h 4999652"/>
              <a:gd name="connsiteX29" fmla="*/ 4600362 w 4600362"/>
              <a:gd name="connsiteY29" fmla="*/ 1569176 h 4999652"/>
              <a:gd name="connsiteX30" fmla="*/ 4600362 w 4600362"/>
              <a:gd name="connsiteY30" fmla="*/ 1651535 h 4999652"/>
              <a:gd name="connsiteX31" fmla="*/ 4600362 w 4600362"/>
              <a:gd name="connsiteY31" fmla="*/ 1779317 h 4999652"/>
              <a:gd name="connsiteX32" fmla="*/ 4600362 w 4600362"/>
              <a:gd name="connsiteY32" fmla="*/ 1843416 h 4999652"/>
              <a:gd name="connsiteX33" fmla="*/ 4600362 w 4600362"/>
              <a:gd name="connsiteY33" fmla="*/ 2008550 h 4999652"/>
              <a:gd name="connsiteX34" fmla="*/ 4600362 w 4600362"/>
              <a:gd name="connsiteY34" fmla="*/ 2053557 h 4999652"/>
              <a:gd name="connsiteX35" fmla="*/ 4600362 w 4600362"/>
              <a:gd name="connsiteY35" fmla="*/ 2257704 h 4999652"/>
              <a:gd name="connsiteX36" fmla="*/ 4600362 w 4600362"/>
              <a:gd name="connsiteY36" fmla="*/ 2282790 h 4999652"/>
              <a:gd name="connsiteX37" fmla="*/ 4600362 w 4600362"/>
              <a:gd name="connsiteY37" fmla="*/ 2527609 h 4999652"/>
              <a:gd name="connsiteX38" fmla="*/ 4600362 w 4600362"/>
              <a:gd name="connsiteY38" fmla="*/ 2531944 h 4999652"/>
              <a:gd name="connsiteX39" fmla="*/ 4600362 w 4600362"/>
              <a:gd name="connsiteY39" fmla="*/ 2801850 h 4999652"/>
              <a:gd name="connsiteX40" fmla="*/ 4600362 w 4600362"/>
              <a:gd name="connsiteY40" fmla="*/ 2819096 h 4999652"/>
              <a:gd name="connsiteX41" fmla="*/ 4600362 w 4600362"/>
              <a:gd name="connsiteY41" fmla="*/ 3093336 h 4999652"/>
              <a:gd name="connsiteX42" fmla="*/ 4600362 w 4600362"/>
              <a:gd name="connsiteY42" fmla="*/ 3132994 h 4999652"/>
              <a:gd name="connsiteX43" fmla="*/ 4600362 w 4600362"/>
              <a:gd name="connsiteY43" fmla="*/ 3407235 h 4999652"/>
              <a:gd name="connsiteX44" fmla="*/ 4600362 w 4600362"/>
              <a:gd name="connsiteY44" fmla="*/ 3470134 h 4999652"/>
              <a:gd name="connsiteX45" fmla="*/ 4600362 w 4600362"/>
              <a:gd name="connsiteY45" fmla="*/ 3744374 h 4999652"/>
              <a:gd name="connsiteX46" fmla="*/ 4600362 w 4600362"/>
              <a:gd name="connsiteY46" fmla="*/ 3831345 h 4999652"/>
              <a:gd name="connsiteX47" fmla="*/ 4600362 w 4600362"/>
              <a:gd name="connsiteY47" fmla="*/ 4105585 h 4999652"/>
              <a:gd name="connsiteX48" fmla="*/ 4600362 w 4600362"/>
              <a:gd name="connsiteY48" fmla="*/ 4217458 h 4999652"/>
              <a:gd name="connsiteX49" fmla="*/ 4600362 w 4600362"/>
              <a:gd name="connsiteY49" fmla="*/ 4491698 h 4999652"/>
              <a:gd name="connsiteX50" fmla="*/ 4600362 w 4600362"/>
              <a:gd name="connsiteY50" fmla="*/ 4629302 h 4999652"/>
              <a:gd name="connsiteX51" fmla="*/ 4600362 w 4600362"/>
              <a:gd name="connsiteY51" fmla="*/ 4903542 h 4999652"/>
              <a:gd name="connsiteX52" fmla="*/ 4504365 w 4600362"/>
              <a:gd name="connsiteY52" fmla="*/ 4999652 h 4999652"/>
              <a:gd name="connsiteX53" fmla="*/ 144766 w 4600362"/>
              <a:gd name="connsiteY53" fmla="*/ 4999652 h 4999652"/>
              <a:gd name="connsiteX54" fmla="*/ 0 w 4600362"/>
              <a:gd name="connsiteY54" fmla="*/ 4999652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600362" h="4999652">
                <a:moveTo>
                  <a:pt x="0" y="0"/>
                </a:moveTo>
                <a:lnTo>
                  <a:pt x="4504373" y="0"/>
                </a:lnTo>
                <a:lnTo>
                  <a:pt x="4536051" y="4129"/>
                </a:lnTo>
                <a:cubicBezTo>
                  <a:pt x="4600362" y="22525"/>
                  <a:pt x="4600362" y="96109"/>
                  <a:pt x="4600362" y="96109"/>
                </a:cubicBezTo>
                <a:cubicBezTo>
                  <a:pt x="4600362" y="96109"/>
                  <a:pt x="4600362" y="96109"/>
                  <a:pt x="4600362" y="335164"/>
                </a:cubicBezTo>
                <a:lnTo>
                  <a:pt x="4600362" y="370349"/>
                </a:lnTo>
                <a:cubicBezTo>
                  <a:pt x="4600362" y="370349"/>
                  <a:pt x="4600362" y="370349"/>
                  <a:pt x="4600362" y="379203"/>
                </a:cubicBezTo>
                <a:lnTo>
                  <a:pt x="4600362" y="400047"/>
                </a:lnTo>
                <a:lnTo>
                  <a:pt x="4600362" y="400231"/>
                </a:lnTo>
                <a:cubicBezTo>
                  <a:pt x="4600362" y="415172"/>
                  <a:pt x="4600362" y="437584"/>
                  <a:pt x="4600362" y="471201"/>
                </a:cubicBezTo>
                <a:lnTo>
                  <a:pt x="4600362" y="475720"/>
                </a:lnTo>
                <a:lnTo>
                  <a:pt x="4600362" y="508691"/>
                </a:lnTo>
                <a:cubicBezTo>
                  <a:pt x="4600362" y="522526"/>
                  <a:pt x="4600362" y="537743"/>
                  <a:pt x="4600362" y="554483"/>
                </a:cubicBezTo>
                <a:lnTo>
                  <a:pt x="4600362" y="563014"/>
                </a:lnTo>
                <a:lnTo>
                  <a:pt x="4600362" y="609404"/>
                </a:lnTo>
                <a:lnTo>
                  <a:pt x="4600362" y="662758"/>
                </a:lnTo>
                <a:lnTo>
                  <a:pt x="4600362" y="674287"/>
                </a:lnTo>
                <a:cubicBezTo>
                  <a:pt x="4600362" y="697667"/>
                  <a:pt x="4600362" y="722845"/>
                  <a:pt x="4600362" y="749960"/>
                </a:cubicBezTo>
                <a:lnTo>
                  <a:pt x="4600362" y="775784"/>
                </a:lnTo>
                <a:lnTo>
                  <a:pt x="4600362" y="837254"/>
                </a:lnTo>
                <a:lnTo>
                  <a:pt x="4600362" y="902920"/>
                </a:lnTo>
                <a:lnTo>
                  <a:pt x="4600362" y="936998"/>
                </a:lnTo>
                <a:lnTo>
                  <a:pt x="4600362" y="1044998"/>
                </a:lnTo>
                <a:lnTo>
                  <a:pt x="4600362" y="1050024"/>
                </a:lnTo>
                <a:cubicBezTo>
                  <a:pt x="4600362" y="1090005"/>
                  <a:pt x="4600362" y="1132337"/>
                  <a:pt x="4600362" y="1177160"/>
                </a:cubicBezTo>
                <a:lnTo>
                  <a:pt x="4600362" y="1202846"/>
                </a:lnTo>
                <a:lnTo>
                  <a:pt x="4600362" y="1319238"/>
                </a:lnTo>
                <a:lnTo>
                  <a:pt x="4600362" y="1377295"/>
                </a:lnTo>
                <a:lnTo>
                  <a:pt x="4600362" y="1477086"/>
                </a:lnTo>
                <a:lnTo>
                  <a:pt x="4600362" y="1569176"/>
                </a:lnTo>
                <a:lnTo>
                  <a:pt x="4600362" y="1651535"/>
                </a:lnTo>
                <a:lnTo>
                  <a:pt x="4600362" y="1779317"/>
                </a:lnTo>
                <a:lnTo>
                  <a:pt x="4600362" y="1843416"/>
                </a:lnTo>
                <a:lnTo>
                  <a:pt x="4600362" y="2008550"/>
                </a:lnTo>
                <a:lnTo>
                  <a:pt x="4600362" y="2053557"/>
                </a:lnTo>
                <a:lnTo>
                  <a:pt x="4600362" y="2257704"/>
                </a:lnTo>
                <a:lnTo>
                  <a:pt x="4600362" y="2282790"/>
                </a:lnTo>
                <a:lnTo>
                  <a:pt x="4600362" y="2527609"/>
                </a:lnTo>
                <a:lnTo>
                  <a:pt x="4600362" y="2531944"/>
                </a:lnTo>
                <a:cubicBezTo>
                  <a:pt x="4600362" y="2618408"/>
                  <a:pt x="4600362" y="2708330"/>
                  <a:pt x="4600362" y="2801850"/>
                </a:cubicBezTo>
                <a:lnTo>
                  <a:pt x="4600362" y="2819096"/>
                </a:lnTo>
                <a:lnTo>
                  <a:pt x="4600362" y="3093336"/>
                </a:lnTo>
                <a:lnTo>
                  <a:pt x="4600362" y="3132994"/>
                </a:lnTo>
                <a:lnTo>
                  <a:pt x="4600362" y="3407235"/>
                </a:lnTo>
                <a:lnTo>
                  <a:pt x="4600362" y="3470134"/>
                </a:lnTo>
                <a:lnTo>
                  <a:pt x="4600362" y="3744374"/>
                </a:lnTo>
                <a:lnTo>
                  <a:pt x="4600362" y="3831345"/>
                </a:lnTo>
                <a:lnTo>
                  <a:pt x="4600362" y="4105585"/>
                </a:lnTo>
                <a:lnTo>
                  <a:pt x="4600362" y="4217458"/>
                </a:lnTo>
                <a:lnTo>
                  <a:pt x="4600362" y="4491698"/>
                </a:lnTo>
                <a:lnTo>
                  <a:pt x="4600362" y="4629302"/>
                </a:lnTo>
                <a:lnTo>
                  <a:pt x="4600362" y="4903542"/>
                </a:lnTo>
                <a:cubicBezTo>
                  <a:pt x="4600362" y="4999652"/>
                  <a:pt x="4504365" y="4999652"/>
                  <a:pt x="4504365" y="4999652"/>
                </a:cubicBezTo>
                <a:cubicBezTo>
                  <a:pt x="4504365" y="4999652"/>
                  <a:pt x="4504365" y="4999652"/>
                  <a:pt x="144766" y="4999652"/>
                </a:cubicBezTo>
                <a:lnTo>
                  <a:pt x="0" y="4999652"/>
                </a:lnTo>
                <a:close/>
              </a:path>
            </a:pathLst>
          </a:custGeom>
          <a:noFill/>
        </p:spPr>
        <p:txBody>
          <a:bodyPr wrap="square" tIns="107990">
            <a:noAutofit/>
          </a:bodyPr>
          <a:lstStyle/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5835188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308" userDrawn="1">
          <p15:clr>
            <a:srgbClr val="FBAE40"/>
          </p15:clr>
        </p15:guide>
        <p15:guide id="2" pos="4596" userDrawn="1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9"/>
          <p:cNvSpPr>
            <a:spLocks noChangeAspect="1"/>
          </p:cNvSpPr>
          <p:nvPr userDrawn="1"/>
        </p:nvSpPr>
        <p:spPr bwMode="gray">
          <a:xfrm>
            <a:off x="0" y="1695450"/>
            <a:ext cx="11350800" cy="2382290"/>
          </a:xfrm>
          <a:custGeom>
            <a:avLst/>
            <a:gdLst>
              <a:gd name="T0" fmla="*/ 0 w 2680"/>
              <a:gd name="T1" fmla="*/ 560 h 560"/>
              <a:gd name="T2" fmla="*/ 2648 w 2680"/>
              <a:gd name="T3" fmla="*/ 560 h 560"/>
              <a:gd name="T4" fmla="*/ 2680 w 2680"/>
              <a:gd name="T5" fmla="*/ 528 h 560"/>
              <a:gd name="T6" fmla="*/ 2680 w 2680"/>
              <a:gd name="T7" fmla="*/ 32 h 560"/>
              <a:gd name="T8" fmla="*/ 2648 w 2680"/>
              <a:gd name="T9" fmla="*/ 0 h 560"/>
              <a:gd name="T10" fmla="*/ 0 w 2680"/>
              <a:gd name="T11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0" h="560">
                <a:moveTo>
                  <a:pt x="0" y="560"/>
                </a:moveTo>
                <a:cubicBezTo>
                  <a:pt x="2648" y="560"/>
                  <a:pt x="2648" y="560"/>
                  <a:pt x="2648" y="560"/>
                </a:cubicBezTo>
                <a:cubicBezTo>
                  <a:pt x="2648" y="560"/>
                  <a:pt x="2680" y="560"/>
                  <a:pt x="2680" y="528"/>
                </a:cubicBezTo>
                <a:cubicBezTo>
                  <a:pt x="2680" y="32"/>
                  <a:pt x="2680" y="32"/>
                  <a:pt x="2680" y="32"/>
                </a:cubicBezTo>
                <a:cubicBezTo>
                  <a:pt x="2680" y="32"/>
                  <a:pt x="2680" y="0"/>
                  <a:pt x="264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842434" y="1695452"/>
            <a:ext cx="10313209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0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1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0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3433" y="6358070"/>
            <a:ext cx="1183250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90945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7"/>
          <p:cNvSpPr>
            <a:spLocks noGrp="1"/>
          </p:cNvSpPr>
          <p:nvPr>
            <p:ph type="pic" sz="quarter" idx="16"/>
          </p:nvPr>
        </p:nvSpPr>
        <p:spPr bwMode="gray">
          <a:xfrm>
            <a:off x="696912" y="1696719"/>
            <a:ext cx="11199600" cy="4504080"/>
          </a:xfrm>
          <a:custGeom>
            <a:avLst/>
            <a:gdLst>
              <a:gd name="connsiteX0" fmla="*/ 95997 w 11199600"/>
              <a:gd name="connsiteY0" fmla="*/ 0 h 4504080"/>
              <a:gd name="connsiteX1" fmla="*/ 11103603 w 11199600"/>
              <a:gd name="connsiteY1" fmla="*/ 0 h 4504080"/>
              <a:gd name="connsiteX2" fmla="*/ 11199600 w 11199600"/>
              <a:gd name="connsiteY2" fmla="*/ 96110 h 4504080"/>
              <a:gd name="connsiteX3" fmla="*/ 11199600 w 11199600"/>
              <a:gd name="connsiteY3" fmla="*/ 335165 h 4504080"/>
              <a:gd name="connsiteX4" fmla="*/ 11199600 w 11199600"/>
              <a:gd name="connsiteY4" fmla="*/ 370350 h 4504080"/>
              <a:gd name="connsiteX5" fmla="*/ 11199600 w 11199600"/>
              <a:gd name="connsiteY5" fmla="*/ 379204 h 4504080"/>
              <a:gd name="connsiteX6" fmla="*/ 11199600 w 11199600"/>
              <a:gd name="connsiteY6" fmla="*/ 400048 h 4504080"/>
              <a:gd name="connsiteX7" fmla="*/ 11199600 w 11199600"/>
              <a:gd name="connsiteY7" fmla="*/ 400232 h 4504080"/>
              <a:gd name="connsiteX8" fmla="*/ 11199600 w 11199600"/>
              <a:gd name="connsiteY8" fmla="*/ 471202 h 4504080"/>
              <a:gd name="connsiteX9" fmla="*/ 11199600 w 11199600"/>
              <a:gd name="connsiteY9" fmla="*/ 475721 h 4504080"/>
              <a:gd name="connsiteX10" fmla="*/ 11199600 w 11199600"/>
              <a:gd name="connsiteY10" fmla="*/ 508692 h 4504080"/>
              <a:gd name="connsiteX11" fmla="*/ 11199600 w 11199600"/>
              <a:gd name="connsiteY11" fmla="*/ 554484 h 4504080"/>
              <a:gd name="connsiteX12" fmla="*/ 11199600 w 11199600"/>
              <a:gd name="connsiteY12" fmla="*/ 563015 h 4504080"/>
              <a:gd name="connsiteX13" fmla="*/ 11199600 w 11199600"/>
              <a:gd name="connsiteY13" fmla="*/ 609405 h 4504080"/>
              <a:gd name="connsiteX14" fmla="*/ 11199600 w 11199600"/>
              <a:gd name="connsiteY14" fmla="*/ 662759 h 4504080"/>
              <a:gd name="connsiteX15" fmla="*/ 11199600 w 11199600"/>
              <a:gd name="connsiteY15" fmla="*/ 674288 h 4504080"/>
              <a:gd name="connsiteX16" fmla="*/ 11199600 w 11199600"/>
              <a:gd name="connsiteY16" fmla="*/ 749961 h 4504080"/>
              <a:gd name="connsiteX17" fmla="*/ 11199600 w 11199600"/>
              <a:gd name="connsiteY17" fmla="*/ 775785 h 4504080"/>
              <a:gd name="connsiteX18" fmla="*/ 11199600 w 11199600"/>
              <a:gd name="connsiteY18" fmla="*/ 837255 h 4504080"/>
              <a:gd name="connsiteX19" fmla="*/ 11199600 w 11199600"/>
              <a:gd name="connsiteY19" fmla="*/ 902921 h 4504080"/>
              <a:gd name="connsiteX20" fmla="*/ 11199600 w 11199600"/>
              <a:gd name="connsiteY20" fmla="*/ 936999 h 4504080"/>
              <a:gd name="connsiteX21" fmla="*/ 11199600 w 11199600"/>
              <a:gd name="connsiteY21" fmla="*/ 1044999 h 4504080"/>
              <a:gd name="connsiteX22" fmla="*/ 11199600 w 11199600"/>
              <a:gd name="connsiteY22" fmla="*/ 1050025 h 4504080"/>
              <a:gd name="connsiteX23" fmla="*/ 11199600 w 11199600"/>
              <a:gd name="connsiteY23" fmla="*/ 1177161 h 4504080"/>
              <a:gd name="connsiteX24" fmla="*/ 11199600 w 11199600"/>
              <a:gd name="connsiteY24" fmla="*/ 1202847 h 4504080"/>
              <a:gd name="connsiteX25" fmla="*/ 11199600 w 11199600"/>
              <a:gd name="connsiteY25" fmla="*/ 1319239 h 4504080"/>
              <a:gd name="connsiteX26" fmla="*/ 11199600 w 11199600"/>
              <a:gd name="connsiteY26" fmla="*/ 1377296 h 4504080"/>
              <a:gd name="connsiteX27" fmla="*/ 11199600 w 11199600"/>
              <a:gd name="connsiteY27" fmla="*/ 1477087 h 4504080"/>
              <a:gd name="connsiteX28" fmla="*/ 11199600 w 11199600"/>
              <a:gd name="connsiteY28" fmla="*/ 1569177 h 4504080"/>
              <a:gd name="connsiteX29" fmla="*/ 11199600 w 11199600"/>
              <a:gd name="connsiteY29" fmla="*/ 1626118 h 4504080"/>
              <a:gd name="connsiteX30" fmla="*/ 11199600 w 11199600"/>
              <a:gd name="connsiteY30" fmla="*/ 1651536 h 4504080"/>
              <a:gd name="connsiteX31" fmla="*/ 11199600 w 11199600"/>
              <a:gd name="connsiteY31" fmla="*/ 1762133 h 4504080"/>
              <a:gd name="connsiteX32" fmla="*/ 11199600 w 11199600"/>
              <a:gd name="connsiteY32" fmla="*/ 1779318 h 4504080"/>
              <a:gd name="connsiteX33" fmla="*/ 11199600 w 11199600"/>
              <a:gd name="connsiteY33" fmla="*/ 1787219 h 4504080"/>
              <a:gd name="connsiteX34" fmla="*/ 11199600 w 11199600"/>
              <a:gd name="connsiteY34" fmla="*/ 1843417 h 4504080"/>
              <a:gd name="connsiteX35" fmla="*/ 11199600 w 11199600"/>
              <a:gd name="connsiteY35" fmla="*/ 1984894 h 4504080"/>
              <a:gd name="connsiteX36" fmla="*/ 11199600 w 11199600"/>
              <a:gd name="connsiteY36" fmla="*/ 2032038 h 4504080"/>
              <a:gd name="connsiteX37" fmla="*/ 11199600 w 11199600"/>
              <a:gd name="connsiteY37" fmla="*/ 2036373 h 4504080"/>
              <a:gd name="connsiteX38" fmla="*/ 11199600 w 11199600"/>
              <a:gd name="connsiteY38" fmla="*/ 2306279 h 4504080"/>
              <a:gd name="connsiteX39" fmla="*/ 11199600 w 11199600"/>
              <a:gd name="connsiteY39" fmla="*/ 2323525 h 4504080"/>
              <a:gd name="connsiteX40" fmla="*/ 11199600 w 11199600"/>
              <a:gd name="connsiteY40" fmla="*/ 2597765 h 4504080"/>
              <a:gd name="connsiteX41" fmla="*/ 11199600 w 11199600"/>
              <a:gd name="connsiteY41" fmla="*/ 2637423 h 4504080"/>
              <a:gd name="connsiteX42" fmla="*/ 11199600 w 11199600"/>
              <a:gd name="connsiteY42" fmla="*/ 2911664 h 4504080"/>
              <a:gd name="connsiteX43" fmla="*/ 11199600 w 11199600"/>
              <a:gd name="connsiteY43" fmla="*/ 2974563 h 4504080"/>
              <a:gd name="connsiteX44" fmla="*/ 11199600 w 11199600"/>
              <a:gd name="connsiteY44" fmla="*/ 3248803 h 4504080"/>
              <a:gd name="connsiteX45" fmla="*/ 11199600 w 11199600"/>
              <a:gd name="connsiteY45" fmla="*/ 3335774 h 4504080"/>
              <a:gd name="connsiteX46" fmla="*/ 11199600 w 11199600"/>
              <a:gd name="connsiteY46" fmla="*/ 3610014 h 4504080"/>
              <a:gd name="connsiteX47" fmla="*/ 11199600 w 11199600"/>
              <a:gd name="connsiteY47" fmla="*/ 3721887 h 4504080"/>
              <a:gd name="connsiteX48" fmla="*/ 11199600 w 11199600"/>
              <a:gd name="connsiteY48" fmla="*/ 3996127 h 4504080"/>
              <a:gd name="connsiteX49" fmla="*/ 11199600 w 11199600"/>
              <a:gd name="connsiteY49" fmla="*/ 4133731 h 4504080"/>
              <a:gd name="connsiteX50" fmla="*/ 11199600 w 11199600"/>
              <a:gd name="connsiteY50" fmla="*/ 4407971 h 4504080"/>
              <a:gd name="connsiteX51" fmla="*/ 11118603 w 11199600"/>
              <a:gd name="connsiteY51" fmla="*/ 4502580 h 4504080"/>
              <a:gd name="connsiteX52" fmla="*/ 11103613 w 11199600"/>
              <a:gd name="connsiteY52" fmla="*/ 4504080 h 4504080"/>
              <a:gd name="connsiteX53" fmla="*/ 95989 w 11199600"/>
              <a:gd name="connsiteY53" fmla="*/ 4504080 h 4504080"/>
              <a:gd name="connsiteX54" fmla="*/ 64311 w 11199600"/>
              <a:gd name="connsiteY54" fmla="*/ 4499952 h 4504080"/>
              <a:gd name="connsiteX55" fmla="*/ 0 w 11199600"/>
              <a:gd name="connsiteY55" fmla="*/ 4407971 h 4504080"/>
              <a:gd name="connsiteX56" fmla="*/ 0 w 11199600"/>
              <a:gd name="connsiteY56" fmla="*/ 4404236 h 4504080"/>
              <a:gd name="connsiteX57" fmla="*/ 0 w 11199600"/>
              <a:gd name="connsiteY57" fmla="*/ 4395365 h 4504080"/>
              <a:gd name="connsiteX58" fmla="*/ 0 w 11199600"/>
              <a:gd name="connsiteY58" fmla="*/ 4378089 h 4504080"/>
              <a:gd name="connsiteX59" fmla="*/ 0 w 11199600"/>
              <a:gd name="connsiteY59" fmla="*/ 4349608 h 4504080"/>
              <a:gd name="connsiteX60" fmla="*/ 0 w 11199600"/>
              <a:gd name="connsiteY60" fmla="*/ 4307120 h 4504080"/>
              <a:gd name="connsiteX61" fmla="*/ 0 w 11199600"/>
              <a:gd name="connsiteY61" fmla="*/ 4247823 h 4504080"/>
              <a:gd name="connsiteX62" fmla="*/ 0 w 11199600"/>
              <a:gd name="connsiteY62" fmla="*/ 4168916 h 4504080"/>
              <a:gd name="connsiteX63" fmla="*/ 0 w 11199600"/>
              <a:gd name="connsiteY63" fmla="*/ 4133731 h 4504080"/>
              <a:gd name="connsiteX64" fmla="*/ 0 w 11199600"/>
              <a:gd name="connsiteY64" fmla="*/ 4132625 h 4504080"/>
              <a:gd name="connsiteX65" fmla="*/ 0 w 11199600"/>
              <a:gd name="connsiteY65" fmla="*/ 4124877 h 4504080"/>
              <a:gd name="connsiteX66" fmla="*/ 0 w 11199600"/>
              <a:gd name="connsiteY66" fmla="*/ 4104034 h 4504080"/>
              <a:gd name="connsiteX67" fmla="*/ 0 w 11199600"/>
              <a:gd name="connsiteY67" fmla="*/ 4103849 h 4504080"/>
              <a:gd name="connsiteX68" fmla="*/ 0 w 11199600"/>
              <a:gd name="connsiteY68" fmla="*/ 4062900 h 4504080"/>
              <a:gd name="connsiteX69" fmla="*/ 0 w 11199600"/>
              <a:gd name="connsiteY69" fmla="*/ 4032880 h 4504080"/>
              <a:gd name="connsiteX70" fmla="*/ 0 w 11199600"/>
              <a:gd name="connsiteY70" fmla="*/ 4028361 h 4504080"/>
              <a:gd name="connsiteX71" fmla="*/ 0 w 11199600"/>
              <a:gd name="connsiteY71" fmla="*/ 3995389 h 4504080"/>
              <a:gd name="connsiteX72" fmla="*/ 0 w 11199600"/>
              <a:gd name="connsiteY72" fmla="*/ 3949598 h 4504080"/>
              <a:gd name="connsiteX73" fmla="*/ 0 w 11199600"/>
              <a:gd name="connsiteY73" fmla="*/ 3941067 h 4504080"/>
              <a:gd name="connsiteX74" fmla="*/ 0 w 11199600"/>
              <a:gd name="connsiteY74" fmla="*/ 3894676 h 4504080"/>
              <a:gd name="connsiteX75" fmla="*/ 0 w 11199600"/>
              <a:gd name="connsiteY75" fmla="*/ 3841322 h 4504080"/>
              <a:gd name="connsiteX76" fmla="*/ 0 w 11199600"/>
              <a:gd name="connsiteY76" fmla="*/ 3829794 h 4504080"/>
              <a:gd name="connsiteX77" fmla="*/ 0 w 11199600"/>
              <a:gd name="connsiteY77" fmla="*/ 3754121 h 4504080"/>
              <a:gd name="connsiteX78" fmla="*/ 0 w 11199600"/>
              <a:gd name="connsiteY78" fmla="*/ 3728297 h 4504080"/>
              <a:gd name="connsiteX79" fmla="*/ 0 w 11199600"/>
              <a:gd name="connsiteY79" fmla="*/ 3666827 h 4504080"/>
              <a:gd name="connsiteX80" fmla="*/ 0 w 11199600"/>
              <a:gd name="connsiteY80" fmla="*/ 3601160 h 4504080"/>
              <a:gd name="connsiteX81" fmla="*/ 0 w 11199600"/>
              <a:gd name="connsiteY81" fmla="*/ 3567082 h 4504080"/>
              <a:gd name="connsiteX82" fmla="*/ 0 w 11199600"/>
              <a:gd name="connsiteY82" fmla="*/ 3459083 h 4504080"/>
              <a:gd name="connsiteX83" fmla="*/ 0 w 11199600"/>
              <a:gd name="connsiteY83" fmla="*/ 3454057 h 4504080"/>
              <a:gd name="connsiteX84" fmla="*/ 0 w 11199600"/>
              <a:gd name="connsiteY84" fmla="*/ 3326920 h 4504080"/>
              <a:gd name="connsiteX85" fmla="*/ 0 w 11199600"/>
              <a:gd name="connsiteY85" fmla="*/ 3301235 h 4504080"/>
              <a:gd name="connsiteX86" fmla="*/ 0 w 11199600"/>
              <a:gd name="connsiteY86" fmla="*/ 3184843 h 4504080"/>
              <a:gd name="connsiteX87" fmla="*/ 0 w 11199600"/>
              <a:gd name="connsiteY87" fmla="*/ 3126785 h 4504080"/>
              <a:gd name="connsiteX88" fmla="*/ 0 w 11199600"/>
              <a:gd name="connsiteY88" fmla="*/ 3026995 h 4504080"/>
              <a:gd name="connsiteX89" fmla="*/ 0 w 11199600"/>
              <a:gd name="connsiteY89" fmla="*/ 2934905 h 4504080"/>
              <a:gd name="connsiteX90" fmla="*/ 0 w 11199600"/>
              <a:gd name="connsiteY90" fmla="*/ 2852545 h 4504080"/>
              <a:gd name="connsiteX91" fmla="*/ 0 w 11199600"/>
              <a:gd name="connsiteY91" fmla="*/ 2724763 h 4504080"/>
              <a:gd name="connsiteX92" fmla="*/ 0 w 11199600"/>
              <a:gd name="connsiteY92" fmla="*/ 2660665 h 4504080"/>
              <a:gd name="connsiteX93" fmla="*/ 0 w 11199600"/>
              <a:gd name="connsiteY93" fmla="*/ 2495530 h 4504080"/>
              <a:gd name="connsiteX94" fmla="*/ 0 w 11199600"/>
              <a:gd name="connsiteY94" fmla="*/ 2450523 h 4504080"/>
              <a:gd name="connsiteX95" fmla="*/ 0 w 11199600"/>
              <a:gd name="connsiteY95" fmla="*/ 2246376 h 4504080"/>
              <a:gd name="connsiteX96" fmla="*/ 0 w 11199600"/>
              <a:gd name="connsiteY96" fmla="*/ 2221290 h 4504080"/>
              <a:gd name="connsiteX97" fmla="*/ 0 w 11199600"/>
              <a:gd name="connsiteY97" fmla="*/ 1984894 h 4504080"/>
              <a:gd name="connsiteX98" fmla="*/ 0 w 11199600"/>
              <a:gd name="connsiteY98" fmla="*/ 1976471 h 4504080"/>
              <a:gd name="connsiteX99" fmla="*/ 0 w 11199600"/>
              <a:gd name="connsiteY99" fmla="*/ 1972136 h 4504080"/>
              <a:gd name="connsiteX100" fmla="*/ 0 w 11199600"/>
              <a:gd name="connsiteY100" fmla="*/ 1906316 h 4504080"/>
              <a:gd name="connsiteX101" fmla="*/ 0 w 11199600"/>
              <a:gd name="connsiteY101" fmla="*/ 1866658 h 4504080"/>
              <a:gd name="connsiteX102" fmla="*/ 0 w 11199600"/>
              <a:gd name="connsiteY102" fmla="*/ 1702231 h 4504080"/>
              <a:gd name="connsiteX103" fmla="*/ 0 w 11199600"/>
              <a:gd name="connsiteY103" fmla="*/ 1684984 h 4504080"/>
              <a:gd name="connsiteX104" fmla="*/ 0 w 11199600"/>
              <a:gd name="connsiteY104" fmla="*/ 1626118 h 4504080"/>
              <a:gd name="connsiteX105" fmla="*/ 0 w 11199600"/>
              <a:gd name="connsiteY105" fmla="*/ 1592418 h 4504080"/>
              <a:gd name="connsiteX106" fmla="*/ 0 w 11199600"/>
              <a:gd name="connsiteY106" fmla="*/ 1529519 h 4504080"/>
              <a:gd name="connsiteX107" fmla="*/ 0 w 11199600"/>
              <a:gd name="connsiteY107" fmla="*/ 1255278 h 4504080"/>
              <a:gd name="connsiteX108" fmla="*/ 0 w 11199600"/>
              <a:gd name="connsiteY108" fmla="*/ 1168307 h 4504080"/>
              <a:gd name="connsiteX109" fmla="*/ 0 w 11199600"/>
              <a:gd name="connsiteY109" fmla="*/ 894067 h 4504080"/>
              <a:gd name="connsiteX110" fmla="*/ 0 w 11199600"/>
              <a:gd name="connsiteY110" fmla="*/ 782195 h 4504080"/>
              <a:gd name="connsiteX111" fmla="*/ 0 w 11199600"/>
              <a:gd name="connsiteY111" fmla="*/ 507955 h 4504080"/>
              <a:gd name="connsiteX112" fmla="*/ 0 w 11199600"/>
              <a:gd name="connsiteY112" fmla="*/ 370350 h 4504080"/>
              <a:gd name="connsiteX113" fmla="*/ 0 w 11199600"/>
              <a:gd name="connsiteY113" fmla="*/ 96110 h 4504080"/>
              <a:gd name="connsiteX114" fmla="*/ 95997 w 11199600"/>
              <a:gd name="connsiteY114" fmla="*/ 0 h 450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1199600" h="4504080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26118"/>
                </a:lnTo>
                <a:lnTo>
                  <a:pt x="11199600" y="1651536"/>
                </a:lnTo>
                <a:lnTo>
                  <a:pt x="11199600" y="1762133"/>
                </a:lnTo>
                <a:lnTo>
                  <a:pt x="11199600" y="1779318"/>
                </a:lnTo>
                <a:lnTo>
                  <a:pt x="11199600" y="1787219"/>
                </a:lnTo>
                <a:lnTo>
                  <a:pt x="11199600" y="1843417"/>
                </a:lnTo>
                <a:lnTo>
                  <a:pt x="11199600" y="1984894"/>
                </a:lnTo>
                <a:lnTo>
                  <a:pt x="11199600" y="2032038"/>
                </a:lnTo>
                <a:lnTo>
                  <a:pt x="11199600" y="2036373"/>
                </a:lnTo>
                <a:cubicBezTo>
                  <a:pt x="11199600" y="2122837"/>
                  <a:pt x="11199600" y="2212759"/>
                  <a:pt x="11199600" y="2306279"/>
                </a:cubicBezTo>
                <a:lnTo>
                  <a:pt x="11199600" y="2323525"/>
                </a:lnTo>
                <a:lnTo>
                  <a:pt x="11199600" y="2597765"/>
                </a:lnTo>
                <a:lnTo>
                  <a:pt x="11199600" y="2637423"/>
                </a:lnTo>
                <a:lnTo>
                  <a:pt x="11199600" y="2911664"/>
                </a:lnTo>
                <a:lnTo>
                  <a:pt x="11199600" y="2974563"/>
                </a:lnTo>
                <a:lnTo>
                  <a:pt x="11199600" y="3248803"/>
                </a:lnTo>
                <a:lnTo>
                  <a:pt x="11199600" y="3335774"/>
                </a:lnTo>
                <a:lnTo>
                  <a:pt x="11199600" y="3610014"/>
                </a:lnTo>
                <a:lnTo>
                  <a:pt x="11199600" y="3721887"/>
                </a:lnTo>
                <a:lnTo>
                  <a:pt x="11199600" y="3996127"/>
                </a:lnTo>
                <a:lnTo>
                  <a:pt x="11199600" y="4133731"/>
                </a:lnTo>
                <a:lnTo>
                  <a:pt x="11199600" y="4407971"/>
                </a:lnTo>
                <a:cubicBezTo>
                  <a:pt x="11199600" y="4480054"/>
                  <a:pt x="11145602" y="4498074"/>
                  <a:pt x="11118603" y="4502580"/>
                </a:cubicBezTo>
                <a:lnTo>
                  <a:pt x="11103613" y="4504080"/>
                </a:lnTo>
                <a:lnTo>
                  <a:pt x="95989" y="4504080"/>
                </a:lnTo>
                <a:lnTo>
                  <a:pt x="64311" y="4499952"/>
                </a:lnTo>
                <a:cubicBezTo>
                  <a:pt x="0" y="4481555"/>
                  <a:pt x="0" y="4407971"/>
                  <a:pt x="0" y="4407971"/>
                </a:cubicBezTo>
                <a:lnTo>
                  <a:pt x="0" y="4404236"/>
                </a:lnTo>
                <a:lnTo>
                  <a:pt x="0" y="4395365"/>
                </a:lnTo>
                <a:lnTo>
                  <a:pt x="0" y="4378089"/>
                </a:lnTo>
                <a:lnTo>
                  <a:pt x="0" y="4349608"/>
                </a:lnTo>
                <a:lnTo>
                  <a:pt x="0" y="4307120"/>
                </a:lnTo>
                <a:lnTo>
                  <a:pt x="0" y="4247823"/>
                </a:lnTo>
                <a:lnTo>
                  <a:pt x="0" y="4168916"/>
                </a:lnTo>
                <a:lnTo>
                  <a:pt x="0" y="4133731"/>
                </a:lnTo>
                <a:lnTo>
                  <a:pt x="0" y="4132625"/>
                </a:lnTo>
                <a:lnTo>
                  <a:pt x="0" y="4124877"/>
                </a:lnTo>
                <a:lnTo>
                  <a:pt x="0" y="4104034"/>
                </a:lnTo>
                <a:lnTo>
                  <a:pt x="0" y="4103849"/>
                </a:lnTo>
                <a:lnTo>
                  <a:pt x="0" y="4062900"/>
                </a:lnTo>
                <a:lnTo>
                  <a:pt x="0" y="4032880"/>
                </a:lnTo>
                <a:lnTo>
                  <a:pt x="0" y="4028361"/>
                </a:lnTo>
                <a:lnTo>
                  <a:pt x="0" y="3995389"/>
                </a:lnTo>
                <a:lnTo>
                  <a:pt x="0" y="3949598"/>
                </a:lnTo>
                <a:lnTo>
                  <a:pt x="0" y="3941067"/>
                </a:lnTo>
                <a:lnTo>
                  <a:pt x="0" y="3894676"/>
                </a:lnTo>
                <a:lnTo>
                  <a:pt x="0" y="3841322"/>
                </a:lnTo>
                <a:lnTo>
                  <a:pt x="0" y="3829794"/>
                </a:lnTo>
                <a:lnTo>
                  <a:pt x="0" y="3754121"/>
                </a:lnTo>
                <a:lnTo>
                  <a:pt x="0" y="3728297"/>
                </a:lnTo>
                <a:lnTo>
                  <a:pt x="0" y="3666827"/>
                </a:lnTo>
                <a:lnTo>
                  <a:pt x="0" y="3601160"/>
                </a:lnTo>
                <a:lnTo>
                  <a:pt x="0" y="3567082"/>
                </a:lnTo>
                <a:lnTo>
                  <a:pt x="0" y="3459083"/>
                </a:lnTo>
                <a:lnTo>
                  <a:pt x="0" y="3454057"/>
                </a:lnTo>
                <a:lnTo>
                  <a:pt x="0" y="3326920"/>
                </a:lnTo>
                <a:lnTo>
                  <a:pt x="0" y="3301235"/>
                </a:lnTo>
                <a:lnTo>
                  <a:pt x="0" y="3184843"/>
                </a:lnTo>
                <a:lnTo>
                  <a:pt x="0" y="3126785"/>
                </a:lnTo>
                <a:lnTo>
                  <a:pt x="0" y="3026995"/>
                </a:lnTo>
                <a:lnTo>
                  <a:pt x="0" y="2934905"/>
                </a:lnTo>
                <a:lnTo>
                  <a:pt x="0" y="2852545"/>
                </a:lnTo>
                <a:lnTo>
                  <a:pt x="0" y="2724763"/>
                </a:lnTo>
                <a:lnTo>
                  <a:pt x="0" y="2660665"/>
                </a:lnTo>
                <a:lnTo>
                  <a:pt x="0" y="2495530"/>
                </a:lnTo>
                <a:lnTo>
                  <a:pt x="0" y="2450523"/>
                </a:lnTo>
                <a:lnTo>
                  <a:pt x="0" y="2246376"/>
                </a:lnTo>
                <a:lnTo>
                  <a:pt x="0" y="2221290"/>
                </a:lnTo>
                <a:lnTo>
                  <a:pt x="0" y="1984894"/>
                </a:lnTo>
                <a:lnTo>
                  <a:pt x="0" y="1976471"/>
                </a:lnTo>
                <a:lnTo>
                  <a:pt x="0" y="197213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702231"/>
                </a:lnTo>
                <a:lnTo>
                  <a:pt x="0" y="1684984"/>
                </a:lnTo>
                <a:lnTo>
                  <a:pt x="0" y="162611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39676" tIns="35996" rIns="35996" bIns="35996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838200" y="257726"/>
            <a:ext cx="11059319" cy="11798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4600"/>
              </a:lnSpc>
              <a:defRPr sz="4600"/>
            </a:lvl1pPr>
          </a:lstStyle>
          <a:p>
            <a:r>
              <a:rPr lang="en-US" noProof="0" smtClean="0"/>
              <a:t>Click to edit </a:t>
            </a:r>
            <a:br>
              <a:rPr lang="en-US" noProof="0" smtClean="0"/>
            </a:br>
            <a:r>
              <a:rPr lang="en-US" noProof="0" smtClean="0"/>
              <a:t>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3433" y="6358070"/>
            <a:ext cx="1183250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09919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2" userDrawn="1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001" y="1278384"/>
            <a:ext cx="5058750" cy="4921200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278384"/>
            <a:ext cx="5058000" cy="49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936892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 userDrawn="1"/>
        </p:nvGrpSpPr>
        <p:grpSpPr bwMode="gray">
          <a:xfrm>
            <a:off x="0" y="1643200"/>
            <a:ext cx="11339513" cy="3055937"/>
            <a:chOff x="409575" y="3144838"/>
            <a:chExt cx="11339513" cy="3055937"/>
          </a:xfrm>
        </p:grpSpPr>
        <p:sp>
          <p:nvSpPr>
            <p:cNvPr id="51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842434" y="2116801"/>
            <a:ext cx="10313209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240705"/>
            <a:ext cx="7082733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199"/>
              </a:lnSpc>
              <a:buNone/>
              <a:defRPr sz="2000" b="0" i="0"/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28" indent="0" algn="ctr">
              <a:buNone/>
              <a:defRPr sz="1600"/>
            </a:lvl4pPr>
            <a:lvl5pPr marL="1828571" indent="0" algn="ctr">
              <a:buNone/>
              <a:defRPr sz="1600"/>
            </a:lvl5pPr>
            <a:lvl6pPr marL="2285714" indent="0" algn="ctr">
              <a:buNone/>
              <a:defRPr sz="1600"/>
            </a:lvl6pPr>
            <a:lvl7pPr marL="2742857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4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01" y="3556800"/>
            <a:ext cx="10305675" cy="385233"/>
          </a:xfrm>
        </p:spPr>
        <p:txBody>
          <a:bodyPr>
            <a:noAutofit/>
          </a:bodyPr>
          <a:lstStyle>
            <a:lvl1pPr>
              <a:lnSpc>
                <a:spcPts val="2199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5242063"/>
            <a:ext cx="2196000" cy="1317138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3015150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426676" y="6200775"/>
            <a:ext cx="3600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1206675" y="7019956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-1506675" y="6266693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r"/>
            <a:r>
              <a:rPr lang="en-GB" sz="1000" smtClean="0"/>
              <a:t>Min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-426676" y="5242062"/>
            <a:ext cx="3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-1506675" y="5297119"/>
            <a:ext cx="1440000" cy="226591"/>
          </a:xfrm>
          <a:prstGeom prst="rect">
            <a:avLst/>
          </a:prstGeom>
          <a:noFill/>
        </p:spPr>
        <p:txBody>
          <a:bodyPr wrap="square" lIns="35996" tIns="35996" rIns="35996" bIns="35996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838200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-426676" y="6559200"/>
            <a:ext cx="3600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5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7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sp>
        <p:nvSpPr>
          <p:cNvPr id="4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167642" y="4291504"/>
            <a:ext cx="298800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10749168" y="-133099"/>
            <a:ext cx="1441027" cy="1565166"/>
            <a:chOff x="5364088" y="4720073"/>
            <a:chExt cx="1441027" cy="1565166"/>
          </a:xfrm>
        </p:grpSpPr>
        <p:sp>
          <p:nvSpPr>
            <p:cNvPr id="48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9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46380020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001" y="1795636"/>
            <a:ext cx="5058750" cy="4403948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795636"/>
            <a:ext cx="5058000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845575" y="1277982"/>
            <a:ext cx="5059925" cy="436017"/>
          </a:xfrm>
        </p:spPr>
        <p:txBody>
          <a:bodyPr>
            <a:noAutofit/>
          </a:bodyPr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274826" y="1277982"/>
            <a:ext cx="5059925" cy="436017"/>
          </a:xfrm>
        </p:spPr>
        <p:txBody>
          <a:bodyPr>
            <a:noAutofit/>
          </a:bodyPr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39706065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001" y="1278000"/>
            <a:ext cx="5058750" cy="4929584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795636"/>
            <a:ext cx="5058000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845575" y="1277982"/>
            <a:ext cx="5059925" cy="436017"/>
          </a:xfrm>
        </p:spPr>
        <p:txBody>
          <a:bodyPr>
            <a:noAutofit/>
          </a:bodyPr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36613504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001" y="1795636"/>
            <a:ext cx="5058750" cy="4403948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278000"/>
            <a:ext cx="5058000" cy="49295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274826" y="1277982"/>
            <a:ext cx="5059925" cy="436017"/>
          </a:xfrm>
        </p:spPr>
        <p:txBody>
          <a:bodyPr>
            <a:noAutofit/>
          </a:bodyPr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02160860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3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751" y="1278001"/>
            <a:ext cx="5058000" cy="233017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4" name="Text Placeholder 2"/>
          <p:cNvSpPr>
            <a:spLocks noGrp="1"/>
          </p:cNvSpPr>
          <p:nvPr>
            <p:ph idx="28"/>
          </p:nvPr>
        </p:nvSpPr>
        <p:spPr bwMode="gray">
          <a:xfrm>
            <a:off x="845575" y="1278001"/>
            <a:ext cx="5058000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5" name="Content Placeholder 3"/>
          <p:cNvSpPr>
            <a:spLocks noGrp="1"/>
          </p:cNvSpPr>
          <p:nvPr>
            <p:ph sz="half" idx="29"/>
          </p:nvPr>
        </p:nvSpPr>
        <p:spPr bwMode="gray">
          <a:xfrm>
            <a:off x="6276751" y="3877592"/>
            <a:ext cx="5058000" cy="233017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idx="30"/>
          </p:nvPr>
        </p:nvSpPr>
        <p:spPr bwMode="gray">
          <a:xfrm>
            <a:off x="845575" y="3877592"/>
            <a:ext cx="5058000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032804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 userDrawn="1">
          <p15:clr>
            <a:srgbClr val="FBAE40"/>
          </p15:clr>
        </p15:guide>
        <p15:guide id="0" pos="3948" userDrawn="1">
          <p15:clr>
            <a:srgbClr val="FBAE40"/>
          </p15:clr>
        </p15:guide>
        <p15:guide id="2" orient="horz" pos="2274" userDrawn="1">
          <p15:clr>
            <a:srgbClr val="FBAE40"/>
          </p15:clr>
        </p15:guide>
        <p15:guide id="3" orient="horz" pos="2442" userDrawn="1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846907" y="1278384"/>
            <a:ext cx="3265200" cy="23292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4458228" y="1278384"/>
            <a:ext cx="3265200" cy="23292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8069550" y="1278384"/>
            <a:ext cx="3265200" cy="23292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846908" y="3884251"/>
            <a:ext cx="3265200" cy="23292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4458229" y="3884251"/>
            <a:ext cx="3265200" cy="23292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8069550" y="3884251"/>
            <a:ext cx="3265200" cy="23292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79483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91" userDrawn="1">
          <p15:clr>
            <a:srgbClr val="FBAE40"/>
          </p15:clr>
        </p15:guide>
        <p15:guide id="2" pos="2808" userDrawn="1">
          <p15:clr>
            <a:srgbClr val="FBAE40"/>
          </p15:clr>
        </p15:guide>
        <p15:guide id="3" pos="4866" userDrawn="1">
          <p15:clr>
            <a:srgbClr val="FBAE40"/>
          </p15:clr>
        </p15:guide>
        <p15:guide id="4" pos="5082" userDrawn="1">
          <p15:clr>
            <a:srgbClr val="FBAE40"/>
          </p15:clr>
        </p15:guide>
        <p15:guide id="5" orient="horz" pos="2274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846907" y="1795637"/>
            <a:ext cx="3265200" cy="269698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4458228" y="1795637"/>
            <a:ext cx="3265200" cy="269698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8069550" y="1795637"/>
            <a:ext cx="3265200" cy="269698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846908" y="4760735"/>
            <a:ext cx="3265200" cy="144004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4458229" y="4760735"/>
            <a:ext cx="3265200" cy="144004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8069550" y="4760735"/>
            <a:ext cx="3265200" cy="144004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845574" y="1277982"/>
            <a:ext cx="3265200" cy="436017"/>
          </a:xfrm>
        </p:spPr>
        <p:txBody>
          <a:bodyPr>
            <a:noAutofit/>
          </a:bodyPr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58228" y="1277982"/>
            <a:ext cx="3265200" cy="436017"/>
          </a:xfrm>
        </p:spPr>
        <p:txBody>
          <a:bodyPr/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8069550" y="1277982"/>
            <a:ext cx="3265200" cy="436017"/>
          </a:xfrm>
        </p:spPr>
        <p:txBody>
          <a:bodyPr/>
          <a:lstStyle>
            <a:lvl1pPr>
              <a:lnSpc>
                <a:spcPts val="1699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50800706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pos="2808">
          <p15:clr>
            <a:srgbClr val="FBAE40"/>
          </p15:clr>
        </p15:guide>
        <p15:guide id="3" pos="4866">
          <p15:clr>
            <a:srgbClr val="FBAE40"/>
          </p15:clr>
        </p15:guide>
        <p15:guide id="4" pos="5082">
          <p15:clr>
            <a:srgbClr val="FBAE40"/>
          </p15:clr>
        </p15:guide>
        <p15:guide id="5" orient="horz" pos="2830" userDrawn="1">
          <p15:clr>
            <a:srgbClr val="FBAE40"/>
          </p15:clr>
        </p15:guide>
        <p15:guide id="6" orient="horz" pos="2998" userDrawn="1">
          <p15:clr>
            <a:srgbClr val="FBAE40"/>
          </p15:clr>
        </p15:guide>
        <p15:guide id="7" pos="2592" userDrawn="1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lit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845575" y="1279981"/>
            <a:ext cx="5058000" cy="324000"/>
          </a:xfrm>
        </p:spPr>
        <p:txBody>
          <a:bodyPr>
            <a:noAutofit/>
          </a:bodyPr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845575" y="1754561"/>
            <a:ext cx="5058000" cy="1854000"/>
          </a:xfrm>
        </p:spPr>
        <p:txBody>
          <a:bodyPr/>
          <a:lstStyle>
            <a:lvl3pPr>
              <a:lnSpc>
                <a:spcPts val="2199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45575" y="3877591"/>
            <a:ext cx="5058000" cy="324000"/>
          </a:xfrm>
        </p:spPr>
        <p:txBody>
          <a:bodyPr>
            <a:noAutofit/>
          </a:bodyPr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845575" y="4346776"/>
            <a:ext cx="5058000" cy="1854000"/>
          </a:xfrm>
        </p:spPr>
        <p:txBody>
          <a:bodyPr/>
          <a:lstStyle>
            <a:lvl3pPr>
              <a:lnSpc>
                <a:spcPts val="2199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845575" y="1682898"/>
            <a:ext cx="5058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845575" y="4278810"/>
            <a:ext cx="5058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6276751" y="1279981"/>
            <a:ext cx="5058000" cy="324000"/>
          </a:xfrm>
        </p:spPr>
        <p:txBody>
          <a:bodyPr>
            <a:noAutofit/>
          </a:bodyPr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276751" y="1754561"/>
            <a:ext cx="5058000" cy="1854000"/>
          </a:xfrm>
        </p:spPr>
        <p:txBody>
          <a:bodyPr/>
          <a:lstStyle>
            <a:lvl3pPr>
              <a:lnSpc>
                <a:spcPts val="2199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276751" y="3877591"/>
            <a:ext cx="5058000" cy="324000"/>
          </a:xfrm>
        </p:spPr>
        <p:txBody>
          <a:bodyPr>
            <a:noAutofit/>
          </a:bodyPr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276751" y="4346776"/>
            <a:ext cx="5058000" cy="1854000"/>
          </a:xfrm>
        </p:spPr>
        <p:txBody>
          <a:bodyPr/>
          <a:lstStyle>
            <a:lvl3pPr>
              <a:lnSpc>
                <a:spcPts val="2199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>
            <a:off x="6276751" y="1682898"/>
            <a:ext cx="5058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6276751" y="4278810"/>
            <a:ext cx="5058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7295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pos="3720" userDrawn="1">
          <p15:clr>
            <a:srgbClr val="FBAE40"/>
          </p15:clr>
        </p15:guide>
        <p15:guide id="3" pos="3953" userDrawn="1">
          <p15:clr>
            <a:srgbClr val="FBAE40"/>
          </p15:clr>
        </p15:guide>
        <p15:guide id="4" orient="horz" pos="2274" userDrawn="1">
          <p15:clr>
            <a:srgbClr val="FBAE40"/>
          </p15:clr>
        </p15:guide>
        <p15:guide id="5" orient="horz" pos="2442" userDrawn="1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845575" y="1278384"/>
            <a:ext cx="32652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845575" y="1757279"/>
            <a:ext cx="3265200" cy="1850305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45575" y="3878568"/>
            <a:ext cx="32652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845575" y="4346776"/>
            <a:ext cx="32652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845575" y="1685616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845575" y="4278810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8069550" y="1278384"/>
            <a:ext cx="32652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1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069550" y="1757279"/>
            <a:ext cx="3265200" cy="1850305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069550" y="3878568"/>
            <a:ext cx="32652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3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069550" y="4346776"/>
            <a:ext cx="32652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44" name="Straight Connector 43"/>
          <p:cNvCxnSpPr/>
          <p:nvPr userDrawn="1"/>
        </p:nvCxnSpPr>
        <p:spPr bwMode="gray">
          <a:xfrm>
            <a:off x="8069550" y="1685616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 bwMode="gray">
          <a:xfrm>
            <a:off x="8069550" y="4278810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4457562" y="1278384"/>
            <a:ext cx="32652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7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4457562" y="1757279"/>
            <a:ext cx="3265200" cy="1850305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4457562" y="3878568"/>
            <a:ext cx="32652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9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4457562" y="4346776"/>
            <a:ext cx="32652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0" name="Straight Connector 49"/>
          <p:cNvCxnSpPr/>
          <p:nvPr userDrawn="1"/>
        </p:nvCxnSpPr>
        <p:spPr bwMode="gray">
          <a:xfrm>
            <a:off x="4457562" y="1685616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4457562" y="4278810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04114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pos="2592" userDrawn="1">
          <p15:clr>
            <a:srgbClr val="FBAE40"/>
          </p15:clr>
        </p15:guide>
        <p15:guide id="3" pos="5082" userDrawn="1">
          <p15:clr>
            <a:srgbClr val="FBAE40"/>
          </p15:clr>
        </p15:guide>
        <p15:guide id="4" pos="2803" userDrawn="1">
          <p15:clr>
            <a:srgbClr val="FBAE40"/>
          </p15:clr>
        </p15:guide>
        <p15:guide id="5" pos="4866" userDrawn="1">
          <p15:clr>
            <a:srgbClr val="FBAE40"/>
          </p15:clr>
        </p15:guide>
        <p15:guide id="6" orient="horz" pos="2274" userDrawn="1">
          <p15:clr>
            <a:srgbClr val="FBAE40"/>
          </p15:clr>
        </p15:guide>
        <p15:guide id="7" orient="horz" pos="2442" userDrawn="1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845576" y="280734"/>
            <a:ext cx="10489175" cy="854075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845574" y="1278384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845574" y="1757279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45574" y="3878568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845574" y="4346776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845574" y="1685616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845574" y="4278810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89966" y="1278384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2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3489966" y="1757279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3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3489966" y="3878568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4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3489966" y="4346776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5" name="Straight Connector 54"/>
          <p:cNvCxnSpPr/>
          <p:nvPr userDrawn="1"/>
        </p:nvCxnSpPr>
        <p:spPr bwMode="gray">
          <a:xfrm>
            <a:off x="3489966" y="1685616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 bwMode="gray">
          <a:xfrm>
            <a:off x="3489966" y="4278810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6134358" y="1278384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8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6134358" y="1757279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6134358" y="3878568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0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6134358" y="4346776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1" name="Straight Connector 60"/>
          <p:cNvCxnSpPr/>
          <p:nvPr userDrawn="1"/>
        </p:nvCxnSpPr>
        <p:spPr bwMode="gray">
          <a:xfrm>
            <a:off x="6134358" y="1685616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 bwMode="gray">
          <a:xfrm>
            <a:off x="6134358" y="4278810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2"/>
          <p:cNvSpPr>
            <a:spLocks noGrp="1"/>
          </p:cNvSpPr>
          <p:nvPr>
            <p:ph idx="30" hasCustomPrompt="1"/>
          </p:nvPr>
        </p:nvSpPr>
        <p:spPr bwMode="gray">
          <a:xfrm>
            <a:off x="8778750" y="1278384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4" name="Content Placeholder 2"/>
          <p:cNvSpPr>
            <a:spLocks noGrp="1"/>
          </p:cNvSpPr>
          <p:nvPr>
            <p:ph idx="31" hasCustomPrompt="1"/>
          </p:nvPr>
        </p:nvSpPr>
        <p:spPr bwMode="gray">
          <a:xfrm>
            <a:off x="8778750" y="1757279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65" name="Content Placeholder 2"/>
          <p:cNvSpPr>
            <a:spLocks noGrp="1"/>
          </p:cNvSpPr>
          <p:nvPr>
            <p:ph idx="32" hasCustomPrompt="1"/>
          </p:nvPr>
        </p:nvSpPr>
        <p:spPr bwMode="gray">
          <a:xfrm>
            <a:off x="8778750" y="3878568"/>
            <a:ext cx="2556000" cy="324000"/>
          </a:xfrm>
        </p:spPr>
        <p:txBody>
          <a:bodyPr/>
          <a:lstStyle>
            <a:lvl1pPr>
              <a:lnSpc>
                <a:spcPts val="2099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6" name="Content Placeholder 2"/>
          <p:cNvSpPr>
            <a:spLocks noGrp="1"/>
          </p:cNvSpPr>
          <p:nvPr>
            <p:ph idx="33" hasCustomPrompt="1"/>
          </p:nvPr>
        </p:nvSpPr>
        <p:spPr bwMode="gray">
          <a:xfrm>
            <a:off x="8778750" y="4346776"/>
            <a:ext cx="2556000" cy="1850400"/>
          </a:xfrm>
        </p:spPr>
        <p:txBody>
          <a:bodyPr/>
          <a:lstStyle>
            <a:lvl3pPr>
              <a:lnSpc>
                <a:spcPts val="2099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7" name="Straight Connector 66"/>
          <p:cNvCxnSpPr/>
          <p:nvPr userDrawn="1"/>
        </p:nvCxnSpPr>
        <p:spPr bwMode="gray">
          <a:xfrm>
            <a:off x="8778750" y="1685616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 userDrawn="1"/>
        </p:nvCxnSpPr>
        <p:spPr bwMode="gray">
          <a:xfrm>
            <a:off x="8778750" y="4278810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4708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pos="2149" userDrawn="1">
          <p15:clr>
            <a:srgbClr val="FBAE40"/>
          </p15:clr>
        </p15:guide>
        <p15:guide id="4" pos="5480" userDrawn="1">
          <p15:clr>
            <a:srgbClr val="FBAE40"/>
          </p15:clr>
        </p15:guide>
        <p15:guide id="5" pos="3864" userDrawn="1">
          <p15:clr>
            <a:srgbClr val="FBAE40"/>
          </p15:clr>
        </p15:guide>
        <p15:guide id="6" pos="2196" userDrawn="1">
          <p15:clr>
            <a:srgbClr val="FBAE40"/>
          </p15:clr>
        </p15:guide>
        <p15:guide id="7" pos="3809" userDrawn="1">
          <p15:clr>
            <a:srgbClr val="FBAE40"/>
          </p15:clr>
        </p15:guide>
        <p15:guide id="8" pos="5528" userDrawn="1">
          <p15:clr>
            <a:srgbClr val="FBAE40"/>
          </p15:clr>
        </p15:guide>
        <p15:guide id="9" orient="horz" pos="2274" userDrawn="1">
          <p15:clr>
            <a:srgbClr val="FBAE40"/>
          </p15:clr>
        </p15:guide>
        <p15:guide id="10" orient="horz" pos="2442" userDrawn="1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547528" y="1270001"/>
            <a:ext cx="6787224" cy="49784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 bwMode="gray">
          <a:xfrm>
            <a:off x="693739" y="280733"/>
            <a:ext cx="3443287" cy="5920066"/>
          </a:xfrm>
          <a:custGeom>
            <a:avLst/>
            <a:gdLst>
              <a:gd name="connsiteX0" fmla="*/ 95997 w 3443287"/>
              <a:gd name="connsiteY0" fmla="*/ 0 h 5920066"/>
              <a:gd name="connsiteX1" fmla="*/ 3443287 w 3443287"/>
              <a:gd name="connsiteY1" fmla="*/ 0 h 5920066"/>
              <a:gd name="connsiteX2" fmla="*/ 3443287 w 3443287"/>
              <a:gd name="connsiteY2" fmla="*/ 5920066 h 5920066"/>
              <a:gd name="connsiteX3" fmla="*/ 95989 w 3443287"/>
              <a:gd name="connsiteY3" fmla="*/ 5920066 h 5920066"/>
              <a:gd name="connsiteX4" fmla="*/ 64311 w 3443287"/>
              <a:gd name="connsiteY4" fmla="*/ 5915938 h 5920066"/>
              <a:gd name="connsiteX5" fmla="*/ 0 w 3443287"/>
              <a:gd name="connsiteY5" fmla="*/ 5823957 h 5920066"/>
              <a:gd name="connsiteX6" fmla="*/ 0 w 3443287"/>
              <a:gd name="connsiteY6" fmla="*/ 5820222 h 5920066"/>
              <a:gd name="connsiteX7" fmla="*/ 0 w 3443287"/>
              <a:gd name="connsiteY7" fmla="*/ 5811351 h 5920066"/>
              <a:gd name="connsiteX8" fmla="*/ 0 w 3443287"/>
              <a:gd name="connsiteY8" fmla="*/ 5794075 h 5920066"/>
              <a:gd name="connsiteX9" fmla="*/ 0 w 3443287"/>
              <a:gd name="connsiteY9" fmla="*/ 5765594 h 5920066"/>
              <a:gd name="connsiteX10" fmla="*/ 0 w 3443287"/>
              <a:gd name="connsiteY10" fmla="*/ 5723106 h 5920066"/>
              <a:gd name="connsiteX11" fmla="*/ 0 w 3443287"/>
              <a:gd name="connsiteY11" fmla="*/ 5663809 h 5920066"/>
              <a:gd name="connsiteX12" fmla="*/ 0 w 3443287"/>
              <a:gd name="connsiteY12" fmla="*/ 5584902 h 5920066"/>
              <a:gd name="connsiteX13" fmla="*/ 0 w 3443287"/>
              <a:gd name="connsiteY13" fmla="*/ 5549717 h 5920066"/>
              <a:gd name="connsiteX14" fmla="*/ 0 w 3443287"/>
              <a:gd name="connsiteY14" fmla="*/ 5548611 h 5920066"/>
              <a:gd name="connsiteX15" fmla="*/ 0 w 3443287"/>
              <a:gd name="connsiteY15" fmla="*/ 5540863 h 5920066"/>
              <a:gd name="connsiteX16" fmla="*/ 0 w 3443287"/>
              <a:gd name="connsiteY16" fmla="*/ 5520020 h 5920066"/>
              <a:gd name="connsiteX17" fmla="*/ 0 w 3443287"/>
              <a:gd name="connsiteY17" fmla="*/ 5519835 h 5920066"/>
              <a:gd name="connsiteX18" fmla="*/ 0 w 3443287"/>
              <a:gd name="connsiteY18" fmla="*/ 5478886 h 5920066"/>
              <a:gd name="connsiteX19" fmla="*/ 0 w 3443287"/>
              <a:gd name="connsiteY19" fmla="*/ 5448866 h 5920066"/>
              <a:gd name="connsiteX20" fmla="*/ 0 w 3443287"/>
              <a:gd name="connsiteY20" fmla="*/ 5444347 h 5920066"/>
              <a:gd name="connsiteX21" fmla="*/ 0 w 3443287"/>
              <a:gd name="connsiteY21" fmla="*/ 5411375 h 5920066"/>
              <a:gd name="connsiteX22" fmla="*/ 0 w 3443287"/>
              <a:gd name="connsiteY22" fmla="*/ 5365584 h 5920066"/>
              <a:gd name="connsiteX23" fmla="*/ 0 w 3443287"/>
              <a:gd name="connsiteY23" fmla="*/ 5357053 h 5920066"/>
              <a:gd name="connsiteX24" fmla="*/ 0 w 3443287"/>
              <a:gd name="connsiteY24" fmla="*/ 5310662 h 5920066"/>
              <a:gd name="connsiteX25" fmla="*/ 0 w 3443287"/>
              <a:gd name="connsiteY25" fmla="*/ 5257308 h 5920066"/>
              <a:gd name="connsiteX26" fmla="*/ 0 w 3443287"/>
              <a:gd name="connsiteY26" fmla="*/ 5245780 h 5920066"/>
              <a:gd name="connsiteX27" fmla="*/ 0 w 3443287"/>
              <a:gd name="connsiteY27" fmla="*/ 5170107 h 5920066"/>
              <a:gd name="connsiteX28" fmla="*/ 0 w 3443287"/>
              <a:gd name="connsiteY28" fmla="*/ 5144283 h 5920066"/>
              <a:gd name="connsiteX29" fmla="*/ 0 w 3443287"/>
              <a:gd name="connsiteY29" fmla="*/ 5082813 h 5920066"/>
              <a:gd name="connsiteX30" fmla="*/ 0 w 3443287"/>
              <a:gd name="connsiteY30" fmla="*/ 5017146 h 5920066"/>
              <a:gd name="connsiteX31" fmla="*/ 0 w 3443287"/>
              <a:gd name="connsiteY31" fmla="*/ 4983068 h 5920066"/>
              <a:gd name="connsiteX32" fmla="*/ 0 w 3443287"/>
              <a:gd name="connsiteY32" fmla="*/ 4903543 h 5920066"/>
              <a:gd name="connsiteX33" fmla="*/ 0 w 3443287"/>
              <a:gd name="connsiteY33" fmla="*/ 4899808 h 5920066"/>
              <a:gd name="connsiteX34" fmla="*/ 0 w 3443287"/>
              <a:gd name="connsiteY34" fmla="*/ 4890937 h 5920066"/>
              <a:gd name="connsiteX35" fmla="*/ 0 w 3443287"/>
              <a:gd name="connsiteY35" fmla="*/ 4875069 h 5920066"/>
              <a:gd name="connsiteX36" fmla="*/ 0 w 3443287"/>
              <a:gd name="connsiteY36" fmla="*/ 4873661 h 5920066"/>
              <a:gd name="connsiteX37" fmla="*/ 0 w 3443287"/>
              <a:gd name="connsiteY37" fmla="*/ 4870043 h 5920066"/>
              <a:gd name="connsiteX38" fmla="*/ 0 w 3443287"/>
              <a:gd name="connsiteY38" fmla="*/ 4845180 h 5920066"/>
              <a:gd name="connsiteX39" fmla="*/ 0 w 3443287"/>
              <a:gd name="connsiteY39" fmla="*/ 4802692 h 5920066"/>
              <a:gd name="connsiteX40" fmla="*/ 0 w 3443287"/>
              <a:gd name="connsiteY40" fmla="*/ 4743395 h 5920066"/>
              <a:gd name="connsiteX41" fmla="*/ 0 w 3443287"/>
              <a:gd name="connsiteY41" fmla="*/ 4742906 h 5920066"/>
              <a:gd name="connsiteX42" fmla="*/ 0 w 3443287"/>
              <a:gd name="connsiteY42" fmla="*/ 4717221 h 5920066"/>
              <a:gd name="connsiteX43" fmla="*/ 0 w 3443287"/>
              <a:gd name="connsiteY43" fmla="*/ 4664488 h 5920066"/>
              <a:gd name="connsiteX44" fmla="*/ 0 w 3443287"/>
              <a:gd name="connsiteY44" fmla="*/ 4629303 h 5920066"/>
              <a:gd name="connsiteX45" fmla="*/ 0 w 3443287"/>
              <a:gd name="connsiteY45" fmla="*/ 4628197 h 5920066"/>
              <a:gd name="connsiteX46" fmla="*/ 0 w 3443287"/>
              <a:gd name="connsiteY46" fmla="*/ 4620449 h 5920066"/>
              <a:gd name="connsiteX47" fmla="*/ 0 w 3443287"/>
              <a:gd name="connsiteY47" fmla="*/ 4600829 h 5920066"/>
              <a:gd name="connsiteX48" fmla="*/ 0 w 3443287"/>
              <a:gd name="connsiteY48" fmla="*/ 4599606 h 5920066"/>
              <a:gd name="connsiteX49" fmla="*/ 0 w 3443287"/>
              <a:gd name="connsiteY49" fmla="*/ 4599421 h 5920066"/>
              <a:gd name="connsiteX50" fmla="*/ 0 w 3443287"/>
              <a:gd name="connsiteY50" fmla="*/ 4558472 h 5920066"/>
              <a:gd name="connsiteX51" fmla="*/ 0 w 3443287"/>
              <a:gd name="connsiteY51" fmla="*/ 4542771 h 5920066"/>
              <a:gd name="connsiteX52" fmla="*/ 0 w 3443287"/>
              <a:gd name="connsiteY52" fmla="*/ 4528452 h 5920066"/>
              <a:gd name="connsiteX53" fmla="*/ 0 w 3443287"/>
              <a:gd name="connsiteY53" fmla="*/ 4523933 h 5920066"/>
              <a:gd name="connsiteX54" fmla="*/ 0 w 3443287"/>
              <a:gd name="connsiteY54" fmla="*/ 4490961 h 5920066"/>
              <a:gd name="connsiteX55" fmla="*/ 0 w 3443287"/>
              <a:gd name="connsiteY55" fmla="*/ 4445170 h 5920066"/>
              <a:gd name="connsiteX56" fmla="*/ 0 w 3443287"/>
              <a:gd name="connsiteY56" fmla="*/ 4442981 h 5920066"/>
              <a:gd name="connsiteX57" fmla="*/ 0 w 3443287"/>
              <a:gd name="connsiteY57" fmla="*/ 4436639 h 5920066"/>
              <a:gd name="connsiteX58" fmla="*/ 0 w 3443287"/>
              <a:gd name="connsiteY58" fmla="*/ 4390248 h 5920066"/>
              <a:gd name="connsiteX59" fmla="*/ 0 w 3443287"/>
              <a:gd name="connsiteY59" fmla="*/ 4350891 h 5920066"/>
              <a:gd name="connsiteX60" fmla="*/ 0 w 3443287"/>
              <a:gd name="connsiteY60" fmla="*/ 4336894 h 5920066"/>
              <a:gd name="connsiteX61" fmla="*/ 0 w 3443287"/>
              <a:gd name="connsiteY61" fmla="*/ 4325366 h 5920066"/>
              <a:gd name="connsiteX62" fmla="*/ 0 w 3443287"/>
              <a:gd name="connsiteY62" fmla="*/ 4268531 h 5920066"/>
              <a:gd name="connsiteX63" fmla="*/ 0 w 3443287"/>
              <a:gd name="connsiteY63" fmla="*/ 4249693 h 5920066"/>
              <a:gd name="connsiteX64" fmla="*/ 0 w 3443287"/>
              <a:gd name="connsiteY64" fmla="*/ 4223869 h 5920066"/>
              <a:gd name="connsiteX65" fmla="*/ 0 w 3443287"/>
              <a:gd name="connsiteY65" fmla="*/ 4162399 h 5920066"/>
              <a:gd name="connsiteX66" fmla="*/ 0 w 3443287"/>
              <a:gd name="connsiteY66" fmla="*/ 4140749 h 5920066"/>
              <a:gd name="connsiteX67" fmla="*/ 0 w 3443287"/>
              <a:gd name="connsiteY67" fmla="*/ 4096732 h 5920066"/>
              <a:gd name="connsiteX68" fmla="*/ 0 w 3443287"/>
              <a:gd name="connsiteY68" fmla="*/ 4076651 h 5920066"/>
              <a:gd name="connsiteX69" fmla="*/ 0 w 3443287"/>
              <a:gd name="connsiteY69" fmla="*/ 4062654 h 5920066"/>
              <a:gd name="connsiteX70" fmla="*/ 0 w 3443287"/>
              <a:gd name="connsiteY70" fmla="*/ 3954655 h 5920066"/>
              <a:gd name="connsiteX71" fmla="*/ 0 w 3443287"/>
              <a:gd name="connsiteY71" fmla="*/ 3949629 h 5920066"/>
              <a:gd name="connsiteX72" fmla="*/ 0 w 3443287"/>
              <a:gd name="connsiteY72" fmla="*/ 3911516 h 5920066"/>
              <a:gd name="connsiteX73" fmla="*/ 0 w 3443287"/>
              <a:gd name="connsiteY73" fmla="*/ 3866509 h 5920066"/>
              <a:gd name="connsiteX74" fmla="*/ 0 w 3443287"/>
              <a:gd name="connsiteY74" fmla="*/ 3822492 h 5920066"/>
              <a:gd name="connsiteX75" fmla="*/ 0 w 3443287"/>
              <a:gd name="connsiteY75" fmla="*/ 3796807 h 5920066"/>
              <a:gd name="connsiteX76" fmla="*/ 0 w 3443287"/>
              <a:gd name="connsiteY76" fmla="*/ 3680415 h 5920066"/>
              <a:gd name="connsiteX77" fmla="*/ 0 w 3443287"/>
              <a:gd name="connsiteY77" fmla="*/ 3662362 h 5920066"/>
              <a:gd name="connsiteX78" fmla="*/ 0 w 3443287"/>
              <a:gd name="connsiteY78" fmla="*/ 3637276 h 5920066"/>
              <a:gd name="connsiteX79" fmla="*/ 0 w 3443287"/>
              <a:gd name="connsiteY79" fmla="*/ 3622357 h 5920066"/>
              <a:gd name="connsiteX80" fmla="*/ 0 w 3443287"/>
              <a:gd name="connsiteY80" fmla="*/ 3522567 h 5920066"/>
              <a:gd name="connsiteX81" fmla="*/ 0 w 3443287"/>
              <a:gd name="connsiteY81" fmla="*/ 3430477 h 5920066"/>
              <a:gd name="connsiteX82" fmla="*/ 0 w 3443287"/>
              <a:gd name="connsiteY82" fmla="*/ 3392457 h 5920066"/>
              <a:gd name="connsiteX83" fmla="*/ 0 w 3443287"/>
              <a:gd name="connsiteY83" fmla="*/ 3388122 h 5920066"/>
              <a:gd name="connsiteX84" fmla="*/ 0 w 3443287"/>
              <a:gd name="connsiteY84" fmla="*/ 3348117 h 5920066"/>
              <a:gd name="connsiteX85" fmla="*/ 0 w 3443287"/>
              <a:gd name="connsiteY85" fmla="*/ 3220335 h 5920066"/>
              <a:gd name="connsiteX86" fmla="*/ 0 w 3443287"/>
              <a:gd name="connsiteY86" fmla="*/ 3156237 h 5920066"/>
              <a:gd name="connsiteX87" fmla="*/ 0 w 3443287"/>
              <a:gd name="connsiteY87" fmla="*/ 3118217 h 5920066"/>
              <a:gd name="connsiteX88" fmla="*/ 0 w 3443287"/>
              <a:gd name="connsiteY88" fmla="*/ 3100970 h 5920066"/>
              <a:gd name="connsiteX89" fmla="*/ 0 w 3443287"/>
              <a:gd name="connsiteY89" fmla="*/ 2991102 h 5920066"/>
              <a:gd name="connsiteX90" fmla="*/ 0 w 3443287"/>
              <a:gd name="connsiteY90" fmla="*/ 2946095 h 5920066"/>
              <a:gd name="connsiteX91" fmla="*/ 0 w 3443287"/>
              <a:gd name="connsiteY91" fmla="*/ 2826730 h 5920066"/>
              <a:gd name="connsiteX92" fmla="*/ 0 w 3443287"/>
              <a:gd name="connsiteY92" fmla="*/ 2787072 h 5920066"/>
              <a:gd name="connsiteX93" fmla="*/ 0 w 3443287"/>
              <a:gd name="connsiteY93" fmla="*/ 2741948 h 5920066"/>
              <a:gd name="connsiteX94" fmla="*/ 0 w 3443287"/>
              <a:gd name="connsiteY94" fmla="*/ 2716862 h 5920066"/>
              <a:gd name="connsiteX95" fmla="*/ 0 w 3443287"/>
              <a:gd name="connsiteY95" fmla="*/ 2512832 h 5920066"/>
              <a:gd name="connsiteX96" fmla="*/ 0 w 3443287"/>
              <a:gd name="connsiteY96" fmla="*/ 2472043 h 5920066"/>
              <a:gd name="connsiteX97" fmla="*/ 0 w 3443287"/>
              <a:gd name="connsiteY97" fmla="*/ 2467708 h 5920066"/>
              <a:gd name="connsiteX98" fmla="*/ 0 w 3443287"/>
              <a:gd name="connsiteY98" fmla="*/ 2449933 h 5920066"/>
              <a:gd name="connsiteX99" fmla="*/ 0 w 3443287"/>
              <a:gd name="connsiteY99" fmla="*/ 2197803 h 5920066"/>
              <a:gd name="connsiteX100" fmla="*/ 0 w 3443287"/>
              <a:gd name="connsiteY100" fmla="*/ 2180556 h 5920066"/>
              <a:gd name="connsiteX101" fmla="*/ 0 w 3443287"/>
              <a:gd name="connsiteY101" fmla="*/ 2175692 h 5920066"/>
              <a:gd name="connsiteX102" fmla="*/ 0 w 3443287"/>
              <a:gd name="connsiteY102" fmla="*/ 2088721 h 5920066"/>
              <a:gd name="connsiteX103" fmla="*/ 0 w 3443287"/>
              <a:gd name="connsiteY103" fmla="*/ 1906316 h 5920066"/>
              <a:gd name="connsiteX104" fmla="*/ 0 w 3443287"/>
              <a:gd name="connsiteY104" fmla="*/ 1866658 h 5920066"/>
              <a:gd name="connsiteX105" fmla="*/ 0 w 3443287"/>
              <a:gd name="connsiteY105" fmla="*/ 1814481 h 5920066"/>
              <a:gd name="connsiteX106" fmla="*/ 0 w 3443287"/>
              <a:gd name="connsiteY106" fmla="*/ 1702609 h 5920066"/>
              <a:gd name="connsiteX107" fmla="*/ 0 w 3443287"/>
              <a:gd name="connsiteY107" fmla="*/ 1592418 h 5920066"/>
              <a:gd name="connsiteX108" fmla="*/ 0 w 3443287"/>
              <a:gd name="connsiteY108" fmla="*/ 1529519 h 5920066"/>
              <a:gd name="connsiteX109" fmla="*/ 0 w 3443287"/>
              <a:gd name="connsiteY109" fmla="*/ 1428369 h 5920066"/>
              <a:gd name="connsiteX110" fmla="*/ 0 w 3443287"/>
              <a:gd name="connsiteY110" fmla="*/ 1290764 h 5920066"/>
              <a:gd name="connsiteX111" fmla="*/ 0 w 3443287"/>
              <a:gd name="connsiteY111" fmla="*/ 1255278 h 5920066"/>
              <a:gd name="connsiteX112" fmla="*/ 0 w 3443287"/>
              <a:gd name="connsiteY112" fmla="*/ 1168307 h 5920066"/>
              <a:gd name="connsiteX113" fmla="*/ 0 w 3443287"/>
              <a:gd name="connsiteY113" fmla="*/ 1016524 h 5920066"/>
              <a:gd name="connsiteX114" fmla="*/ 0 w 3443287"/>
              <a:gd name="connsiteY114" fmla="*/ 894067 h 5920066"/>
              <a:gd name="connsiteX115" fmla="*/ 0 w 3443287"/>
              <a:gd name="connsiteY115" fmla="*/ 782195 h 5920066"/>
              <a:gd name="connsiteX116" fmla="*/ 0 w 3443287"/>
              <a:gd name="connsiteY116" fmla="*/ 507955 h 5920066"/>
              <a:gd name="connsiteX117" fmla="*/ 0 w 3443287"/>
              <a:gd name="connsiteY117" fmla="*/ 370350 h 5920066"/>
              <a:gd name="connsiteX118" fmla="*/ 0 w 3443287"/>
              <a:gd name="connsiteY118" fmla="*/ 96110 h 5920066"/>
              <a:gd name="connsiteX119" fmla="*/ 95997 w 3443287"/>
              <a:gd name="connsiteY119" fmla="*/ 0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3443287" h="5920066">
                <a:moveTo>
                  <a:pt x="95997" y="0"/>
                </a:moveTo>
                <a:lnTo>
                  <a:pt x="3443287" y="0"/>
                </a:lnTo>
                <a:lnTo>
                  <a:pt x="3443287" y="5920066"/>
                </a:lnTo>
                <a:lnTo>
                  <a:pt x="95989" y="5920066"/>
                </a:lnTo>
                <a:lnTo>
                  <a:pt x="64311" y="5915938"/>
                </a:lnTo>
                <a:cubicBezTo>
                  <a:pt x="0" y="5897541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59964" tIns="359964">
            <a:noAutofit/>
          </a:bodyPr>
          <a:lstStyle>
            <a:lvl1pPr algn="ctr">
              <a:defRPr sz="1400" b="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7528" y="280734"/>
            <a:ext cx="6787223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957358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54" userDrawn="1">
          <p15:clr>
            <a:srgbClr val="FBAE40"/>
          </p15:clr>
        </p15:guide>
        <p15:guide id="2" pos="26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8.xml"/><Relationship Id="rId13" Type="http://schemas.openxmlformats.org/officeDocument/2006/relationships/slideLayout" Target="../slideLayouts/slideLayout253.xml"/><Relationship Id="rId18" Type="http://schemas.openxmlformats.org/officeDocument/2006/relationships/slideLayout" Target="../slideLayouts/slideLayout258.xml"/><Relationship Id="rId26" Type="http://schemas.openxmlformats.org/officeDocument/2006/relationships/slideLayout" Target="../slideLayouts/slideLayout266.xml"/><Relationship Id="rId39" Type="http://schemas.openxmlformats.org/officeDocument/2006/relationships/image" Target="../media/image2.emf"/><Relationship Id="rId3" Type="http://schemas.openxmlformats.org/officeDocument/2006/relationships/slideLayout" Target="../slideLayouts/slideLayout243.xml"/><Relationship Id="rId21" Type="http://schemas.openxmlformats.org/officeDocument/2006/relationships/slideLayout" Target="../slideLayouts/slideLayout261.xml"/><Relationship Id="rId34" Type="http://schemas.openxmlformats.org/officeDocument/2006/relationships/slideLayout" Target="../slideLayouts/slideLayout274.xml"/><Relationship Id="rId7" Type="http://schemas.openxmlformats.org/officeDocument/2006/relationships/slideLayout" Target="../slideLayouts/slideLayout247.xml"/><Relationship Id="rId12" Type="http://schemas.openxmlformats.org/officeDocument/2006/relationships/slideLayout" Target="../slideLayouts/slideLayout252.xml"/><Relationship Id="rId17" Type="http://schemas.openxmlformats.org/officeDocument/2006/relationships/slideLayout" Target="../slideLayouts/slideLayout257.xml"/><Relationship Id="rId25" Type="http://schemas.openxmlformats.org/officeDocument/2006/relationships/slideLayout" Target="../slideLayouts/slideLayout265.xml"/><Relationship Id="rId33" Type="http://schemas.openxmlformats.org/officeDocument/2006/relationships/slideLayout" Target="../slideLayouts/slideLayout273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42.xml"/><Relationship Id="rId16" Type="http://schemas.openxmlformats.org/officeDocument/2006/relationships/slideLayout" Target="../slideLayouts/slideLayout256.xml"/><Relationship Id="rId20" Type="http://schemas.openxmlformats.org/officeDocument/2006/relationships/slideLayout" Target="../slideLayouts/slideLayout260.xml"/><Relationship Id="rId29" Type="http://schemas.openxmlformats.org/officeDocument/2006/relationships/slideLayout" Target="../slideLayouts/slideLayout269.xml"/><Relationship Id="rId1" Type="http://schemas.openxmlformats.org/officeDocument/2006/relationships/slideLayout" Target="../slideLayouts/slideLayout241.xml"/><Relationship Id="rId6" Type="http://schemas.openxmlformats.org/officeDocument/2006/relationships/slideLayout" Target="../slideLayouts/slideLayout246.xml"/><Relationship Id="rId11" Type="http://schemas.openxmlformats.org/officeDocument/2006/relationships/slideLayout" Target="../slideLayouts/slideLayout251.xml"/><Relationship Id="rId24" Type="http://schemas.openxmlformats.org/officeDocument/2006/relationships/slideLayout" Target="../slideLayouts/slideLayout264.xml"/><Relationship Id="rId32" Type="http://schemas.openxmlformats.org/officeDocument/2006/relationships/slideLayout" Target="../slideLayouts/slideLayout272.xml"/><Relationship Id="rId37" Type="http://schemas.openxmlformats.org/officeDocument/2006/relationships/theme" Target="../theme/theme10.xml"/><Relationship Id="rId5" Type="http://schemas.openxmlformats.org/officeDocument/2006/relationships/slideLayout" Target="../slideLayouts/slideLayout245.xml"/><Relationship Id="rId15" Type="http://schemas.openxmlformats.org/officeDocument/2006/relationships/slideLayout" Target="../slideLayouts/slideLayout255.xml"/><Relationship Id="rId23" Type="http://schemas.openxmlformats.org/officeDocument/2006/relationships/slideLayout" Target="../slideLayouts/slideLayout263.xml"/><Relationship Id="rId28" Type="http://schemas.openxmlformats.org/officeDocument/2006/relationships/slideLayout" Target="../slideLayouts/slideLayout268.xml"/><Relationship Id="rId36" Type="http://schemas.openxmlformats.org/officeDocument/2006/relationships/slideLayout" Target="../slideLayouts/slideLayout276.xml"/><Relationship Id="rId10" Type="http://schemas.openxmlformats.org/officeDocument/2006/relationships/slideLayout" Target="../slideLayouts/slideLayout250.xml"/><Relationship Id="rId19" Type="http://schemas.openxmlformats.org/officeDocument/2006/relationships/slideLayout" Target="../slideLayouts/slideLayout259.xml"/><Relationship Id="rId31" Type="http://schemas.openxmlformats.org/officeDocument/2006/relationships/slideLayout" Target="../slideLayouts/slideLayout271.xml"/><Relationship Id="rId4" Type="http://schemas.openxmlformats.org/officeDocument/2006/relationships/slideLayout" Target="../slideLayouts/slideLayout244.xml"/><Relationship Id="rId9" Type="http://schemas.openxmlformats.org/officeDocument/2006/relationships/slideLayout" Target="../slideLayouts/slideLayout249.xml"/><Relationship Id="rId14" Type="http://schemas.openxmlformats.org/officeDocument/2006/relationships/slideLayout" Target="../slideLayouts/slideLayout254.xml"/><Relationship Id="rId22" Type="http://schemas.openxmlformats.org/officeDocument/2006/relationships/slideLayout" Target="../slideLayouts/slideLayout262.xml"/><Relationship Id="rId27" Type="http://schemas.openxmlformats.org/officeDocument/2006/relationships/slideLayout" Target="../slideLayouts/slideLayout267.xml"/><Relationship Id="rId30" Type="http://schemas.openxmlformats.org/officeDocument/2006/relationships/slideLayout" Target="../slideLayouts/slideLayout270.xml"/><Relationship Id="rId35" Type="http://schemas.openxmlformats.org/officeDocument/2006/relationships/slideLayout" Target="../slideLayouts/slideLayout27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4.xml"/><Relationship Id="rId13" Type="http://schemas.openxmlformats.org/officeDocument/2006/relationships/slideLayout" Target="../slideLayouts/slideLayout289.xml"/><Relationship Id="rId18" Type="http://schemas.openxmlformats.org/officeDocument/2006/relationships/slideLayout" Target="../slideLayouts/slideLayout294.xml"/><Relationship Id="rId26" Type="http://schemas.openxmlformats.org/officeDocument/2006/relationships/slideLayout" Target="../slideLayouts/slideLayout302.xml"/><Relationship Id="rId39" Type="http://schemas.openxmlformats.org/officeDocument/2006/relationships/image" Target="../media/image2.emf"/><Relationship Id="rId3" Type="http://schemas.openxmlformats.org/officeDocument/2006/relationships/slideLayout" Target="../slideLayouts/slideLayout279.xml"/><Relationship Id="rId21" Type="http://schemas.openxmlformats.org/officeDocument/2006/relationships/slideLayout" Target="../slideLayouts/slideLayout297.xml"/><Relationship Id="rId34" Type="http://schemas.openxmlformats.org/officeDocument/2006/relationships/slideLayout" Target="../slideLayouts/slideLayout310.xml"/><Relationship Id="rId7" Type="http://schemas.openxmlformats.org/officeDocument/2006/relationships/slideLayout" Target="../slideLayouts/slideLayout283.xml"/><Relationship Id="rId12" Type="http://schemas.openxmlformats.org/officeDocument/2006/relationships/slideLayout" Target="../slideLayouts/slideLayout288.xml"/><Relationship Id="rId17" Type="http://schemas.openxmlformats.org/officeDocument/2006/relationships/slideLayout" Target="../slideLayouts/slideLayout293.xml"/><Relationship Id="rId25" Type="http://schemas.openxmlformats.org/officeDocument/2006/relationships/slideLayout" Target="../slideLayouts/slideLayout301.xml"/><Relationship Id="rId33" Type="http://schemas.openxmlformats.org/officeDocument/2006/relationships/slideLayout" Target="../slideLayouts/slideLayout309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78.xml"/><Relationship Id="rId16" Type="http://schemas.openxmlformats.org/officeDocument/2006/relationships/slideLayout" Target="../slideLayouts/slideLayout292.xml"/><Relationship Id="rId20" Type="http://schemas.openxmlformats.org/officeDocument/2006/relationships/slideLayout" Target="../slideLayouts/slideLayout296.xml"/><Relationship Id="rId29" Type="http://schemas.openxmlformats.org/officeDocument/2006/relationships/slideLayout" Target="../slideLayouts/slideLayout305.xml"/><Relationship Id="rId1" Type="http://schemas.openxmlformats.org/officeDocument/2006/relationships/slideLayout" Target="../slideLayouts/slideLayout277.xml"/><Relationship Id="rId6" Type="http://schemas.openxmlformats.org/officeDocument/2006/relationships/slideLayout" Target="../slideLayouts/slideLayout282.xml"/><Relationship Id="rId11" Type="http://schemas.openxmlformats.org/officeDocument/2006/relationships/slideLayout" Target="../slideLayouts/slideLayout287.xml"/><Relationship Id="rId24" Type="http://schemas.openxmlformats.org/officeDocument/2006/relationships/slideLayout" Target="../slideLayouts/slideLayout300.xml"/><Relationship Id="rId32" Type="http://schemas.openxmlformats.org/officeDocument/2006/relationships/slideLayout" Target="../slideLayouts/slideLayout308.xml"/><Relationship Id="rId37" Type="http://schemas.openxmlformats.org/officeDocument/2006/relationships/theme" Target="../theme/theme11.xml"/><Relationship Id="rId5" Type="http://schemas.openxmlformats.org/officeDocument/2006/relationships/slideLayout" Target="../slideLayouts/slideLayout281.xml"/><Relationship Id="rId15" Type="http://schemas.openxmlformats.org/officeDocument/2006/relationships/slideLayout" Target="../slideLayouts/slideLayout291.xml"/><Relationship Id="rId23" Type="http://schemas.openxmlformats.org/officeDocument/2006/relationships/slideLayout" Target="../slideLayouts/slideLayout299.xml"/><Relationship Id="rId28" Type="http://schemas.openxmlformats.org/officeDocument/2006/relationships/slideLayout" Target="../slideLayouts/slideLayout304.xml"/><Relationship Id="rId36" Type="http://schemas.openxmlformats.org/officeDocument/2006/relationships/slideLayout" Target="../slideLayouts/slideLayout312.xml"/><Relationship Id="rId10" Type="http://schemas.openxmlformats.org/officeDocument/2006/relationships/slideLayout" Target="../slideLayouts/slideLayout286.xml"/><Relationship Id="rId19" Type="http://schemas.openxmlformats.org/officeDocument/2006/relationships/slideLayout" Target="../slideLayouts/slideLayout295.xml"/><Relationship Id="rId31" Type="http://schemas.openxmlformats.org/officeDocument/2006/relationships/slideLayout" Target="../slideLayouts/slideLayout307.xml"/><Relationship Id="rId4" Type="http://schemas.openxmlformats.org/officeDocument/2006/relationships/slideLayout" Target="../slideLayouts/slideLayout280.xml"/><Relationship Id="rId9" Type="http://schemas.openxmlformats.org/officeDocument/2006/relationships/slideLayout" Target="../slideLayouts/slideLayout285.xml"/><Relationship Id="rId14" Type="http://schemas.openxmlformats.org/officeDocument/2006/relationships/slideLayout" Target="../slideLayouts/slideLayout290.xml"/><Relationship Id="rId22" Type="http://schemas.openxmlformats.org/officeDocument/2006/relationships/slideLayout" Target="../slideLayouts/slideLayout298.xml"/><Relationship Id="rId27" Type="http://schemas.openxmlformats.org/officeDocument/2006/relationships/slideLayout" Target="../slideLayouts/slideLayout303.xml"/><Relationship Id="rId30" Type="http://schemas.openxmlformats.org/officeDocument/2006/relationships/slideLayout" Target="../slideLayouts/slideLayout306.xml"/><Relationship Id="rId35" Type="http://schemas.openxmlformats.org/officeDocument/2006/relationships/slideLayout" Target="../slideLayouts/slideLayout31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slideLayout" Target="../slideLayouts/slideLayout64.xml"/><Relationship Id="rId3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59.xml"/><Relationship Id="rId34" Type="http://schemas.openxmlformats.org/officeDocument/2006/relationships/slideLayout" Target="../slideLayouts/slideLayout72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slideLayout" Target="../slideLayouts/slideLayout63.xml"/><Relationship Id="rId33" Type="http://schemas.openxmlformats.org/officeDocument/2006/relationships/slideLayout" Target="../slideLayouts/slideLayout71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29" Type="http://schemas.openxmlformats.org/officeDocument/2006/relationships/slideLayout" Target="../slideLayouts/slideLayout67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32" Type="http://schemas.openxmlformats.org/officeDocument/2006/relationships/slideLayout" Target="../slideLayouts/slideLayout70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slideLayout" Target="../slideLayouts/slideLayout66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31" Type="http://schemas.openxmlformats.org/officeDocument/2006/relationships/slideLayout" Target="../slideLayouts/slideLayout69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slideLayout" Target="../slideLayouts/slideLayout65.xml"/><Relationship Id="rId30" Type="http://schemas.openxmlformats.org/officeDocument/2006/relationships/slideLayout" Target="../slideLayouts/slideLayout68.xml"/><Relationship Id="rId35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slideLayout" Target="../slideLayouts/slideLayout98.xml"/><Relationship Id="rId3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93.xml"/><Relationship Id="rId34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slideLayout" Target="../slideLayouts/slideLayout97.xml"/><Relationship Id="rId33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29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slideLayout" Target="../slideLayouts/slideLayout96.xml"/><Relationship Id="rId32" Type="http://schemas.openxmlformats.org/officeDocument/2006/relationships/slideLayout" Target="../slideLayouts/slideLayout104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slideLayout" Target="../slideLayouts/slideLayout95.xml"/><Relationship Id="rId28" Type="http://schemas.openxmlformats.org/officeDocument/2006/relationships/slideLayout" Target="../slideLayouts/slideLayout100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31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slideLayout" Target="../slideLayouts/slideLayout94.xml"/><Relationship Id="rId27" Type="http://schemas.openxmlformats.org/officeDocument/2006/relationships/slideLayout" Target="../slideLayouts/slideLayout99.xml"/><Relationship Id="rId30" Type="http://schemas.openxmlformats.org/officeDocument/2006/relationships/slideLayout" Target="../slideLayouts/slideLayout102.xml"/><Relationship Id="rId35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13" Type="http://schemas.openxmlformats.org/officeDocument/2006/relationships/slideLayout" Target="../slideLayouts/slideLayout119.xml"/><Relationship Id="rId18" Type="http://schemas.openxmlformats.org/officeDocument/2006/relationships/slideLayout" Target="../slideLayouts/slideLayout124.xml"/><Relationship Id="rId26" Type="http://schemas.openxmlformats.org/officeDocument/2006/relationships/slideLayout" Target="../slideLayouts/slideLayout132.xml"/><Relationship Id="rId39" Type="http://schemas.openxmlformats.org/officeDocument/2006/relationships/slideLayout" Target="../slideLayouts/slideLayout145.xml"/><Relationship Id="rId3" Type="http://schemas.openxmlformats.org/officeDocument/2006/relationships/slideLayout" Target="../slideLayouts/slideLayout109.xml"/><Relationship Id="rId21" Type="http://schemas.openxmlformats.org/officeDocument/2006/relationships/slideLayout" Target="../slideLayouts/slideLayout127.xml"/><Relationship Id="rId34" Type="http://schemas.openxmlformats.org/officeDocument/2006/relationships/slideLayout" Target="../slideLayouts/slideLayout140.xml"/><Relationship Id="rId42" Type="http://schemas.openxmlformats.org/officeDocument/2006/relationships/theme" Target="../theme/theme4.xml"/><Relationship Id="rId7" Type="http://schemas.openxmlformats.org/officeDocument/2006/relationships/slideLayout" Target="../slideLayouts/slideLayout113.xml"/><Relationship Id="rId12" Type="http://schemas.openxmlformats.org/officeDocument/2006/relationships/slideLayout" Target="../slideLayouts/slideLayout118.xml"/><Relationship Id="rId17" Type="http://schemas.openxmlformats.org/officeDocument/2006/relationships/slideLayout" Target="../slideLayouts/slideLayout123.xml"/><Relationship Id="rId25" Type="http://schemas.openxmlformats.org/officeDocument/2006/relationships/slideLayout" Target="../slideLayouts/slideLayout131.xml"/><Relationship Id="rId33" Type="http://schemas.openxmlformats.org/officeDocument/2006/relationships/slideLayout" Target="../slideLayouts/slideLayout139.xml"/><Relationship Id="rId38" Type="http://schemas.openxmlformats.org/officeDocument/2006/relationships/slideLayout" Target="../slideLayouts/slideLayout144.xml"/><Relationship Id="rId2" Type="http://schemas.openxmlformats.org/officeDocument/2006/relationships/slideLayout" Target="../slideLayouts/slideLayout108.xml"/><Relationship Id="rId16" Type="http://schemas.openxmlformats.org/officeDocument/2006/relationships/slideLayout" Target="../slideLayouts/slideLayout122.xml"/><Relationship Id="rId20" Type="http://schemas.openxmlformats.org/officeDocument/2006/relationships/slideLayout" Target="../slideLayouts/slideLayout126.xml"/><Relationship Id="rId29" Type="http://schemas.openxmlformats.org/officeDocument/2006/relationships/slideLayout" Target="../slideLayouts/slideLayout135.xml"/><Relationship Id="rId41" Type="http://schemas.openxmlformats.org/officeDocument/2006/relationships/slideLayout" Target="../slideLayouts/slideLayout147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7.xml"/><Relationship Id="rId24" Type="http://schemas.openxmlformats.org/officeDocument/2006/relationships/slideLayout" Target="../slideLayouts/slideLayout130.xml"/><Relationship Id="rId32" Type="http://schemas.openxmlformats.org/officeDocument/2006/relationships/slideLayout" Target="../slideLayouts/slideLayout138.xml"/><Relationship Id="rId37" Type="http://schemas.openxmlformats.org/officeDocument/2006/relationships/slideLayout" Target="../slideLayouts/slideLayout143.xml"/><Relationship Id="rId40" Type="http://schemas.openxmlformats.org/officeDocument/2006/relationships/slideLayout" Target="../slideLayouts/slideLayout146.xml"/><Relationship Id="rId5" Type="http://schemas.openxmlformats.org/officeDocument/2006/relationships/slideLayout" Target="../slideLayouts/slideLayout111.xml"/><Relationship Id="rId15" Type="http://schemas.openxmlformats.org/officeDocument/2006/relationships/slideLayout" Target="../slideLayouts/slideLayout121.xml"/><Relationship Id="rId23" Type="http://schemas.openxmlformats.org/officeDocument/2006/relationships/slideLayout" Target="../slideLayouts/slideLayout129.xml"/><Relationship Id="rId28" Type="http://schemas.openxmlformats.org/officeDocument/2006/relationships/slideLayout" Target="../slideLayouts/slideLayout134.xml"/><Relationship Id="rId36" Type="http://schemas.openxmlformats.org/officeDocument/2006/relationships/slideLayout" Target="../slideLayouts/slideLayout142.xml"/><Relationship Id="rId10" Type="http://schemas.openxmlformats.org/officeDocument/2006/relationships/slideLayout" Target="../slideLayouts/slideLayout116.xml"/><Relationship Id="rId19" Type="http://schemas.openxmlformats.org/officeDocument/2006/relationships/slideLayout" Target="../slideLayouts/slideLayout125.xml"/><Relationship Id="rId31" Type="http://schemas.openxmlformats.org/officeDocument/2006/relationships/slideLayout" Target="../slideLayouts/slideLayout137.xml"/><Relationship Id="rId44" Type="http://schemas.openxmlformats.org/officeDocument/2006/relationships/image" Target="../media/image2.emf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Relationship Id="rId14" Type="http://schemas.openxmlformats.org/officeDocument/2006/relationships/slideLayout" Target="../slideLayouts/slideLayout120.xml"/><Relationship Id="rId22" Type="http://schemas.openxmlformats.org/officeDocument/2006/relationships/slideLayout" Target="../slideLayouts/slideLayout128.xml"/><Relationship Id="rId27" Type="http://schemas.openxmlformats.org/officeDocument/2006/relationships/slideLayout" Target="../slideLayouts/slideLayout133.xml"/><Relationship Id="rId30" Type="http://schemas.openxmlformats.org/officeDocument/2006/relationships/slideLayout" Target="../slideLayouts/slideLayout136.xml"/><Relationship Id="rId35" Type="http://schemas.openxmlformats.org/officeDocument/2006/relationships/slideLayout" Target="../slideLayouts/slideLayout141.xml"/><Relationship Id="rId43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5.xml"/><Relationship Id="rId13" Type="http://schemas.openxmlformats.org/officeDocument/2006/relationships/slideLayout" Target="../slideLayouts/slideLayout160.xml"/><Relationship Id="rId18" Type="http://schemas.openxmlformats.org/officeDocument/2006/relationships/slideLayout" Target="../slideLayouts/slideLayout165.xml"/><Relationship Id="rId26" Type="http://schemas.openxmlformats.org/officeDocument/2006/relationships/slideLayout" Target="../slideLayouts/slideLayout173.xml"/><Relationship Id="rId3" Type="http://schemas.openxmlformats.org/officeDocument/2006/relationships/slideLayout" Target="../slideLayouts/slideLayout150.xml"/><Relationship Id="rId21" Type="http://schemas.openxmlformats.org/officeDocument/2006/relationships/slideLayout" Target="../slideLayouts/slideLayout168.xml"/><Relationship Id="rId34" Type="http://schemas.openxmlformats.org/officeDocument/2006/relationships/slideLayout" Target="../slideLayouts/slideLayout181.xml"/><Relationship Id="rId7" Type="http://schemas.openxmlformats.org/officeDocument/2006/relationships/slideLayout" Target="../slideLayouts/slideLayout154.xml"/><Relationship Id="rId12" Type="http://schemas.openxmlformats.org/officeDocument/2006/relationships/slideLayout" Target="../slideLayouts/slideLayout159.xml"/><Relationship Id="rId17" Type="http://schemas.openxmlformats.org/officeDocument/2006/relationships/slideLayout" Target="../slideLayouts/slideLayout164.xml"/><Relationship Id="rId25" Type="http://schemas.openxmlformats.org/officeDocument/2006/relationships/slideLayout" Target="../slideLayouts/slideLayout172.xml"/><Relationship Id="rId33" Type="http://schemas.openxmlformats.org/officeDocument/2006/relationships/slideLayout" Target="../slideLayouts/slideLayout180.xml"/><Relationship Id="rId2" Type="http://schemas.openxmlformats.org/officeDocument/2006/relationships/slideLayout" Target="../slideLayouts/slideLayout149.xml"/><Relationship Id="rId16" Type="http://schemas.openxmlformats.org/officeDocument/2006/relationships/slideLayout" Target="../slideLayouts/slideLayout163.xml"/><Relationship Id="rId20" Type="http://schemas.openxmlformats.org/officeDocument/2006/relationships/slideLayout" Target="../slideLayouts/slideLayout167.xml"/><Relationship Id="rId29" Type="http://schemas.openxmlformats.org/officeDocument/2006/relationships/slideLayout" Target="../slideLayouts/slideLayout176.xml"/><Relationship Id="rId1" Type="http://schemas.openxmlformats.org/officeDocument/2006/relationships/slideLayout" Target="../slideLayouts/slideLayout148.xml"/><Relationship Id="rId6" Type="http://schemas.openxmlformats.org/officeDocument/2006/relationships/slideLayout" Target="../slideLayouts/slideLayout153.xml"/><Relationship Id="rId11" Type="http://schemas.openxmlformats.org/officeDocument/2006/relationships/slideLayout" Target="../slideLayouts/slideLayout158.xml"/><Relationship Id="rId24" Type="http://schemas.openxmlformats.org/officeDocument/2006/relationships/slideLayout" Target="../slideLayouts/slideLayout171.xml"/><Relationship Id="rId32" Type="http://schemas.openxmlformats.org/officeDocument/2006/relationships/slideLayout" Target="../slideLayouts/slideLayout179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152.xml"/><Relationship Id="rId15" Type="http://schemas.openxmlformats.org/officeDocument/2006/relationships/slideLayout" Target="../slideLayouts/slideLayout162.xml"/><Relationship Id="rId23" Type="http://schemas.openxmlformats.org/officeDocument/2006/relationships/slideLayout" Target="../slideLayouts/slideLayout170.xml"/><Relationship Id="rId28" Type="http://schemas.openxmlformats.org/officeDocument/2006/relationships/slideLayout" Target="../slideLayouts/slideLayout175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57.xml"/><Relationship Id="rId19" Type="http://schemas.openxmlformats.org/officeDocument/2006/relationships/slideLayout" Target="../slideLayouts/slideLayout166.xml"/><Relationship Id="rId31" Type="http://schemas.openxmlformats.org/officeDocument/2006/relationships/slideLayout" Target="../slideLayouts/slideLayout178.xml"/><Relationship Id="rId4" Type="http://schemas.openxmlformats.org/officeDocument/2006/relationships/slideLayout" Target="../slideLayouts/slideLayout151.xml"/><Relationship Id="rId9" Type="http://schemas.openxmlformats.org/officeDocument/2006/relationships/slideLayout" Target="../slideLayouts/slideLayout156.xml"/><Relationship Id="rId14" Type="http://schemas.openxmlformats.org/officeDocument/2006/relationships/slideLayout" Target="../slideLayouts/slideLayout161.xml"/><Relationship Id="rId22" Type="http://schemas.openxmlformats.org/officeDocument/2006/relationships/slideLayout" Target="../slideLayouts/slideLayout169.xml"/><Relationship Id="rId27" Type="http://schemas.openxmlformats.org/officeDocument/2006/relationships/slideLayout" Target="../slideLayouts/slideLayout174.xml"/><Relationship Id="rId30" Type="http://schemas.openxmlformats.org/officeDocument/2006/relationships/slideLayout" Target="../slideLayouts/slideLayout177.xml"/><Relationship Id="rId35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9.xml"/><Relationship Id="rId13" Type="http://schemas.openxmlformats.org/officeDocument/2006/relationships/slideLayout" Target="../slideLayouts/slideLayout194.xml"/><Relationship Id="rId18" Type="http://schemas.openxmlformats.org/officeDocument/2006/relationships/slideLayout" Target="../slideLayouts/slideLayout199.xml"/><Relationship Id="rId3" Type="http://schemas.openxmlformats.org/officeDocument/2006/relationships/slideLayout" Target="../slideLayouts/slideLayout184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188.xml"/><Relationship Id="rId12" Type="http://schemas.openxmlformats.org/officeDocument/2006/relationships/slideLayout" Target="../slideLayouts/slideLayout193.xml"/><Relationship Id="rId17" Type="http://schemas.openxmlformats.org/officeDocument/2006/relationships/slideLayout" Target="../slideLayouts/slideLayout198.xml"/><Relationship Id="rId2" Type="http://schemas.openxmlformats.org/officeDocument/2006/relationships/slideLayout" Target="../slideLayouts/slideLayout183.xml"/><Relationship Id="rId16" Type="http://schemas.openxmlformats.org/officeDocument/2006/relationships/slideLayout" Target="../slideLayouts/slideLayout197.xml"/><Relationship Id="rId20" Type="http://schemas.openxmlformats.org/officeDocument/2006/relationships/slideLayout" Target="../slideLayouts/slideLayout201.xml"/><Relationship Id="rId1" Type="http://schemas.openxmlformats.org/officeDocument/2006/relationships/slideLayout" Target="../slideLayouts/slideLayout182.xml"/><Relationship Id="rId6" Type="http://schemas.openxmlformats.org/officeDocument/2006/relationships/slideLayout" Target="../slideLayouts/slideLayout187.xml"/><Relationship Id="rId11" Type="http://schemas.openxmlformats.org/officeDocument/2006/relationships/slideLayout" Target="../slideLayouts/slideLayout192.xml"/><Relationship Id="rId5" Type="http://schemas.openxmlformats.org/officeDocument/2006/relationships/slideLayout" Target="../slideLayouts/slideLayout186.xml"/><Relationship Id="rId15" Type="http://schemas.openxmlformats.org/officeDocument/2006/relationships/slideLayout" Target="../slideLayouts/slideLayout196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91.xml"/><Relationship Id="rId19" Type="http://schemas.openxmlformats.org/officeDocument/2006/relationships/slideLayout" Target="../slideLayouts/slideLayout200.xml"/><Relationship Id="rId4" Type="http://schemas.openxmlformats.org/officeDocument/2006/relationships/slideLayout" Target="../slideLayouts/slideLayout185.xml"/><Relationship Id="rId9" Type="http://schemas.openxmlformats.org/officeDocument/2006/relationships/slideLayout" Target="../slideLayouts/slideLayout190.xml"/><Relationship Id="rId14" Type="http://schemas.openxmlformats.org/officeDocument/2006/relationships/slideLayout" Target="../slideLayouts/slideLayout195.xml"/><Relationship Id="rId22" Type="http://schemas.openxmlformats.org/officeDocument/2006/relationships/image" Target="../media/image7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9.xml"/><Relationship Id="rId13" Type="http://schemas.openxmlformats.org/officeDocument/2006/relationships/slideLayout" Target="../slideLayouts/slideLayout214.xml"/><Relationship Id="rId18" Type="http://schemas.openxmlformats.org/officeDocument/2006/relationships/slideLayout" Target="../slideLayouts/slideLayout219.xml"/><Relationship Id="rId3" Type="http://schemas.openxmlformats.org/officeDocument/2006/relationships/slideLayout" Target="../slideLayouts/slideLayout204.xml"/><Relationship Id="rId21" Type="http://schemas.openxmlformats.org/officeDocument/2006/relationships/image" Target="../media/image9.png"/><Relationship Id="rId7" Type="http://schemas.openxmlformats.org/officeDocument/2006/relationships/slideLayout" Target="../slideLayouts/slideLayout208.xml"/><Relationship Id="rId12" Type="http://schemas.openxmlformats.org/officeDocument/2006/relationships/slideLayout" Target="../slideLayouts/slideLayout213.xml"/><Relationship Id="rId17" Type="http://schemas.openxmlformats.org/officeDocument/2006/relationships/slideLayout" Target="../slideLayouts/slideLayout218.xml"/><Relationship Id="rId2" Type="http://schemas.openxmlformats.org/officeDocument/2006/relationships/slideLayout" Target="../slideLayouts/slideLayout203.xml"/><Relationship Id="rId16" Type="http://schemas.openxmlformats.org/officeDocument/2006/relationships/slideLayout" Target="../slideLayouts/slideLayout217.xml"/><Relationship Id="rId20" Type="http://schemas.openxmlformats.org/officeDocument/2006/relationships/theme" Target="../theme/theme7.xml"/><Relationship Id="rId1" Type="http://schemas.openxmlformats.org/officeDocument/2006/relationships/slideLayout" Target="../slideLayouts/slideLayout202.xml"/><Relationship Id="rId6" Type="http://schemas.openxmlformats.org/officeDocument/2006/relationships/slideLayout" Target="../slideLayouts/slideLayout207.xml"/><Relationship Id="rId11" Type="http://schemas.openxmlformats.org/officeDocument/2006/relationships/slideLayout" Target="../slideLayouts/slideLayout212.xml"/><Relationship Id="rId5" Type="http://schemas.openxmlformats.org/officeDocument/2006/relationships/slideLayout" Target="../slideLayouts/slideLayout206.xml"/><Relationship Id="rId15" Type="http://schemas.openxmlformats.org/officeDocument/2006/relationships/slideLayout" Target="../slideLayouts/slideLayout216.xml"/><Relationship Id="rId10" Type="http://schemas.openxmlformats.org/officeDocument/2006/relationships/slideLayout" Target="../slideLayouts/slideLayout211.xml"/><Relationship Id="rId19" Type="http://schemas.openxmlformats.org/officeDocument/2006/relationships/slideLayout" Target="../slideLayouts/slideLayout220.xml"/><Relationship Id="rId4" Type="http://schemas.openxmlformats.org/officeDocument/2006/relationships/slideLayout" Target="../slideLayouts/slideLayout205.xml"/><Relationship Id="rId9" Type="http://schemas.openxmlformats.org/officeDocument/2006/relationships/slideLayout" Target="../slideLayouts/slideLayout210.xml"/><Relationship Id="rId14" Type="http://schemas.openxmlformats.org/officeDocument/2006/relationships/slideLayout" Target="../slideLayouts/slideLayout215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221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9.xml"/><Relationship Id="rId13" Type="http://schemas.openxmlformats.org/officeDocument/2006/relationships/slideLayout" Target="../slideLayouts/slideLayout234.xml"/><Relationship Id="rId18" Type="http://schemas.openxmlformats.org/officeDocument/2006/relationships/slideLayout" Target="../slideLayouts/slideLayout239.xml"/><Relationship Id="rId3" Type="http://schemas.openxmlformats.org/officeDocument/2006/relationships/slideLayout" Target="../slideLayouts/slideLayout224.xml"/><Relationship Id="rId21" Type="http://schemas.openxmlformats.org/officeDocument/2006/relationships/image" Target="../media/image14.png"/><Relationship Id="rId7" Type="http://schemas.openxmlformats.org/officeDocument/2006/relationships/slideLayout" Target="../slideLayouts/slideLayout228.xml"/><Relationship Id="rId12" Type="http://schemas.openxmlformats.org/officeDocument/2006/relationships/slideLayout" Target="../slideLayouts/slideLayout233.xml"/><Relationship Id="rId17" Type="http://schemas.openxmlformats.org/officeDocument/2006/relationships/slideLayout" Target="../slideLayouts/slideLayout238.xml"/><Relationship Id="rId2" Type="http://schemas.openxmlformats.org/officeDocument/2006/relationships/slideLayout" Target="../slideLayouts/slideLayout223.xml"/><Relationship Id="rId16" Type="http://schemas.openxmlformats.org/officeDocument/2006/relationships/slideLayout" Target="../slideLayouts/slideLayout237.xml"/><Relationship Id="rId20" Type="http://schemas.openxmlformats.org/officeDocument/2006/relationships/theme" Target="../theme/theme9.xml"/><Relationship Id="rId1" Type="http://schemas.openxmlformats.org/officeDocument/2006/relationships/slideLayout" Target="../slideLayouts/slideLayout222.xml"/><Relationship Id="rId6" Type="http://schemas.openxmlformats.org/officeDocument/2006/relationships/slideLayout" Target="../slideLayouts/slideLayout227.xml"/><Relationship Id="rId11" Type="http://schemas.openxmlformats.org/officeDocument/2006/relationships/slideLayout" Target="../slideLayouts/slideLayout232.xml"/><Relationship Id="rId5" Type="http://schemas.openxmlformats.org/officeDocument/2006/relationships/slideLayout" Target="../slideLayouts/slideLayout226.xml"/><Relationship Id="rId15" Type="http://schemas.openxmlformats.org/officeDocument/2006/relationships/slideLayout" Target="../slideLayouts/slideLayout236.xml"/><Relationship Id="rId10" Type="http://schemas.openxmlformats.org/officeDocument/2006/relationships/slideLayout" Target="../slideLayouts/slideLayout231.xml"/><Relationship Id="rId19" Type="http://schemas.openxmlformats.org/officeDocument/2006/relationships/slideLayout" Target="../slideLayouts/slideLayout240.xml"/><Relationship Id="rId4" Type="http://schemas.openxmlformats.org/officeDocument/2006/relationships/slideLayout" Target="../slideLayouts/slideLayout225.xml"/><Relationship Id="rId9" Type="http://schemas.openxmlformats.org/officeDocument/2006/relationships/slideLayout" Target="../slideLayouts/slideLayout230.xml"/><Relationship Id="rId14" Type="http://schemas.openxmlformats.org/officeDocument/2006/relationships/slideLayout" Target="../slideLayouts/slideLayout235.xml"/><Relationship Id="rId22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>
          <a:xfrm>
            <a:off x="693738" y="6230179"/>
            <a:ext cx="11498262" cy="627821"/>
            <a:chOff x="693738" y="6230179"/>
            <a:chExt cx="11498262" cy="627821"/>
          </a:xfrm>
        </p:grpSpPr>
        <p:sp>
          <p:nvSpPr>
            <p:cNvPr id="37" name="Freeform 9"/>
            <p:cNvSpPr>
              <a:spLocks/>
            </p:cNvSpPr>
            <p:nvPr userDrawn="1"/>
          </p:nvSpPr>
          <p:spPr bwMode="auto">
            <a:xfrm>
              <a:off x="693738" y="6432353"/>
              <a:ext cx="10988675" cy="131762"/>
            </a:xfrm>
            <a:custGeom>
              <a:avLst/>
              <a:gdLst>
                <a:gd name="T0" fmla="*/ 2927 w 2927"/>
                <a:gd name="T1" fmla="*/ 0 h 32"/>
                <a:gd name="T2" fmla="*/ 32 w 2927"/>
                <a:gd name="T3" fmla="*/ 0 h 32"/>
                <a:gd name="T4" fmla="*/ 0 w 2927"/>
                <a:gd name="T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27" h="32">
                  <a:moveTo>
                    <a:pt x="292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32"/>
                    <a:pt x="0" y="32"/>
                  </a:cubicBezTo>
                </a:path>
              </a:pathLst>
            </a:custGeom>
            <a:noFill/>
            <a:ln w="3175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Rectangle 37"/>
            <p:cNvSpPr/>
            <p:nvPr userDrawn="1"/>
          </p:nvSpPr>
          <p:spPr bwMode="white">
            <a:xfrm>
              <a:off x="10419789" y="6230179"/>
              <a:ext cx="1772211" cy="627821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600" smtClean="0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845576" y="280734"/>
            <a:ext cx="10489175" cy="8540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45576" y="1278001"/>
            <a:ext cx="10489175" cy="49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38200" y="6498810"/>
            <a:ext cx="495300" cy="18811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DDD2A080-DA64-4F5C-9131-47EB793B4410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2" name="Group 101"/>
          <p:cNvGrpSpPr/>
          <p:nvPr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10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11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-2040443" y="6362701"/>
            <a:ext cx="1872000" cy="500063"/>
            <a:chOff x="-2040443" y="6445247"/>
            <a:chExt cx="1872000" cy="417516"/>
          </a:xfrm>
        </p:grpSpPr>
        <p:sp>
          <p:nvSpPr>
            <p:cNvPr id="47" name="Rectangle 104"/>
            <p:cNvSpPr>
              <a:spLocks noChangeArrowheads="1"/>
            </p:cNvSpPr>
            <p:nvPr userDrawn="1"/>
          </p:nvSpPr>
          <p:spPr bwMode="gray">
            <a:xfrm>
              <a:off x="-2040443" y="6445247"/>
              <a:ext cx="1462593" cy="417516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lIns="72000" tIns="180000" rIns="72000" bIns="180000" anchor="ctr">
              <a:noAutofit/>
            </a:bodyPr>
            <a:lstStyle/>
            <a:p>
              <a:pPr marL="0" marR="0" lvl="0" indent="0" defTabSz="914309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  <a:t>No content below </a:t>
              </a:r>
              <a:br>
                <a:rPr kumimoji="0" lang="en-GB" alt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</a:br>
              <a:r>
                <a:rPr kumimoji="0" lang="en-GB" alt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  <a:t>the grey line</a:t>
              </a:r>
              <a:endParaRPr kumimoji="0" lang="en-GB" altLang="en-US" sz="1200" b="1" i="0" u="none" strike="noStrike" kern="0" cap="none" spc="0" normalizeH="0" baseline="0" dirty="0">
                <a:ln>
                  <a:noFill/>
                </a:ln>
                <a:solidFill>
                  <a:srgbClr val="FDFDFD"/>
                </a:solidFill>
                <a:effectLst/>
                <a:uLnTx/>
                <a:uFillTx/>
                <a:latin typeface="+mn-lt"/>
              </a:endParaRPr>
            </a:p>
          </p:txBody>
        </p:sp>
        <p:grpSp>
          <p:nvGrpSpPr>
            <p:cNvPr id="48" name="Group 47"/>
            <p:cNvGrpSpPr/>
            <p:nvPr userDrawn="1"/>
          </p:nvGrpSpPr>
          <p:grpSpPr bwMode="gray">
            <a:xfrm>
              <a:off x="-546100" y="6452392"/>
              <a:ext cx="377657" cy="403227"/>
              <a:chOff x="-2035174" y="6454773"/>
              <a:chExt cx="1872000" cy="403227"/>
            </a:xfrm>
          </p:grpSpPr>
          <p:cxnSp>
            <p:nvCxnSpPr>
              <p:cNvPr id="49" name="Straight Connector 48"/>
              <p:cNvCxnSpPr/>
              <p:nvPr userDrawn="1"/>
            </p:nvCxnSpPr>
            <p:spPr bwMode="gray">
              <a:xfrm>
                <a:off x="-2035174" y="6858000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50" name="Straight Connector 49"/>
              <p:cNvCxnSpPr/>
              <p:nvPr userDrawn="1"/>
            </p:nvCxnSpPr>
            <p:spPr bwMode="gray">
              <a:xfrm>
                <a:off x="-2035174" y="6454773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</p:grp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4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3433" y="6358070"/>
            <a:ext cx="1183250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967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685" r:id="rId2"/>
    <p:sldLayoutId id="2147483737" r:id="rId3"/>
    <p:sldLayoutId id="2147483729" r:id="rId4"/>
    <p:sldLayoutId id="2147483744" r:id="rId5"/>
    <p:sldLayoutId id="2147483745" r:id="rId6"/>
    <p:sldLayoutId id="2147483730" r:id="rId7"/>
    <p:sldLayoutId id="2147483725" r:id="rId8"/>
    <p:sldLayoutId id="2147483727" r:id="rId9"/>
    <p:sldLayoutId id="2147483728" r:id="rId10"/>
    <p:sldLayoutId id="2147483732" r:id="rId11"/>
    <p:sldLayoutId id="2147483733" r:id="rId12"/>
    <p:sldLayoutId id="2147483734" r:id="rId13"/>
    <p:sldLayoutId id="2147483735" r:id="rId14"/>
    <p:sldLayoutId id="2147483692" r:id="rId15"/>
    <p:sldLayoutId id="2147483711" r:id="rId16"/>
    <p:sldLayoutId id="2147483694" r:id="rId17"/>
    <p:sldLayoutId id="2147483695" r:id="rId18"/>
    <p:sldLayoutId id="2147483696" r:id="rId19"/>
    <p:sldLayoutId id="2147483736" r:id="rId20"/>
    <p:sldLayoutId id="2147483738" r:id="rId21"/>
    <p:sldLayoutId id="2147483739" r:id="rId22"/>
    <p:sldLayoutId id="2147483731" r:id="rId23"/>
    <p:sldLayoutId id="2147483697" r:id="rId24"/>
    <p:sldLayoutId id="2147483740" r:id="rId25"/>
    <p:sldLayoutId id="2147483716" r:id="rId26"/>
    <p:sldLayoutId id="2147483718" r:id="rId27"/>
    <p:sldLayoutId id="2147483719" r:id="rId28"/>
    <p:sldLayoutId id="2147483700" r:id="rId29"/>
    <p:sldLayoutId id="2147483743" r:id="rId30"/>
    <p:sldLayoutId id="2147483742" r:id="rId31"/>
    <p:sldLayoutId id="2147483741" r:id="rId32"/>
    <p:sldLayoutId id="2147483702" r:id="rId33"/>
    <p:sldLayoutId id="2147483721" r:id="rId34"/>
    <p:sldLayoutId id="2147483706" r:id="rId35"/>
    <p:sldLayoutId id="2147483726" r:id="rId36"/>
    <p:sldLayoutId id="2147483961" r:id="rId37"/>
    <p:sldLayoutId id="2147484114" r:id="rId38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309" rtl="0" eaLnBrk="1" latinLnBrk="0" hangingPunct="1">
        <a:lnSpc>
          <a:spcPts val="2800"/>
        </a:lnSpc>
        <a:spcBef>
          <a:spcPct val="0"/>
        </a:spcBef>
        <a:buNone/>
        <a:defRPr sz="2800" b="1" kern="1200" baseline="0">
          <a:solidFill>
            <a:schemeClr val="tx2"/>
          </a:solidFill>
          <a:latin typeface="+mj-lt"/>
          <a:ea typeface="+mj-ea"/>
          <a:cs typeface="ING Me" pitchFamily="2" charset="0"/>
        </a:defRPr>
      </a:lvl1pPr>
    </p:titleStyle>
    <p:bodyStyle>
      <a:lvl1pPr marL="0" indent="0" algn="l" defTabSz="914309" rtl="0" eaLnBrk="1" latinLnBrk="0" hangingPunct="1">
        <a:lnSpc>
          <a:spcPts val="2399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b="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1pPr>
      <a:lvl2pPr marL="0" indent="0" algn="l" defTabSz="914309" rtl="0" eaLnBrk="1" latinLnBrk="0" hangingPunct="1">
        <a:lnSpc>
          <a:spcPts val="2399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2pPr>
      <a:lvl3pPr marL="266673" indent="-266673" algn="l" defTabSz="914309" rtl="0" eaLnBrk="1" latinLnBrk="0" hangingPunct="1">
        <a:lnSpc>
          <a:spcPts val="2399"/>
        </a:lnSpc>
        <a:spcBef>
          <a:spcPts val="0"/>
        </a:spcBef>
        <a:spcAft>
          <a:spcPts val="0"/>
        </a:spcAft>
        <a:buClr>
          <a:schemeClr val="tx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3pPr>
      <a:lvl4pPr marL="512712" indent="-260324" algn="l" defTabSz="914309" rtl="0" eaLnBrk="1" latinLnBrk="0" hangingPunct="1">
        <a:lnSpc>
          <a:spcPts val="2399"/>
        </a:lnSpc>
        <a:spcBef>
          <a:spcPts val="0"/>
        </a:spcBef>
        <a:spcAft>
          <a:spcPts val="0"/>
        </a:spcAft>
        <a:buClr>
          <a:schemeClr val="bg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4pPr>
      <a:lvl5pPr marL="761923" indent="-252387" algn="l" defTabSz="914309" rtl="0" eaLnBrk="1" latinLnBrk="0" hangingPunct="1">
        <a:lnSpc>
          <a:spcPts val="2399"/>
        </a:lnSpc>
        <a:spcBef>
          <a:spcPts val="0"/>
        </a:spcBef>
        <a:spcAft>
          <a:spcPts val="0"/>
        </a:spcAft>
        <a:buClr>
          <a:schemeClr val="accent3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5pPr>
      <a:lvl6pPr marL="2514348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2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2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5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orient="horz" pos="721" userDrawn="1">
          <p15:clr>
            <a:srgbClr val="F26B43"/>
          </p15:clr>
        </p15:guide>
        <p15:guide id="6" pos="7140" userDrawn="1">
          <p15:clr>
            <a:srgbClr val="F26B43"/>
          </p15:clr>
        </p15:guide>
        <p15:guide id="8" pos="528" userDrawn="1">
          <p15:clr>
            <a:srgbClr val="F26B43"/>
          </p15:clr>
        </p15:guide>
        <p15:guide id="9" orient="horz" pos="173" userDrawn="1">
          <p15:clr>
            <a:srgbClr val="F26B43"/>
          </p15:clr>
        </p15:guide>
        <p15:guide id="10" orient="horz" pos="4008" userDrawn="1">
          <p15:clr>
            <a:srgbClr val="F26B43"/>
          </p15:clr>
        </p15:guide>
        <p15:guide id="11" orient="horz" pos="3906" userDrawn="1">
          <p15:clr>
            <a:srgbClr val="F26B43"/>
          </p15:clr>
        </p15:guide>
        <p15:guide id="12" orient="horz" pos="800" userDrawn="1">
          <p15:clr>
            <a:srgbClr val="F26B43"/>
          </p15:clr>
        </p15:guide>
        <p15:guide id="13" pos="7491" userDrawn="1">
          <p15:clr>
            <a:srgbClr val="F26B43"/>
          </p15:clr>
        </p15:guide>
        <p15:guide id="14" pos="437" userDrawn="1">
          <p15:clr>
            <a:srgbClr val="F26B43"/>
          </p15:clr>
        </p15:guide>
        <p15:guide id="15" pos="3834" userDrawn="1">
          <p15:clr>
            <a:srgbClr val="F26B43"/>
          </p15:clr>
        </p15:guide>
        <p15:guide id="16" orient="horz" pos="2358" userDrawn="1">
          <p15:clr>
            <a:srgbClr val="F26B43"/>
          </p15:clr>
        </p15:guide>
        <p15:guide id="17" pos="7398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>
          <a:xfrm>
            <a:off x="693738" y="6230179"/>
            <a:ext cx="11498262" cy="627821"/>
            <a:chOff x="693738" y="6230179"/>
            <a:chExt cx="11498262" cy="627821"/>
          </a:xfrm>
        </p:grpSpPr>
        <p:sp>
          <p:nvSpPr>
            <p:cNvPr id="37" name="Freeform 9"/>
            <p:cNvSpPr>
              <a:spLocks/>
            </p:cNvSpPr>
            <p:nvPr userDrawn="1"/>
          </p:nvSpPr>
          <p:spPr bwMode="auto">
            <a:xfrm>
              <a:off x="693738" y="6432353"/>
              <a:ext cx="10988675" cy="131762"/>
            </a:xfrm>
            <a:custGeom>
              <a:avLst/>
              <a:gdLst>
                <a:gd name="T0" fmla="*/ 2927 w 2927"/>
                <a:gd name="T1" fmla="*/ 0 h 32"/>
                <a:gd name="T2" fmla="*/ 32 w 2927"/>
                <a:gd name="T3" fmla="*/ 0 h 32"/>
                <a:gd name="T4" fmla="*/ 0 w 2927"/>
                <a:gd name="T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27" h="32">
                  <a:moveTo>
                    <a:pt x="292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32"/>
                    <a:pt x="0" y="32"/>
                  </a:cubicBezTo>
                </a:path>
              </a:pathLst>
            </a:custGeom>
            <a:noFill/>
            <a:ln w="3175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8" name="Rectangle 37"/>
            <p:cNvSpPr/>
            <p:nvPr userDrawn="1"/>
          </p:nvSpPr>
          <p:spPr bwMode="white">
            <a:xfrm>
              <a:off x="10419789" y="6230179"/>
              <a:ext cx="1772211" cy="627821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600" smtClean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845576" y="280734"/>
            <a:ext cx="10489175" cy="8540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45576" y="1278001"/>
            <a:ext cx="10489175" cy="49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38200" y="6498810"/>
            <a:ext cx="495300" cy="18811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grpSp>
        <p:nvGrpSpPr>
          <p:cNvPr id="102" name="Group 101"/>
          <p:cNvGrpSpPr/>
          <p:nvPr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10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11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-2040443" y="6362701"/>
            <a:ext cx="1872000" cy="500063"/>
            <a:chOff x="-2040443" y="6445247"/>
            <a:chExt cx="1872000" cy="417516"/>
          </a:xfrm>
        </p:grpSpPr>
        <p:sp>
          <p:nvSpPr>
            <p:cNvPr id="47" name="Rectangle 104"/>
            <p:cNvSpPr>
              <a:spLocks noChangeArrowheads="1"/>
            </p:cNvSpPr>
            <p:nvPr userDrawn="1"/>
          </p:nvSpPr>
          <p:spPr bwMode="gray">
            <a:xfrm>
              <a:off x="-2040443" y="6445247"/>
              <a:ext cx="1462593" cy="417516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lIns="72000" tIns="180000" rIns="72000" bIns="18000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defRPr/>
              </a:pP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No content below </a:t>
              </a:r>
              <a:br>
                <a:rPr lang="en-GB" altLang="en-US" sz="1200" b="1" kern="0" dirty="0" smtClean="0">
                  <a:solidFill>
                    <a:srgbClr val="FDFDFD"/>
                  </a:solidFill>
                </a:rPr>
              </a:b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the grey line</a:t>
              </a:r>
              <a:endParaRPr lang="en-GB" altLang="en-US" sz="1200" b="1" kern="0" dirty="0">
                <a:solidFill>
                  <a:srgbClr val="FDFDFD"/>
                </a:solidFill>
              </a:endParaRPr>
            </a:p>
          </p:txBody>
        </p:sp>
        <p:grpSp>
          <p:nvGrpSpPr>
            <p:cNvPr id="48" name="Group 47"/>
            <p:cNvGrpSpPr/>
            <p:nvPr userDrawn="1"/>
          </p:nvGrpSpPr>
          <p:grpSpPr bwMode="gray">
            <a:xfrm>
              <a:off x="-546100" y="6452392"/>
              <a:ext cx="377657" cy="403227"/>
              <a:chOff x="-2035174" y="6454773"/>
              <a:chExt cx="1872000" cy="403227"/>
            </a:xfrm>
          </p:grpSpPr>
          <p:cxnSp>
            <p:nvCxnSpPr>
              <p:cNvPr id="49" name="Straight Connector 48"/>
              <p:cNvCxnSpPr/>
              <p:nvPr userDrawn="1"/>
            </p:nvCxnSpPr>
            <p:spPr bwMode="gray">
              <a:xfrm>
                <a:off x="-2035174" y="6858000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50" name="Straight Connector 49"/>
              <p:cNvCxnSpPr/>
              <p:nvPr userDrawn="1"/>
            </p:nvCxnSpPr>
            <p:spPr bwMode="gray">
              <a:xfrm>
                <a:off x="-2035174" y="6454773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</p:grp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10723433" y="6358070"/>
            <a:ext cx="1183250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79924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1" r:id="rId1"/>
    <p:sldLayoutId id="2147484042" r:id="rId2"/>
    <p:sldLayoutId id="2147484043" r:id="rId3"/>
    <p:sldLayoutId id="2147484044" r:id="rId4"/>
    <p:sldLayoutId id="2147484045" r:id="rId5"/>
    <p:sldLayoutId id="2147484046" r:id="rId6"/>
    <p:sldLayoutId id="2147484047" r:id="rId7"/>
    <p:sldLayoutId id="2147484048" r:id="rId8"/>
    <p:sldLayoutId id="2147484049" r:id="rId9"/>
    <p:sldLayoutId id="2147484050" r:id="rId10"/>
    <p:sldLayoutId id="2147484051" r:id="rId11"/>
    <p:sldLayoutId id="2147484052" r:id="rId12"/>
    <p:sldLayoutId id="2147484053" r:id="rId13"/>
    <p:sldLayoutId id="2147484054" r:id="rId14"/>
    <p:sldLayoutId id="2147484055" r:id="rId15"/>
    <p:sldLayoutId id="2147484056" r:id="rId16"/>
    <p:sldLayoutId id="2147484057" r:id="rId17"/>
    <p:sldLayoutId id="2147484058" r:id="rId18"/>
    <p:sldLayoutId id="2147484059" r:id="rId19"/>
    <p:sldLayoutId id="2147484060" r:id="rId20"/>
    <p:sldLayoutId id="2147484061" r:id="rId21"/>
    <p:sldLayoutId id="2147484062" r:id="rId22"/>
    <p:sldLayoutId id="2147484063" r:id="rId23"/>
    <p:sldLayoutId id="2147484064" r:id="rId24"/>
    <p:sldLayoutId id="2147484065" r:id="rId25"/>
    <p:sldLayoutId id="2147484066" r:id="rId26"/>
    <p:sldLayoutId id="2147484067" r:id="rId27"/>
    <p:sldLayoutId id="2147484068" r:id="rId28"/>
    <p:sldLayoutId id="2147484069" r:id="rId29"/>
    <p:sldLayoutId id="2147484070" r:id="rId30"/>
    <p:sldLayoutId id="2147484071" r:id="rId31"/>
    <p:sldLayoutId id="2147484072" r:id="rId32"/>
    <p:sldLayoutId id="2147484073" r:id="rId33"/>
    <p:sldLayoutId id="2147484074" r:id="rId34"/>
    <p:sldLayoutId id="2147484075" r:id="rId35"/>
    <p:sldLayoutId id="2147484076" r:id="rId36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309" rtl="0" eaLnBrk="1" latinLnBrk="0" hangingPunct="1">
        <a:lnSpc>
          <a:spcPts val="2800"/>
        </a:lnSpc>
        <a:spcBef>
          <a:spcPct val="0"/>
        </a:spcBef>
        <a:buNone/>
        <a:defRPr sz="2800" b="1" kern="1200" baseline="0">
          <a:solidFill>
            <a:schemeClr val="tx2"/>
          </a:solidFill>
          <a:latin typeface="+mj-lt"/>
          <a:ea typeface="+mj-ea"/>
          <a:cs typeface="ING Me" pitchFamily="2" charset="0"/>
        </a:defRPr>
      </a:lvl1pPr>
    </p:titleStyle>
    <p:bodyStyle>
      <a:lvl1pPr marL="0" indent="0" algn="l" defTabSz="914309" rtl="0" eaLnBrk="1" latinLnBrk="0" hangingPunct="1">
        <a:lnSpc>
          <a:spcPts val="2399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b="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1pPr>
      <a:lvl2pPr marL="0" indent="0" algn="l" defTabSz="914309" rtl="0" eaLnBrk="1" latinLnBrk="0" hangingPunct="1">
        <a:lnSpc>
          <a:spcPts val="2399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2pPr>
      <a:lvl3pPr marL="266673" indent="-266673" algn="l" defTabSz="914309" rtl="0" eaLnBrk="1" latinLnBrk="0" hangingPunct="1">
        <a:lnSpc>
          <a:spcPts val="2399"/>
        </a:lnSpc>
        <a:spcBef>
          <a:spcPts val="0"/>
        </a:spcBef>
        <a:spcAft>
          <a:spcPts val="0"/>
        </a:spcAft>
        <a:buClr>
          <a:schemeClr val="tx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3pPr>
      <a:lvl4pPr marL="512712" indent="-260324" algn="l" defTabSz="914309" rtl="0" eaLnBrk="1" latinLnBrk="0" hangingPunct="1">
        <a:lnSpc>
          <a:spcPts val="2399"/>
        </a:lnSpc>
        <a:spcBef>
          <a:spcPts val="0"/>
        </a:spcBef>
        <a:spcAft>
          <a:spcPts val="0"/>
        </a:spcAft>
        <a:buClr>
          <a:schemeClr val="bg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4pPr>
      <a:lvl5pPr marL="761923" indent="-252387" algn="l" defTabSz="914309" rtl="0" eaLnBrk="1" latinLnBrk="0" hangingPunct="1">
        <a:lnSpc>
          <a:spcPts val="2399"/>
        </a:lnSpc>
        <a:spcBef>
          <a:spcPts val="0"/>
        </a:spcBef>
        <a:spcAft>
          <a:spcPts val="0"/>
        </a:spcAft>
        <a:buClr>
          <a:schemeClr val="accent3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5pPr>
      <a:lvl6pPr marL="2514348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2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2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5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721">
          <p15:clr>
            <a:srgbClr val="F26B43"/>
          </p15:clr>
        </p15:guide>
        <p15:guide id="2" pos="7140">
          <p15:clr>
            <a:srgbClr val="F26B43"/>
          </p15:clr>
        </p15:guide>
        <p15:guide id="3" pos="528">
          <p15:clr>
            <a:srgbClr val="F26B43"/>
          </p15:clr>
        </p15:guide>
        <p15:guide id="4" orient="horz" pos="173">
          <p15:clr>
            <a:srgbClr val="F26B43"/>
          </p15:clr>
        </p15:guide>
        <p15:guide id="5" orient="horz" pos="4008">
          <p15:clr>
            <a:srgbClr val="F26B43"/>
          </p15:clr>
        </p15:guide>
        <p15:guide id="6" orient="horz" pos="3906">
          <p15:clr>
            <a:srgbClr val="F26B43"/>
          </p15:clr>
        </p15:guide>
        <p15:guide id="7" orient="horz" pos="800">
          <p15:clr>
            <a:srgbClr val="F26B43"/>
          </p15:clr>
        </p15:guide>
        <p15:guide id="8" pos="7491">
          <p15:clr>
            <a:srgbClr val="F26B43"/>
          </p15:clr>
        </p15:guide>
        <p15:guide id="9" pos="437">
          <p15:clr>
            <a:srgbClr val="F26B43"/>
          </p15:clr>
        </p15:guide>
        <p15:guide id="10" pos="3834">
          <p15:clr>
            <a:srgbClr val="F26B43"/>
          </p15:clr>
        </p15:guide>
        <p15:guide id="11" orient="horz" pos="2358">
          <p15:clr>
            <a:srgbClr val="F26B43"/>
          </p15:clr>
        </p15:guide>
        <p15:guide id="12" pos="7398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>
          <a:xfrm>
            <a:off x="693738" y="6230179"/>
            <a:ext cx="11498262" cy="627821"/>
            <a:chOff x="693738" y="6230179"/>
            <a:chExt cx="11498262" cy="627821"/>
          </a:xfrm>
        </p:grpSpPr>
        <p:sp>
          <p:nvSpPr>
            <p:cNvPr id="37" name="Freeform 9"/>
            <p:cNvSpPr>
              <a:spLocks/>
            </p:cNvSpPr>
            <p:nvPr userDrawn="1"/>
          </p:nvSpPr>
          <p:spPr bwMode="auto">
            <a:xfrm>
              <a:off x="693738" y="6432353"/>
              <a:ext cx="10988675" cy="131762"/>
            </a:xfrm>
            <a:custGeom>
              <a:avLst/>
              <a:gdLst>
                <a:gd name="T0" fmla="*/ 2927 w 2927"/>
                <a:gd name="T1" fmla="*/ 0 h 32"/>
                <a:gd name="T2" fmla="*/ 32 w 2927"/>
                <a:gd name="T3" fmla="*/ 0 h 32"/>
                <a:gd name="T4" fmla="*/ 0 w 2927"/>
                <a:gd name="T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27" h="32">
                  <a:moveTo>
                    <a:pt x="292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32"/>
                    <a:pt x="0" y="32"/>
                  </a:cubicBezTo>
                </a:path>
              </a:pathLst>
            </a:custGeom>
            <a:noFill/>
            <a:ln w="3175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8" name="Rectangle 37"/>
            <p:cNvSpPr/>
            <p:nvPr userDrawn="1"/>
          </p:nvSpPr>
          <p:spPr bwMode="white">
            <a:xfrm>
              <a:off x="10419789" y="6230179"/>
              <a:ext cx="1772211" cy="627821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600" smtClean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845576" y="280734"/>
            <a:ext cx="10489175" cy="8540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45576" y="1278001"/>
            <a:ext cx="10489175" cy="49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38200" y="6498810"/>
            <a:ext cx="495300" cy="18811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grpSp>
        <p:nvGrpSpPr>
          <p:cNvPr id="102" name="Group 101"/>
          <p:cNvGrpSpPr/>
          <p:nvPr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10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11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-2040443" y="6362701"/>
            <a:ext cx="1872000" cy="500063"/>
            <a:chOff x="-2040443" y="6445247"/>
            <a:chExt cx="1872000" cy="417516"/>
          </a:xfrm>
        </p:grpSpPr>
        <p:sp>
          <p:nvSpPr>
            <p:cNvPr id="47" name="Rectangle 104"/>
            <p:cNvSpPr>
              <a:spLocks noChangeArrowheads="1"/>
            </p:cNvSpPr>
            <p:nvPr userDrawn="1"/>
          </p:nvSpPr>
          <p:spPr bwMode="gray">
            <a:xfrm>
              <a:off x="-2040443" y="6445247"/>
              <a:ext cx="1462593" cy="417516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lIns="72000" tIns="180000" rIns="72000" bIns="18000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defRPr/>
              </a:pP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No content below </a:t>
              </a:r>
              <a:br>
                <a:rPr lang="en-GB" altLang="en-US" sz="1200" b="1" kern="0" dirty="0" smtClean="0">
                  <a:solidFill>
                    <a:srgbClr val="FDFDFD"/>
                  </a:solidFill>
                </a:rPr>
              </a:b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the grey line</a:t>
              </a:r>
              <a:endParaRPr lang="en-GB" altLang="en-US" sz="1200" b="1" kern="0" dirty="0">
                <a:solidFill>
                  <a:srgbClr val="FDFDFD"/>
                </a:solidFill>
              </a:endParaRPr>
            </a:p>
          </p:txBody>
        </p:sp>
        <p:grpSp>
          <p:nvGrpSpPr>
            <p:cNvPr id="48" name="Group 47"/>
            <p:cNvGrpSpPr/>
            <p:nvPr userDrawn="1"/>
          </p:nvGrpSpPr>
          <p:grpSpPr bwMode="gray">
            <a:xfrm>
              <a:off x="-546100" y="6452392"/>
              <a:ext cx="377657" cy="403227"/>
              <a:chOff x="-2035174" y="6454773"/>
              <a:chExt cx="1872000" cy="403227"/>
            </a:xfrm>
          </p:grpSpPr>
          <p:cxnSp>
            <p:nvCxnSpPr>
              <p:cNvPr id="49" name="Straight Connector 48"/>
              <p:cNvCxnSpPr/>
              <p:nvPr userDrawn="1"/>
            </p:nvCxnSpPr>
            <p:spPr bwMode="gray">
              <a:xfrm>
                <a:off x="-2035174" y="6858000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50" name="Straight Connector 49"/>
              <p:cNvCxnSpPr/>
              <p:nvPr userDrawn="1"/>
            </p:nvCxnSpPr>
            <p:spPr bwMode="gray">
              <a:xfrm>
                <a:off x="-2035174" y="6454773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</p:grp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10723433" y="6358070"/>
            <a:ext cx="1183250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65708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8" r:id="rId1"/>
    <p:sldLayoutId id="2147484079" r:id="rId2"/>
    <p:sldLayoutId id="2147484080" r:id="rId3"/>
    <p:sldLayoutId id="2147484081" r:id="rId4"/>
    <p:sldLayoutId id="2147484082" r:id="rId5"/>
    <p:sldLayoutId id="2147484083" r:id="rId6"/>
    <p:sldLayoutId id="2147484084" r:id="rId7"/>
    <p:sldLayoutId id="2147484085" r:id="rId8"/>
    <p:sldLayoutId id="2147484086" r:id="rId9"/>
    <p:sldLayoutId id="2147484087" r:id="rId10"/>
    <p:sldLayoutId id="2147484088" r:id="rId11"/>
    <p:sldLayoutId id="2147484089" r:id="rId12"/>
    <p:sldLayoutId id="2147484090" r:id="rId13"/>
    <p:sldLayoutId id="2147484091" r:id="rId14"/>
    <p:sldLayoutId id="2147484092" r:id="rId15"/>
    <p:sldLayoutId id="2147484093" r:id="rId16"/>
    <p:sldLayoutId id="2147484094" r:id="rId17"/>
    <p:sldLayoutId id="2147484095" r:id="rId18"/>
    <p:sldLayoutId id="2147484096" r:id="rId19"/>
    <p:sldLayoutId id="2147484097" r:id="rId20"/>
    <p:sldLayoutId id="2147484098" r:id="rId21"/>
    <p:sldLayoutId id="2147484099" r:id="rId22"/>
    <p:sldLayoutId id="2147484100" r:id="rId23"/>
    <p:sldLayoutId id="2147484101" r:id="rId24"/>
    <p:sldLayoutId id="2147484102" r:id="rId25"/>
    <p:sldLayoutId id="2147484103" r:id="rId26"/>
    <p:sldLayoutId id="2147484104" r:id="rId27"/>
    <p:sldLayoutId id="2147484105" r:id="rId28"/>
    <p:sldLayoutId id="2147484106" r:id="rId29"/>
    <p:sldLayoutId id="2147484107" r:id="rId30"/>
    <p:sldLayoutId id="2147484108" r:id="rId31"/>
    <p:sldLayoutId id="2147484109" r:id="rId32"/>
    <p:sldLayoutId id="2147484110" r:id="rId33"/>
    <p:sldLayoutId id="2147484111" r:id="rId34"/>
    <p:sldLayoutId id="2147484112" r:id="rId35"/>
    <p:sldLayoutId id="2147484113" r:id="rId36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309" rtl="0" eaLnBrk="1" latinLnBrk="0" hangingPunct="1">
        <a:lnSpc>
          <a:spcPts val="2800"/>
        </a:lnSpc>
        <a:spcBef>
          <a:spcPct val="0"/>
        </a:spcBef>
        <a:buNone/>
        <a:defRPr sz="2800" b="1" kern="1200" baseline="0">
          <a:solidFill>
            <a:schemeClr val="tx2"/>
          </a:solidFill>
          <a:latin typeface="+mj-lt"/>
          <a:ea typeface="+mj-ea"/>
          <a:cs typeface="ING Me" pitchFamily="2" charset="0"/>
        </a:defRPr>
      </a:lvl1pPr>
    </p:titleStyle>
    <p:bodyStyle>
      <a:lvl1pPr marL="0" indent="0" algn="l" defTabSz="914309" rtl="0" eaLnBrk="1" latinLnBrk="0" hangingPunct="1">
        <a:lnSpc>
          <a:spcPts val="2399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b="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1pPr>
      <a:lvl2pPr marL="0" indent="0" algn="l" defTabSz="914309" rtl="0" eaLnBrk="1" latinLnBrk="0" hangingPunct="1">
        <a:lnSpc>
          <a:spcPts val="2399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2pPr>
      <a:lvl3pPr marL="266673" indent="-266673" algn="l" defTabSz="914309" rtl="0" eaLnBrk="1" latinLnBrk="0" hangingPunct="1">
        <a:lnSpc>
          <a:spcPts val="2399"/>
        </a:lnSpc>
        <a:spcBef>
          <a:spcPts val="0"/>
        </a:spcBef>
        <a:spcAft>
          <a:spcPts val="0"/>
        </a:spcAft>
        <a:buClr>
          <a:schemeClr val="tx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3pPr>
      <a:lvl4pPr marL="512712" indent="-260324" algn="l" defTabSz="914309" rtl="0" eaLnBrk="1" latinLnBrk="0" hangingPunct="1">
        <a:lnSpc>
          <a:spcPts val="2399"/>
        </a:lnSpc>
        <a:spcBef>
          <a:spcPts val="0"/>
        </a:spcBef>
        <a:spcAft>
          <a:spcPts val="0"/>
        </a:spcAft>
        <a:buClr>
          <a:schemeClr val="bg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4pPr>
      <a:lvl5pPr marL="761923" indent="-252387" algn="l" defTabSz="914309" rtl="0" eaLnBrk="1" latinLnBrk="0" hangingPunct="1">
        <a:lnSpc>
          <a:spcPts val="2399"/>
        </a:lnSpc>
        <a:spcBef>
          <a:spcPts val="0"/>
        </a:spcBef>
        <a:spcAft>
          <a:spcPts val="0"/>
        </a:spcAft>
        <a:buClr>
          <a:schemeClr val="accent3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5pPr>
      <a:lvl6pPr marL="2514348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2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2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5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721">
          <p15:clr>
            <a:srgbClr val="F26B43"/>
          </p15:clr>
        </p15:guide>
        <p15:guide id="2" pos="7140">
          <p15:clr>
            <a:srgbClr val="F26B43"/>
          </p15:clr>
        </p15:guide>
        <p15:guide id="3" pos="528">
          <p15:clr>
            <a:srgbClr val="F26B43"/>
          </p15:clr>
        </p15:guide>
        <p15:guide id="4" orient="horz" pos="173">
          <p15:clr>
            <a:srgbClr val="F26B43"/>
          </p15:clr>
        </p15:guide>
        <p15:guide id="5" orient="horz" pos="4008">
          <p15:clr>
            <a:srgbClr val="F26B43"/>
          </p15:clr>
        </p15:guide>
        <p15:guide id="6" orient="horz" pos="3906">
          <p15:clr>
            <a:srgbClr val="F26B43"/>
          </p15:clr>
        </p15:guide>
        <p15:guide id="7" orient="horz" pos="800">
          <p15:clr>
            <a:srgbClr val="F26B43"/>
          </p15:clr>
        </p15:guide>
        <p15:guide id="8" pos="7491">
          <p15:clr>
            <a:srgbClr val="F26B43"/>
          </p15:clr>
        </p15:guide>
        <p15:guide id="9" pos="437">
          <p15:clr>
            <a:srgbClr val="F26B43"/>
          </p15:clr>
        </p15:guide>
        <p15:guide id="10" pos="3834">
          <p15:clr>
            <a:srgbClr val="F26B43"/>
          </p15:clr>
        </p15:guide>
        <p15:guide id="11" orient="horz" pos="2358">
          <p15:clr>
            <a:srgbClr val="F26B43"/>
          </p15:clr>
        </p15:guide>
        <p15:guide id="12" pos="739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 userDrawn="1"/>
        </p:nvGrpSpPr>
        <p:grpSpPr>
          <a:xfrm>
            <a:off x="693738" y="6230179"/>
            <a:ext cx="11498262" cy="627821"/>
            <a:chOff x="693738" y="6230179"/>
            <a:chExt cx="11498262" cy="627821"/>
          </a:xfrm>
        </p:grpSpPr>
        <p:sp>
          <p:nvSpPr>
            <p:cNvPr id="37" name="Freeform 9"/>
            <p:cNvSpPr>
              <a:spLocks/>
            </p:cNvSpPr>
            <p:nvPr userDrawn="1"/>
          </p:nvSpPr>
          <p:spPr bwMode="auto">
            <a:xfrm>
              <a:off x="693738" y="6432353"/>
              <a:ext cx="10988675" cy="131762"/>
            </a:xfrm>
            <a:custGeom>
              <a:avLst/>
              <a:gdLst>
                <a:gd name="T0" fmla="*/ 2927 w 2927"/>
                <a:gd name="T1" fmla="*/ 0 h 32"/>
                <a:gd name="T2" fmla="*/ 32 w 2927"/>
                <a:gd name="T3" fmla="*/ 0 h 32"/>
                <a:gd name="T4" fmla="*/ 0 w 2927"/>
                <a:gd name="T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27" h="32">
                  <a:moveTo>
                    <a:pt x="292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32"/>
                    <a:pt x="0" y="32"/>
                  </a:cubicBezTo>
                </a:path>
              </a:pathLst>
            </a:custGeom>
            <a:noFill/>
            <a:ln w="3175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8" name="Rectangle 37"/>
            <p:cNvSpPr/>
            <p:nvPr userDrawn="1"/>
          </p:nvSpPr>
          <p:spPr bwMode="white">
            <a:xfrm>
              <a:off x="10419789" y="6230179"/>
              <a:ext cx="1772211" cy="627821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600" smtClean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845576" y="280734"/>
            <a:ext cx="10489175" cy="8540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45576" y="1278001"/>
            <a:ext cx="10489175" cy="49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38200" y="6498810"/>
            <a:ext cx="495300" cy="18811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grpSp>
        <p:nvGrpSpPr>
          <p:cNvPr id="102" name="Group 101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10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11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grpSp>
        <p:nvGrpSpPr>
          <p:cNvPr id="46" name="Group 45"/>
          <p:cNvGrpSpPr/>
          <p:nvPr userDrawn="1"/>
        </p:nvGrpSpPr>
        <p:grpSpPr>
          <a:xfrm>
            <a:off x="-2040443" y="6362701"/>
            <a:ext cx="1872000" cy="500063"/>
            <a:chOff x="-2040443" y="6445247"/>
            <a:chExt cx="1872000" cy="417516"/>
          </a:xfrm>
        </p:grpSpPr>
        <p:sp>
          <p:nvSpPr>
            <p:cNvPr id="47" name="Rectangle 104"/>
            <p:cNvSpPr>
              <a:spLocks noChangeArrowheads="1"/>
            </p:cNvSpPr>
            <p:nvPr userDrawn="1"/>
          </p:nvSpPr>
          <p:spPr bwMode="gray">
            <a:xfrm>
              <a:off x="-2040443" y="6445247"/>
              <a:ext cx="1462593" cy="417516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lIns="72000" tIns="180000" rIns="72000" bIns="18000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defRPr/>
              </a:pP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No content below </a:t>
              </a:r>
              <a:br>
                <a:rPr lang="en-GB" altLang="en-US" sz="1200" b="1" kern="0" dirty="0" smtClean="0">
                  <a:solidFill>
                    <a:srgbClr val="FDFDFD"/>
                  </a:solidFill>
                </a:rPr>
              </a:b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the grey line</a:t>
              </a:r>
              <a:endParaRPr lang="en-GB" altLang="en-US" sz="1200" b="1" kern="0" dirty="0">
                <a:solidFill>
                  <a:srgbClr val="FDFDFD"/>
                </a:solidFill>
              </a:endParaRPr>
            </a:p>
          </p:txBody>
        </p:sp>
        <p:grpSp>
          <p:nvGrpSpPr>
            <p:cNvPr id="48" name="Group 47"/>
            <p:cNvGrpSpPr/>
            <p:nvPr userDrawn="1"/>
          </p:nvGrpSpPr>
          <p:grpSpPr bwMode="gray">
            <a:xfrm>
              <a:off x="-546100" y="6452392"/>
              <a:ext cx="377657" cy="403227"/>
              <a:chOff x="-2035174" y="6454773"/>
              <a:chExt cx="1872000" cy="403227"/>
            </a:xfrm>
          </p:grpSpPr>
          <p:cxnSp>
            <p:nvCxnSpPr>
              <p:cNvPr id="49" name="Straight Connector 48"/>
              <p:cNvCxnSpPr/>
              <p:nvPr userDrawn="1"/>
            </p:nvCxnSpPr>
            <p:spPr bwMode="gray">
              <a:xfrm>
                <a:off x="-2035174" y="6858000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50" name="Straight Connector 49"/>
              <p:cNvCxnSpPr/>
              <p:nvPr userDrawn="1"/>
            </p:nvCxnSpPr>
            <p:spPr bwMode="gray">
              <a:xfrm>
                <a:off x="-2035174" y="6454773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</p:grp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3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3433" y="6358070"/>
            <a:ext cx="1183250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322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1" r:id="rId12"/>
    <p:sldLayoutId id="2147483762" r:id="rId13"/>
    <p:sldLayoutId id="2147483763" r:id="rId14"/>
    <p:sldLayoutId id="2147483764" r:id="rId15"/>
    <p:sldLayoutId id="2147483765" r:id="rId16"/>
    <p:sldLayoutId id="2147483766" r:id="rId17"/>
    <p:sldLayoutId id="2147483767" r:id="rId18"/>
    <p:sldLayoutId id="2147483768" r:id="rId19"/>
    <p:sldLayoutId id="2147483769" r:id="rId20"/>
    <p:sldLayoutId id="2147483770" r:id="rId21"/>
    <p:sldLayoutId id="2147483771" r:id="rId22"/>
    <p:sldLayoutId id="2147483772" r:id="rId23"/>
    <p:sldLayoutId id="2147483773" r:id="rId24"/>
    <p:sldLayoutId id="2147483774" r:id="rId25"/>
    <p:sldLayoutId id="2147483775" r:id="rId26"/>
    <p:sldLayoutId id="2147483776" r:id="rId27"/>
    <p:sldLayoutId id="2147483777" r:id="rId28"/>
    <p:sldLayoutId id="2147483778" r:id="rId29"/>
    <p:sldLayoutId id="2147483779" r:id="rId30"/>
    <p:sldLayoutId id="2147483780" r:id="rId31"/>
    <p:sldLayoutId id="2147483781" r:id="rId32"/>
    <p:sldLayoutId id="2147483782" r:id="rId33"/>
    <p:sldLayoutId id="2147483783" r:id="rId3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309" rtl="0" eaLnBrk="1" latinLnBrk="0" hangingPunct="1">
        <a:lnSpc>
          <a:spcPts val="2800"/>
        </a:lnSpc>
        <a:spcBef>
          <a:spcPct val="0"/>
        </a:spcBef>
        <a:buNone/>
        <a:defRPr sz="2800" b="1" kern="1200" baseline="0">
          <a:solidFill>
            <a:schemeClr val="tx2"/>
          </a:solidFill>
          <a:latin typeface="+mj-lt"/>
          <a:ea typeface="+mj-ea"/>
          <a:cs typeface="ING Me" pitchFamily="2" charset="0"/>
        </a:defRPr>
      </a:lvl1pPr>
    </p:titleStyle>
    <p:bodyStyle>
      <a:lvl1pPr marL="0" indent="0" algn="l" defTabSz="914309" rtl="0" eaLnBrk="1" latinLnBrk="0" hangingPunct="1">
        <a:lnSpc>
          <a:spcPts val="2399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b="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1pPr>
      <a:lvl2pPr marL="0" indent="0" algn="l" defTabSz="914309" rtl="0" eaLnBrk="1" latinLnBrk="0" hangingPunct="1">
        <a:lnSpc>
          <a:spcPts val="2399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2pPr>
      <a:lvl3pPr marL="266673" indent="-266673" algn="l" defTabSz="914309" rtl="0" eaLnBrk="1" latinLnBrk="0" hangingPunct="1">
        <a:lnSpc>
          <a:spcPts val="2399"/>
        </a:lnSpc>
        <a:spcBef>
          <a:spcPts val="0"/>
        </a:spcBef>
        <a:spcAft>
          <a:spcPts val="0"/>
        </a:spcAft>
        <a:buClr>
          <a:schemeClr val="tx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3pPr>
      <a:lvl4pPr marL="512712" indent="-260324" algn="l" defTabSz="914309" rtl="0" eaLnBrk="1" latinLnBrk="0" hangingPunct="1">
        <a:lnSpc>
          <a:spcPts val="2399"/>
        </a:lnSpc>
        <a:spcBef>
          <a:spcPts val="0"/>
        </a:spcBef>
        <a:spcAft>
          <a:spcPts val="0"/>
        </a:spcAft>
        <a:buClr>
          <a:schemeClr val="bg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4pPr>
      <a:lvl5pPr marL="761923" indent="-252387" algn="l" defTabSz="914309" rtl="0" eaLnBrk="1" latinLnBrk="0" hangingPunct="1">
        <a:lnSpc>
          <a:spcPts val="2399"/>
        </a:lnSpc>
        <a:spcBef>
          <a:spcPts val="0"/>
        </a:spcBef>
        <a:spcAft>
          <a:spcPts val="0"/>
        </a:spcAft>
        <a:buClr>
          <a:schemeClr val="accent3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5pPr>
      <a:lvl6pPr marL="2514348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2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2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5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orient="horz" pos="721" userDrawn="1">
          <p15:clr>
            <a:srgbClr val="F26B43"/>
          </p15:clr>
        </p15:guide>
        <p15:guide id="6" pos="7140" userDrawn="1">
          <p15:clr>
            <a:srgbClr val="F26B43"/>
          </p15:clr>
        </p15:guide>
        <p15:guide id="8" pos="528" userDrawn="1">
          <p15:clr>
            <a:srgbClr val="F26B43"/>
          </p15:clr>
        </p15:guide>
        <p15:guide id="9" orient="horz" pos="173" userDrawn="1">
          <p15:clr>
            <a:srgbClr val="F26B43"/>
          </p15:clr>
        </p15:guide>
        <p15:guide id="10" orient="horz" pos="4008" userDrawn="1">
          <p15:clr>
            <a:srgbClr val="F26B43"/>
          </p15:clr>
        </p15:guide>
        <p15:guide id="11" orient="horz" pos="3906" userDrawn="1">
          <p15:clr>
            <a:srgbClr val="F26B43"/>
          </p15:clr>
        </p15:guide>
        <p15:guide id="12" orient="horz" pos="800" userDrawn="1">
          <p15:clr>
            <a:srgbClr val="F26B43"/>
          </p15:clr>
        </p15:guide>
        <p15:guide id="13" pos="7491" userDrawn="1">
          <p15:clr>
            <a:srgbClr val="F26B43"/>
          </p15:clr>
        </p15:guide>
        <p15:guide id="14" pos="437" userDrawn="1">
          <p15:clr>
            <a:srgbClr val="F26B43"/>
          </p15:clr>
        </p15:guide>
        <p15:guide id="15" pos="3834" userDrawn="1">
          <p15:clr>
            <a:srgbClr val="F26B43"/>
          </p15:clr>
        </p15:guide>
        <p15:guide id="16" orient="horz" pos="2358" userDrawn="1">
          <p15:clr>
            <a:srgbClr val="F26B43"/>
          </p15:clr>
        </p15:guide>
        <p15:guide id="17" pos="7398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 userDrawn="1"/>
        </p:nvGrpSpPr>
        <p:grpSpPr>
          <a:xfrm>
            <a:off x="693738" y="6230179"/>
            <a:ext cx="11498262" cy="627821"/>
            <a:chOff x="693738" y="6230179"/>
            <a:chExt cx="11498262" cy="627821"/>
          </a:xfrm>
        </p:grpSpPr>
        <p:sp>
          <p:nvSpPr>
            <p:cNvPr id="37" name="Freeform 9"/>
            <p:cNvSpPr>
              <a:spLocks/>
            </p:cNvSpPr>
            <p:nvPr userDrawn="1"/>
          </p:nvSpPr>
          <p:spPr bwMode="auto">
            <a:xfrm>
              <a:off x="693738" y="6432353"/>
              <a:ext cx="10988675" cy="131762"/>
            </a:xfrm>
            <a:custGeom>
              <a:avLst/>
              <a:gdLst>
                <a:gd name="T0" fmla="*/ 2927 w 2927"/>
                <a:gd name="T1" fmla="*/ 0 h 32"/>
                <a:gd name="T2" fmla="*/ 32 w 2927"/>
                <a:gd name="T3" fmla="*/ 0 h 32"/>
                <a:gd name="T4" fmla="*/ 0 w 2927"/>
                <a:gd name="T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27" h="32">
                  <a:moveTo>
                    <a:pt x="292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32"/>
                    <a:pt x="0" y="32"/>
                  </a:cubicBezTo>
                </a:path>
              </a:pathLst>
            </a:custGeom>
            <a:noFill/>
            <a:ln w="3175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8" name="Rectangle 37"/>
            <p:cNvSpPr/>
            <p:nvPr userDrawn="1"/>
          </p:nvSpPr>
          <p:spPr bwMode="white">
            <a:xfrm>
              <a:off x="10419789" y="6230179"/>
              <a:ext cx="1772211" cy="627821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600" smtClean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845576" y="280734"/>
            <a:ext cx="10489175" cy="8540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45576" y="1278001"/>
            <a:ext cx="10489175" cy="49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38200" y="6498810"/>
            <a:ext cx="495300" cy="18811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grpSp>
        <p:nvGrpSpPr>
          <p:cNvPr id="102" name="Group 101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10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11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grpSp>
        <p:nvGrpSpPr>
          <p:cNvPr id="46" name="Group 45"/>
          <p:cNvGrpSpPr/>
          <p:nvPr userDrawn="1"/>
        </p:nvGrpSpPr>
        <p:grpSpPr>
          <a:xfrm>
            <a:off x="-2040443" y="6362701"/>
            <a:ext cx="1872000" cy="500063"/>
            <a:chOff x="-2040443" y="6445247"/>
            <a:chExt cx="1872000" cy="417516"/>
          </a:xfrm>
        </p:grpSpPr>
        <p:sp>
          <p:nvSpPr>
            <p:cNvPr id="47" name="Rectangle 104"/>
            <p:cNvSpPr>
              <a:spLocks noChangeArrowheads="1"/>
            </p:cNvSpPr>
            <p:nvPr userDrawn="1"/>
          </p:nvSpPr>
          <p:spPr bwMode="gray">
            <a:xfrm>
              <a:off x="-2040443" y="6445247"/>
              <a:ext cx="1462593" cy="417516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lIns="72000" tIns="180000" rIns="72000" bIns="18000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defRPr/>
              </a:pP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No content below </a:t>
              </a:r>
              <a:br>
                <a:rPr lang="en-GB" altLang="en-US" sz="1200" b="1" kern="0" dirty="0" smtClean="0">
                  <a:solidFill>
                    <a:srgbClr val="FDFDFD"/>
                  </a:solidFill>
                </a:rPr>
              </a:b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the grey line</a:t>
              </a:r>
              <a:endParaRPr lang="en-GB" altLang="en-US" sz="1200" b="1" kern="0" dirty="0">
                <a:solidFill>
                  <a:srgbClr val="FDFDFD"/>
                </a:solidFill>
              </a:endParaRPr>
            </a:p>
          </p:txBody>
        </p:sp>
        <p:grpSp>
          <p:nvGrpSpPr>
            <p:cNvPr id="48" name="Group 47"/>
            <p:cNvGrpSpPr/>
            <p:nvPr userDrawn="1"/>
          </p:nvGrpSpPr>
          <p:grpSpPr bwMode="gray">
            <a:xfrm>
              <a:off x="-546100" y="6452392"/>
              <a:ext cx="377657" cy="403227"/>
              <a:chOff x="-2035174" y="6454773"/>
              <a:chExt cx="1872000" cy="403227"/>
            </a:xfrm>
          </p:grpSpPr>
          <p:cxnSp>
            <p:nvCxnSpPr>
              <p:cNvPr id="49" name="Straight Connector 48"/>
              <p:cNvCxnSpPr/>
              <p:nvPr userDrawn="1"/>
            </p:nvCxnSpPr>
            <p:spPr bwMode="gray">
              <a:xfrm>
                <a:off x="-2035174" y="6858000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50" name="Straight Connector 49"/>
              <p:cNvCxnSpPr/>
              <p:nvPr userDrawn="1"/>
            </p:nvCxnSpPr>
            <p:spPr bwMode="gray">
              <a:xfrm>
                <a:off x="-2035174" y="6454773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</p:grp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3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3433" y="6358070"/>
            <a:ext cx="1183250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634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  <p:sldLayoutId id="2147483793" r:id="rId9"/>
    <p:sldLayoutId id="2147483794" r:id="rId10"/>
    <p:sldLayoutId id="2147483795" r:id="rId11"/>
    <p:sldLayoutId id="2147483796" r:id="rId12"/>
    <p:sldLayoutId id="2147483797" r:id="rId13"/>
    <p:sldLayoutId id="2147483798" r:id="rId14"/>
    <p:sldLayoutId id="2147483799" r:id="rId15"/>
    <p:sldLayoutId id="2147483800" r:id="rId16"/>
    <p:sldLayoutId id="2147483801" r:id="rId17"/>
    <p:sldLayoutId id="2147483802" r:id="rId18"/>
    <p:sldLayoutId id="2147483803" r:id="rId19"/>
    <p:sldLayoutId id="2147483804" r:id="rId20"/>
    <p:sldLayoutId id="2147483805" r:id="rId21"/>
    <p:sldLayoutId id="2147483806" r:id="rId22"/>
    <p:sldLayoutId id="2147483807" r:id="rId23"/>
    <p:sldLayoutId id="2147483808" r:id="rId24"/>
    <p:sldLayoutId id="2147483809" r:id="rId25"/>
    <p:sldLayoutId id="2147483810" r:id="rId26"/>
    <p:sldLayoutId id="2147483811" r:id="rId27"/>
    <p:sldLayoutId id="2147483812" r:id="rId28"/>
    <p:sldLayoutId id="2147483813" r:id="rId29"/>
    <p:sldLayoutId id="2147483814" r:id="rId30"/>
    <p:sldLayoutId id="2147483815" r:id="rId31"/>
    <p:sldLayoutId id="2147483816" r:id="rId32"/>
    <p:sldLayoutId id="2147483817" r:id="rId33"/>
    <p:sldLayoutId id="2147483818" r:id="rId3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309" rtl="0" eaLnBrk="1" latinLnBrk="0" hangingPunct="1">
        <a:lnSpc>
          <a:spcPts val="2800"/>
        </a:lnSpc>
        <a:spcBef>
          <a:spcPct val="0"/>
        </a:spcBef>
        <a:buNone/>
        <a:defRPr sz="2800" b="1" kern="1200" baseline="0">
          <a:solidFill>
            <a:schemeClr val="tx2"/>
          </a:solidFill>
          <a:latin typeface="+mj-lt"/>
          <a:ea typeface="+mj-ea"/>
          <a:cs typeface="ING Me" pitchFamily="2" charset="0"/>
        </a:defRPr>
      </a:lvl1pPr>
    </p:titleStyle>
    <p:bodyStyle>
      <a:lvl1pPr marL="0" indent="0" algn="l" defTabSz="914309" rtl="0" eaLnBrk="1" latinLnBrk="0" hangingPunct="1">
        <a:lnSpc>
          <a:spcPts val="2399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b="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1pPr>
      <a:lvl2pPr marL="0" indent="0" algn="l" defTabSz="914309" rtl="0" eaLnBrk="1" latinLnBrk="0" hangingPunct="1">
        <a:lnSpc>
          <a:spcPts val="2399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2pPr>
      <a:lvl3pPr marL="266673" indent="-266673" algn="l" defTabSz="914309" rtl="0" eaLnBrk="1" latinLnBrk="0" hangingPunct="1">
        <a:lnSpc>
          <a:spcPts val="2399"/>
        </a:lnSpc>
        <a:spcBef>
          <a:spcPts val="0"/>
        </a:spcBef>
        <a:spcAft>
          <a:spcPts val="0"/>
        </a:spcAft>
        <a:buClr>
          <a:schemeClr val="tx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3pPr>
      <a:lvl4pPr marL="512712" indent="-260324" algn="l" defTabSz="914309" rtl="0" eaLnBrk="1" latinLnBrk="0" hangingPunct="1">
        <a:lnSpc>
          <a:spcPts val="2399"/>
        </a:lnSpc>
        <a:spcBef>
          <a:spcPts val="0"/>
        </a:spcBef>
        <a:spcAft>
          <a:spcPts val="0"/>
        </a:spcAft>
        <a:buClr>
          <a:schemeClr val="bg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4pPr>
      <a:lvl5pPr marL="761923" indent="-252387" algn="l" defTabSz="914309" rtl="0" eaLnBrk="1" latinLnBrk="0" hangingPunct="1">
        <a:lnSpc>
          <a:spcPts val="2399"/>
        </a:lnSpc>
        <a:spcBef>
          <a:spcPts val="0"/>
        </a:spcBef>
        <a:spcAft>
          <a:spcPts val="0"/>
        </a:spcAft>
        <a:buClr>
          <a:schemeClr val="accent3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5pPr>
      <a:lvl6pPr marL="2514348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2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2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5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orient="horz" pos="721" userDrawn="1">
          <p15:clr>
            <a:srgbClr val="F26B43"/>
          </p15:clr>
        </p15:guide>
        <p15:guide id="6" pos="7140" userDrawn="1">
          <p15:clr>
            <a:srgbClr val="F26B43"/>
          </p15:clr>
        </p15:guide>
        <p15:guide id="8" pos="528" userDrawn="1">
          <p15:clr>
            <a:srgbClr val="F26B43"/>
          </p15:clr>
        </p15:guide>
        <p15:guide id="9" orient="horz" pos="173" userDrawn="1">
          <p15:clr>
            <a:srgbClr val="F26B43"/>
          </p15:clr>
        </p15:guide>
        <p15:guide id="10" orient="horz" pos="4008" userDrawn="1">
          <p15:clr>
            <a:srgbClr val="F26B43"/>
          </p15:clr>
        </p15:guide>
        <p15:guide id="11" orient="horz" pos="3906" userDrawn="1">
          <p15:clr>
            <a:srgbClr val="F26B43"/>
          </p15:clr>
        </p15:guide>
        <p15:guide id="12" orient="horz" pos="800" userDrawn="1">
          <p15:clr>
            <a:srgbClr val="F26B43"/>
          </p15:clr>
        </p15:guide>
        <p15:guide id="13" pos="7491" userDrawn="1">
          <p15:clr>
            <a:srgbClr val="F26B43"/>
          </p15:clr>
        </p15:guide>
        <p15:guide id="14" pos="437" userDrawn="1">
          <p15:clr>
            <a:srgbClr val="F26B43"/>
          </p15:clr>
        </p15:guide>
        <p15:guide id="15" pos="3834" userDrawn="1">
          <p15:clr>
            <a:srgbClr val="F26B43"/>
          </p15:clr>
        </p15:guide>
        <p15:guide id="16" orient="horz" pos="2358" userDrawn="1">
          <p15:clr>
            <a:srgbClr val="F26B43"/>
          </p15:clr>
        </p15:guide>
        <p15:guide id="17" pos="7398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>
          <a:xfrm>
            <a:off x="693738" y="6230179"/>
            <a:ext cx="11498262" cy="627821"/>
            <a:chOff x="693738" y="6230179"/>
            <a:chExt cx="11498262" cy="627821"/>
          </a:xfrm>
        </p:grpSpPr>
        <p:sp>
          <p:nvSpPr>
            <p:cNvPr id="37" name="Freeform 9"/>
            <p:cNvSpPr>
              <a:spLocks/>
            </p:cNvSpPr>
            <p:nvPr userDrawn="1"/>
          </p:nvSpPr>
          <p:spPr bwMode="auto">
            <a:xfrm>
              <a:off x="693738" y="6432353"/>
              <a:ext cx="10988675" cy="131762"/>
            </a:xfrm>
            <a:custGeom>
              <a:avLst/>
              <a:gdLst>
                <a:gd name="T0" fmla="*/ 2927 w 2927"/>
                <a:gd name="T1" fmla="*/ 0 h 32"/>
                <a:gd name="T2" fmla="*/ 32 w 2927"/>
                <a:gd name="T3" fmla="*/ 0 h 32"/>
                <a:gd name="T4" fmla="*/ 0 w 2927"/>
                <a:gd name="T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27" h="32">
                  <a:moveTo>
                    <a:pt x="292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32"/>
                    <a:pt x="0" y="32"/>
                  </a:cubicBezTo>
                </a:path>
              </a:pathLst>
            </a:custGeom>
            <a:noFill/>
            <a:ln w="3175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8" name="Rectangle 37"/>
            <p:cNvSpPr/>
            <p:nvPr userDrawn="1"/>
          </p:nvSpPr>
          <p:spPr bwMode="white">
            <a:xfrm>
              <a:off x="10419789" y="6230179"/>
              <a:ext cx="1772211" cy="627821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60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845576" y="280734"/>
            <a:ext cx="10489175" cy="8540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45576" y="1278001"/>
            <a:ext cx="10489175" cy="49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38200" y="6498810"/>
            <a:ext cx="495300" cy="18811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grpSp>
        <p:nvGrpSpPr>
          <p:cNvPr id="102" name="Group 101"/>
          <p:cNvGrpSpPr/>
          <p:nvPr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10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Orang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55, 98, 0</a:t>
              </a:r>
            </a:p>
          </p:txBody>
        </p:sp>
        <p:sp>
          <p:nvSpPr>
            <p:cNvPr id="10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ght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68, 168, 168</a:t>
              </a:r>
            </a:p>
          </p:txBody>
        </p:sp>
        <p:sp>
          <p:nvSpPr>
            <p:cNvPr id="10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Indigo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82, 81, 153</a:t>
              </a:r>
            </a:p>
          </p:txBody>
        </p:sp>
        <p:sp>
          <p:nvSpPr>
            <p:cNvPr id="11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Sk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96, 166, 218</a:t>
              </a:r>
            </a:p>
          </p:txBody>
        </p:sp>
        <p:sp>
          <p:nvSpPr>
            <p:cNvPr id="11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>
                  <a:solidFill>
                    <a:srgbClr val="333333"/>
                  </a:solidFill>
                </a:rPr>
                <a:t>Colour Guidelines</a:t>
              </a:r>
            </a:p>
          </p:txBody>
        </p:sp>
        <p:sp>
          <p:nvSpPr>
            <p:cNvPr id="11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Fuchsia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71, 0, 102</a:t>
              </a:r>
            </a:p>
          </p:txBody>
        </p:sp>
        <p:sp>
          <p:nvSpPr>
            <p:cNvPr id="11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m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08, 217, 60</a:t>
              </a:r>
            </a:p>
          </p:txBody>
        </p:sp>
        <p:sp>
          <p:nvSpPr>
            <p:cNvPr id="11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eaf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2, 150, 81</a:t>
              </a:r>
            </a:p>
          </p:txBody>
        </p:sp>
        <p:sp>
          <p:nvSpPr>
            <p:cNvPr id="12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Mid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18, 118, 118</a:t>
              </a:r>
            </a:p>
          </p:txBody>
        </p:sp>
        <p:sp>
          <p:nvSpPr>
            <p:cNvPr id="12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Text Colour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1, 51, 51</a:t>
              </a: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-2040443" y="6362701"/>
            <a:ext cx="1872000" cy="500063"/>
            <a:chOff x="-2040443" y="6445247"/>
            <a:chExt cx="1872000" cy="417516"/>
          </a:xfrm>
        </p:grpSpPr>
        <p:sp>
          <p:nvSpPr>
            <p:cNvPr id="47" name="Rectangle 104"/>
            <p:cNvSpPr>
              <a:spLocks noChangeArrowheads="1"/>
            </p:cNvSpPr>
            <p:nvPr userDrawn="1"/>
          </p:nvSpPr>
          <p:spPr bwMode="gray">
            <a:xfrm>
              <a:off x="-2040443" y="6445247"/>
              <a:ext cx="1462593" cy="417516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lIns="72000" tIns="180000" rIns="72000" bIns="18000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defRPr/>
              </a:pPr>
              <a:r>
                <a:rPr lang="en-GB" altLang="en-US" sz="1200" b="1" kern="0" dirty="0">
                  <a:solidFill>
                    <a:srgbClr val="FDFDFD"/>
                  </a:solidFill>
                </a:rPr>
                <a:t>No content below </a:t>
              </a:r>
              <a:br>
                <a:rPr lang="en-GB" altLang="en-US" sz="1200" b="1" kern="0" dirty="0">
                  <a:solidFill>
                    <a:srgbClr val="FDFDFD"/>
                  </a:solidFill>
                </a:rPr>
              </a:br>
              <a:r>
                <a:rPr lang="en-GB" altLang="en-US" sz="1200" b="1" kern="0" dirty="0">
                  <a:solidFill>
                    <a:srgbClr val="FDFDFD"/>
                  </a:solidFill>
                </a:rPr>
                <a:t>the grey line</a:t>
              </a:r>
            </a:p>
          </p:txBody>
        </p:sp>
        <p:grpSp>
          <p:nvGrpSpPr>
            <p:cNvPr id="48" name="Group 47"/>
            <p:cNvGrpSpPr/>
            <p:nvPr userDrawn="1"/>
          </p:nvGrpSpPr>
          <p:grpSpPr bwMode="gray">
            <a:xfrm>
              <a:off x="-546100" y="6452392"/>
              <a:ext cx="377657" cy="403227"/>
              <a:chOff x="-2035174" y="6454773"/>
              <a:chExt cx="1872000" cy="403227"/>
            </a:xfrm>
          </p:grpSpPr>
          <p:cxnSp>
            <p:nvCxnSpPr>
              <p:cNvPr id="49" name="Straight Connector 48"/>
              <p:cNvCxnSpPr/>
              <p:nvPr userDrawn="1"/>
            </p:nvCxnSpPr>
            <p:spPr bwMode="gray">
              <a:xfrm>
                <a:off x="-2035174" y="6858000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50" name="Straight Connector 49"/>
              <p:cNvCxnSpPr/>
              <p:nvPr userDrawn="1"/>
            </p:nvCxnSpPr>
            <p:spPr bwMode="gray">
              <a:xfrm>
                <a:off x="-2035174" y="6454773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</p:grp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4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89" y="4402733"/>
            <a:ext cx="154783" cy="138908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4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3433" y="6358070"/>
            <a:ext cx="1183250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05870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  <p:sldLayoutId id="2147483837" r:id="rId6"/>
    <p:sldLayoutId id="2147483838" r:id="rId7"/>
    <p:sldLayoutId id="2147483839" r:id="rId8"/>
    <p:sldLayoutId id="2147483840" r:id="rId9"/>
    <p:sldLayoutId id="2147483841" r:id="rId10"/>
    <p:sldLayoutId id="2147483842" r:id="rId11"/>
    <p:sldLayoutId id="2147483843" r:id="rId12"/>
    <p:sldLayoutId id="2147483844" r:id="rId13"/>
    <p:sldLayoutId id="2147483845" r:id="rId14"/>
    <p:sldLayoutId id="2147483846" r:id="rId15"/>
    <p:sldLayoutId id="2147483847" r:id="rId16"/>
    <p:sldLayoutId id="2147483848" r:id="rId17"/>
    <p:sldLayoutId id="2147483849" r:id="rId18"/>
    <p:sldLayoutId id="2147483850" r:id="rId19"/>
    <p:sldLayoutId id="2147483851" r:id="rId20"/>
    <p:sldLayoutId id="2147483852" r:id="rId21"/>
    <p:sldLayoutId id="2147483853" r:id="rId22"/>
    <p:sldLayoutId id="2147483854" r:id="rId23"/>
    <p:sldLayoutId id="2147483855" r:id="rId24"/>
    <p:sldLayoutId id="2147483856" r:id="rId25"/>
    <p:sldLayoutId id="2147483857" r:id="rId26"/>
    <p:sldLayoutId id="2147483858" r:id="rId27"/>
    <p:sldLayoutId id="2147483859" r:id="rId28"/>
    <p:sldLayoutId id="2147483860" r:id="rId29"/>
    <p:sldLayoutId id="2147483861" r:id="rId30"/>
    <p:sldLayoutId id="2147483862" r:id="rId31"/>
    <p:sldLayoutId id="2147483863" r:id="rId32"/>
    <p:sldLayoutId id="2147483864" r:id="rId33"/>
    <p:sldLayoutId id="2147483865" r:id="rId34"/>
    <p:sldLayoutId id="2147483866" r:id="rId35"/>
    <p:sldLayoutId id="2147483867" r:id="rId36"/>
    <p:sldLayoutId id="2147483869" r:id="rId37"/>
    <p:sldLayoutId id="2147483870" r:id="rId38"/>
    <p:sldLayoutId id="2147483871" r:id="rId39"/>
    <p:sldLayoutId id="2147483872" r:id="rId40"/>
    <p:sldLayoutId id="2147483873" r:id="rId41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309" rtl="0" eaLnBrk="1" latinLnBrk="0" hangingPunct="1">
        <a:lnSpc>
          <a:spcPts val="2800"/>
        </a:lnSpc>
        <a:spcBef>
          <a:spcPct val="0"/>
        </a:spcBef>
        <a:buNone/>
        <a:defRPr sz="2800" b="1" kern="1200" baseline="0">
          <a:solidFill>
            <a:schemeClr val="tx2"/>
          </a:solidFill>
          <a:latin typeface="+mj-lt"/>
          <a:ea typeface="+mj-ea"/>
          <a:cs typeface="ING Me" pitchFamily="2" charset="0"/>
        </a:defRPr>
      </a:lvl1pPr>
    </p:titleStyle>
    <p:bodyStyle>
      <a:lvl1pPr marL="0" indent="0" algn="l" defTabSz="914309" rtl="0" eaLnBrk="1" latinLnBrk="0" hangingPunct="1">
        <a:lnSpc>
          <a:spcPts val="2399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b="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1pPr>
      <a:lvl2pPr marL="0" indent="0" algn="l" defTabSz="914309" rtl="0" eaLnBrk="1" latinLnBrk="0" hangingPunct="1">
        <a:lnSpc>
          <a:spcPts val="2399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2pPr>
      <a:lvl3pPr marL="266673" indent="-266673" algn="l" defTabSz="914309" rtl="0" eaLnBrk="1" latinLnBrk="0" hangingPunct="1">
        <a:lnSpc>
          <a:spcPts val="2399"/>
        </a:lnSpc>
        <a:spcBef>
          <a:spcPts val="0"/>
        </a:spcBef>
        <a:spcAft>
          <a:spcPts val="0"/>
        </a:spcAft>
        <a:buClr>
          <a:schemeClr val="tx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3pPr>
      <a:lvl4pPr marL="512712" indent="-260324" algn="l" defTabSz="914309" rtl="0" eaLnBrk="1" latinLnBrk="0" hangingPunct="1">
        <a:lnSpc>
          <a:spcPts val="2399"/>
        </a:lnSpc>
        <a:spcBef>
          <a:spcPts val="0"/>
        </a:spcBef>
        <a:spcAft>
          <a:spcPts val="0"/>
        </a:spcAft>
        <a:buClr>
          <a:schemeClr val="bg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4pPr>
      <a:lvl5pPr marL="761923" indent="-252387" algn="l" defTabSz="914309" rtl="0" eaLnBrk="1" latinLnBrk="0" hangingPunct="1">
        <a:lnSpc>
          <a:spcPts val="2399"/>
        </a:lnSpc>
        <a:spcBef>
          <a:spcPts val="0"/>
        </a:spcBef>
        <a:spcAft>
          <a:spcPts val="0"/>
        </a:spcAft>
        <a:buClr>
          <a:schemeClr val="accent3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5pPr>
      <a:lvl6pPr marL="2514348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2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2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5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721">
          <p15:clr>
            <a:srgbClr val="F26B43"/>
          </p15:clr>
        </p15:guide>
        <p15:guide id="2" pos="7140">
          <p15:clr>
            <a:srgbClr val="F26B43"/>
          </p15:clr>
        </p15:guide>
        <p15:guide id="3" pos="528">
          <p15:clr>
            <a:srgbClr val="F26B43"/>
          </p15:clr>
        </p15:guide>
        <p15:guide id="4" orient="horz" pos="173">
          <p15:clr>
            <a:srgbClr val="F26B43"/>
          </p15:clr>
        </p15:guide>
        <p15:guide id="5" orient="horz" pos="4008">
          <p15:clr>
            <a:srgbClr val="F26B43"/>
          </p15:clr>
        </p15:guide>
        <p15:guide id="6" orient="horz" pos="3906">
          <p15:clr>
            <a:srgbClr val="F26B43"/>
          </p15:clr>
        </p15:guide>
        <p15:guide id="7" orient="horz" pos="800">
          <p15:clr>
            <a:srgbClr val="F26B43"/>
          </p15:clr>
        </p15:guide>
        <p15:guide id="8" pos="7491">
          <p15:clr>
            <a:srgbClr val="F26B43"/>
          </p15:clr>
        </p15:guide>
        <p15:guide id="9" pos="437">
          <p15:clr>
            <a:srgbClr val="F26B43"/>
          </p15:clr>
        </p15:guide>
        <p15:guide id="10" pos="3834">
          <p15:clr>
            <a:srgbClr val="F26B43"/>
          </p15:clr>
        </p15:guide>
        <p15:guide id="11" orient="horz" pos="2358">
          <p15:clr>
            <a:srgbClr val="F26B43"/>
          </p15:clr>
        </p15:guide>
        <p15:guide id="12" pos="739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845575" y="280733"/>
            <a:ext cx="10489175" cy="8540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45575" y="1278000"/>
            <a:ext cx="10489175" cy="49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 smtClean="0"/>
              <a:t>Textmaster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GB" noProof="0" dirty="0"/>
          </a:p>
        </p:txBody>
      </p:sp>
      <p:grpSp>
        <p:nvGrpSpPr>
          <p:cNvPr id="102" name="Group 101"/>
          <p:cNvGrpSpPr/>
          <p:nvPr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10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pPr defTabSz="914400"/>
              <a:endParaRPr lang="en-GB" sz="1000" dirty="0">
                <a:solidFill>
                  <a:srgbClr val="333333"/>
                </a:solidFill>
              </a:endParaRPr>
            </a:p>
          </p:txBody>
        </p:sp>
        <p:sp>
          <p:nvSpPr>
            <p:cNvPr id="10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pPr defTabSz="914400"/>
              <a:endParaRPr lang="en-GB" sz="1000" dirty="0">
                <a:solidFill>
                  <a:srgbClr val="333333"/>
                </a:solidFill>
              </a:endParaRPr>
            </a:p>
          </p:txBody>
        </p:sp>
        <p:sp>
          <p:nvSpPr>
            <p:cNvPr id="10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en-GB" sz="1000" dirty="0">
                <a:solidFill>
                  <a:srgbClr val="333333"/>
                </a:solidFill>
              </a:endParaRPr>
            </a:p>
          </p:txBody>
        </p:sp>
        <p:sp>
          <p:nvSpPr>
            <p:cNvPr id="10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dirty="0" smtClean="0">
                  <a:solidFill>
                    <a:srgbClr val="333333"/>
                  </a:solidFill>
                </a:rPr>
                <a:t>ING Orange</a:t>
              </a:r>
              <a:endParaRPr lang="en-GB" altLang="en-US" sz="1000" dirty="0">
                <a:solidFill>
                  <a:srgbClr val="333333"/>
                </a:solidFill>
              </a:endParaRP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dirty="0">
                  <a:solidFill>
                    <a:srgbClr val="333333"/>
                  </a:solidFill>
                </a:rPr>
                <a:t>RGB= </a:t>
              </a:r>
              <a:r>
                <a:rPr lang="en-GB" altLang="en-US" sz="1000" dirty="0" smtClean="0">
                  <a:solidFill>
                    <a:srgbClr val="333333"/>
                  </a:solidFill>
                </a:rPr>
                <a:t>255, 98, 0</a:t>
              </a:r>
              <a:endParaRPr lang="en-GB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10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en-GB" sz="1000" dirty="0">
                <a:solidFill>
                  <a:srgbClr val="333333"/>
                </a:solidFill>
              </a:endParaRPr>
            </a:p>
          </p:txBody>
        </p:sp>
        <p:sp>
          <p:nvSpPr>
            <p:cNvPr id="10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dirty="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 dirty="0">
                <a:solidFill>
                  <a:srgbClr val="333333"/>
                </a:solidFill>
              </a:endParaRP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dirty="0">
                  <a:solidFill>
                    <a:srgbClr val="333333"/>
                  </a:solidFill>
                </a:rPr>
                <a:t>RGB= </a:t>
              </a:r>
              <a:r>
                <a:rPr lang="en-GB" altLang="en-US" sz="1000" dirty="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10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en-GB" sz="1000" dirty="0">
                <a:solidFill>
                  <a:srgbClr val="333333"/>
                </a:solidFill>
              </a:endParaRPr>
            </a:p>
          </p:txBody>
        </p:sp>
        <p:sp>
          <p:nvSpPr>
            <p:cNvPr id="11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dirty="0" smtClean="0">
                  <a:solidFill>
                    <a:srgbClr val="333333"/>
                  </a:solidFill>
                </a:rPr>
                <a:t>ING Indigo</a:t>
              </a:r>
              <a:endParaRPr lang="en-GB" altLang="en-US" sz="1000" dirty="0">
                <a:solidFill>
                  <a:srgbClr val="333333"/>
                </a:solidFill>
              </a:endParaRP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dirty="0">
                  <a:solidFill>
                    <a:srgbClr val="333333"/>
                  </a:solidFill>
                </a:rPr>
                <a:t>RGB= </a:t>
              </a:r>
              <a:r>
                <a:rPr lang="en-GB" altLang="en-US" sz="1000" dirty="0" smtClean="0">
                  <a:solidFill>
                    <a:srgbClr val="333333"/>
                  </a:solidFill>
                </a:rPr>
                <a:t>82, 81, 153</a:t>
              </a:r>
              <a:endParaRPr lang="en-GB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11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en-GB" sz="1000" dirty="0">
                <a:solidFill>
                  <a:srgbClr val="333333"/>
                </a:solidFill>
              </a:endParaRPr>
            </a:p>
          </p:txBody>
        </p:sp>
        <p:sp>
          <p:nvSpPr>
            <p:cNvPr id="11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dirty="0" smtClean="0">
                  <a:solidFill>
                    <a:srgbClr val="333333"/>
                  </a:solidFill>
                </a:rPr>
                <a:t>ING Sky</a:t>
              </a:r>
              <a:endParaRPr lang="en-GB" altLang="en-US" sz="1000" dirty="0">
                <a:solidFill>
                  <a:srgbClr val="333333"/>
                </a:solidFill>
              </a:endParaRP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dirty="0">
                  <a:solidFill>
                    <a:srgbClr val="333333"/>
                  </a:solidFill>
                </a:rPr>
                <a:t>RGB= </a:t>
              </a:r>
              <a:r>
                <a:rPr lang="en-GB" altLang="en-US" sz="1000" dirty="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11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dirty="0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 dirty="0">
                <a:solidFill>
                  <a:srgbClr val="333333"/>
                </a:solidFill>
              </a:endParaRPr>
            </a:p>
          </p:txBody>
        </p:sp>
        <p:sp>
          <p:nvSpPr>
            <p:cNvPr id="11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en-GB" sz="1000" dirty="0">
                <a:solidFill>
                  <a:srgbClr val="333333"/>
                </a:solidFill>
              </a:endParaRPr>
            </a:p>
          </p:txBody>
        </p:sp>
        <p:sp>
          <p:nvSpPr>
            <p:cNvPr id="11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dirty="0" smtClean="0">
                  <a:solidFill>
                    <a:srgbClr val="333333"/>
                  </a:solidFill>
                </a:rPr>
                <a:t>ING Fuchsia</a:t>
              </a:r>
              <a:endParaRPr lang="en-GB" altLang="en-US" sz="1000" dirty="0">
                <a:solidFill>
                  <a:srgbClr val="333333"/>
                </a:solidFill>
              </a:endParaRP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dirty="0">
                  <a:solidFill>
                    <a:srgbClr val="333333"/>
                  </a:solidFill>
                </a:rPr>
                <a:t>RGB= </a:t>
              </a:r>
              <a:r>
                <a:rPr lang="en-GB" altLang="en-US" sz="1000" dirty="0" smtClean="0">
                  <a:solidFill>
                    <a:srgbClr val="333333"/>
                  </a:solidFill>
                </a:rPr>
                <a:t>171, 0, 102</a:t>
              </a:r>
              <a:endParaRPr lang="en-GB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11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en-GB" sz="1000" dirty="0">
                <a:solidFill>
                  <a:srgbClr val="333333"/>
                </a:solidFill>
              </a:endParaRPr>
            </a:p>
          </p:txBody>
        </p:sp>
        <p:sp>
          <p:nvSpPr>
            <p:cNvPr id="11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dirty="0" smtClean="0">
                  <a:solidFill>
                    <a:srgbClr val="333333"/>
                  </a:solidFill>
                </a:rPr>
                <a:t>ING Lime</a:t>
              </a:r>
              <a:endParaRPr lang="en-GB" altLang="en-US" sz="1000" dirty="0">
                <a:solidFill>
                  <a:srgbClr val="333333"/>
                </a:solidFill>
              </a:endParaRP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dirty="0">
                  <a:solidFill>
                    <a:srgbClr val="333333"/>
                  </a:solidFill>
                </a:rPr>
                <a:t>RGB= </a:t>
              </a:r>
              <a:r>
                <a:rPr lang="en-GB" altLang="en-US" sz="1000" dirty="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11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en-GB" sz="1000" dirty="0">
                <a:solidFill>
                  <a:srgbClr val="333333"/>
                </a:solidFill>
              </a:endParaRPr>
            </a:p>
          </p:txBody>
        </p:sp>
        <p:sp>
          <p:nvSpPr>
            <p:cNvPr id="11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dirty="0" smtClean="0">
                  <a:solidFill>
                    <a:srgbClr val="333333"/>
                  </a:solidFill>
                </a:rPr>
                <a:t>ING Leaf</a:t>
              </a:r>
              <a:endParaRPr lang="en-GB" altLang="en-US" sz="1000" dirty="0">
                <a:solidFill>
                  <a:srgbClr val="333333"/>
                </a:solidFill>
              </a:endParaRP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dirty="0">
                  <a:solidFill>
                    <a:srgbClr val="333333"/>
                  </a:solidFill>
                </a:rPr>
                <a:t>RGB= </a:t>
              </a:r>
              <a:r>
                <a:rPr lang="en-GB" altLang="en-US" sz="1000" dirty="0" smtClean="0">
                  <a:solidFill>
                    <a:srgbClr val="333333"/>
                  </a:solidFill>
                </a:rPr>
                <a:t>52, 150, 81</a:t>
              </a:r>
              <a:endParaRPr lang="en-GB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12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en-GB" sz="1000" dirty="0">
                <a:solidFill>
                  <a:srgbClr val="333333"/>
                </a:solidFill>
              </a:endParaRPr>
            </a:p>
          </p:txBody>
        </p:sp>
        <p:sp>
          <p:nvSpPr>
            <p:cNvPr id="12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dirty="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 dirty="0">
                <a:solidFill>
                  <a:srgbClr val="333333"/>
                </a:solidFill>
              </a:endParaRP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dirty="0">
                  <a:solidFill>
                    <a:srgbClr val="333333"/>
                  </a:solidFill>
                </a:rPr>
                <a:t>RGB= </a:t>
              </a:r>
              <a:r>
                <a:rPr lang="en-GB" altLang="en-US" sz="1000" dirty="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 dirty="0">
                <a:solidFill>
                  <a:srgbClr val="333333"/>
                </a:solidFill>
              </a:endParaRPr>
            </a:p>
          </p:txBody>
        </p:sp>
        <p:sp>
          <p:nvSpPr>
            <p:cNvPr id="12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914400"/>
              <a:endParaRPr lang="en-GB" sz="1000" dirty="0">
                <a:solidFill>
                  <a:srgbClr val="333333"/>
                </a:solidFill>
              </a:endParaRPr>
            </a:p>
          </p:txBody>
        </p:sp>
        <p:sp>
          <p:nvSpPr>
            <p:cNvPr id="12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dirty="0" smtClean="0">
                  <a:solidFill>
                    <a:srgbClr val="333333"/>
                  </a:solidFill>
                </a:rPr>
                <a:t>Text Colour</a:t>
              </a:r>
              <a:endParaRPr lang="en-GB" altLang="en-US" sz="1000" dirty="0">
                <a:solidFill>
                  <a:srgbClr val="333333"/>
                </a:solidFill>
              </a:endParaRPr>
            </a:p>
            <a:p>
              <a:pPr defTabSz="914400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dirty="0">
                  <a:solidFill>
                    <a:srgbClr val="333333"/>
                  </a:solidFill>
                </a:rPr>
                <a:t>RGB= </a:t>
              </a:r>
              <a:r>
                <a:rPr lang="en-GB" altLang="en-US" sz="1000" dirty="0" smtClean="0">
                  <a:solidFill>
                    <a:srgbClr val="333333"/>
                  </a:solidFill>
                </a:rPr>
                <a:t>51, 51, 51</a:t>
              </a:r>
              <a:endParaRPr lang="en-GB" altLang="en-US" sz="1000" dirty="0">
                <a:solidFill>
                  <a:srgbClr val="333333"/>
                </a:solidFill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-2040443" y="6362700"/>
            <a:ext cx="1872000" cy="500063"/>
            <a:chOff x="-2040443" y="6445247"/>
            <a:chExt cx="1872000" cy="417516"/>
          </a:xfrm>
        </p:grpSpPr>
        <p:sp>
          <p:nvSpPr>
            <p:cNvPr id="47" name="Rectangle 104"/>
            <p:cNvSpPr>
              <a:spLocks noChangeArrowheads="1"/>
            </p:cNvSpPr>
            <p:nvPr userDrawn="1"/>
          </p:nvSpPr>
          <p:spPr bwMode="gray">
            <a:xfrm>
              <a:off x="-2040443" y="6445247"/>
              <a:ext cx="1462593" cy="417516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lIns="72000" tIns="180000" rIns="72000" bIns="180000" anchor="ctr">
              <a:noAutofit/>
            </a:bodyPr>
            <a:lstStyle/>
            <a:p>
              <a:pPr defTabSz="914400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defRPr/>
              </a:pP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No content below </a:t>
              </a:r>
              <a:br>
                <a:rPr lang="en-GB" altLang="en-US" sz="1200" b="1" kern="0" dirty="0" smtClean="0">
                  <a:solidFill>
                    <a:srgbClr val="FDFDFD"/>
                  </a:solidFill>
                </a:rPr>
              </a:b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the grey line</a:t>
              </a:r>
              <a:endParaRPr lang="en-GB" altLang="en-US" sz="1200" b="1" kern="0" dirty="0">
                <a:solidFill>
                  <a:srgbClr val="FDFDFD"/>
                </a:solidFill>
              </a:endParaRPr>
            </a:p>
          </p:txBody>
        </p:sp>
        <p:grpSp>
          <p:nvGrpSpPr>
            <p:cNvPr id="48" name="Group 47"/>
            <p:cNvGrpSpPr/>
            <p:nvPr userDrawn="1"/>
          </p:nvGrpSpPr>
          <p:grpSpPr bwMode="gray">
            <a:xfrm>
              <a:off x="-546100" y="6452392"/>
              <a:ext cx="377657" cy="403227"/>
              <a:chOff x="-2035174" y="6454773"/>
              <a:chExt cx="1872000" cy="403227"/>
            </a:xfrm>
          </p:grpSpPr>
          <p:cxnSp>
            <p:nvCxnSpPr>
              <p:cNvPr id="49" name="Straight Connector 48"/>
              <p:cNvCxnSpPr/>
              <p:nvPr userDrawn="1"/>
            </p:nvCxnSpPr>
            <p:spPr bwMode="gray">
              <a:xfrm>
                <a:off x="-2035174" y="6858000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50" name="Straight Connector 49"/>
              <p:cNvCxnSpPr/>
              <p:nvPr userDrawn="1"/>
            </p:nvCxnSpPr>
            <p:spPr bwMode="gray">
              <a:xfrm>
                <a:off x="-2035174" y="6454773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</p:grp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4990" y="4402733"/>
            <a:ext cx="154783" cy="138908"/>
          </a:xfrm>
          <a:prstGeom prst="rect">
            <a:avLst/>
          </a:prstGeom>
        </p:spPr>
      </p:pic>
      <p:grpSp>
        <p:nvGrpSpPr>
          <p:cNvPr id="39" name="Group 35"/>
          <p:cNvGrpSpPr/>
          <p:nvPr/>
        </p:nvGrpSpPr>
        <p:grpSpPr>
          <a:xfrm>
            <a:off x="693738" y="6225416"/>
            <a:ext cx="10836000" cy="627821"/>
            <a:chOff x="693738" y="6230179"/>
            <a:chExt cx="11498262" cy="627821"/>
          </a:xfrm>
        </p:grpSpPr>
        <p:sp>
          <p:nvSpPr>
            <p:cNvPr id="40" name="Freeform 9"/>
            <p:cNvSpPr>
              <a:spLocks/>
            </p:cNvSpPr>
            <p:nvPr userDrawn="1"/>
          </p:nvSpPr>
          <p:spPr bwMode="auto">
            <a:xfrm>
              <a:off x="693738" y="6394249"/>
              <a:ext cx="9664652" cy="131762"/>
            </a:xfrm>
            <a:custGeom>
              <a:avLst/>
              <a:gdLst>
                <a:gd name="T0" fmla="*/ 2927 w 2927"/>
                <a:gd name="T1" fmla="*/ 0 h 32"/>
                <a:gd name="T2" fmla="*/ 32 w 2927"/>
                <a:gd name="T3" fmla="*/ 0 h 32"/>
                <a:gd name="T4" fmla="*/ 0 w 2927"/>
                <a:gd name="T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27" h="32">
                  <a:moveTo>
                    <a:pt x="292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32"/>
                    <a:pt x="0" y="32"/>
                  </a:cubicBezTo>
                </a:path>
              </a:pathLst>
            </a:custGeom>
            <a:noFill/>
            <a:ln w="3175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GB" dirty="0">
                <a:solidFill>
                  <a:srgbClr val="333333"/>
                </a:solidFill>
              </a:endParaRPr>
            </a:p>
          </p:txBody>
        </p:sp>
        <p:sp>
          <p:nvSpPr>
            <p:cNvPr id="41" name="Rectangle 37"/>
            <p:cNvSpPr/>
            <p:nvPr userDrawn="1"/>
          </p:nvSpPr>
          <p:spPr bwMode="white">
            <a:xfrm>
              <a:off x="10419789" y="6230179"/>
              <a:ext cx="1772211" cy="627821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lnSpc>
                  <a:spcPct val="90000"/>
                </a:lnSpc>
              </a:pPr>
              <a:endParaRPr lang="en-GB" sz="1600" dirty="0" smtClean="0">
                <a:solidFill>
                  <a:prstClr val="white"/>
                </a:solidFill>
              </a:endParaRPr>
            </a:p>
          </p:txBody>
        </p:sp>
      </p:grp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38200" y="6498809"/>
            <a:ext cx="495300" cy="18811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pPr defTabSz="914400"/>
            <a:fld id="{DDD2A080-DA64-4F5C-9131-47EB793B4410}" type="slidenum">
              <a:rPr lang="en-GB" smtClean="0">
                <a:solidFill>
                  <a:srgbClr val="333333"/>
                </a:solidFill>
              </a:rPr>
              <a:pPr defTabSz="914400"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pic>
        <p:nvPicPr>
          <p:cNvPr id="45" name="Picture 31"/>
          <p:cNvPicPr>
            <a:picLocks noChangeAspect="1"/>
          </p:cNvPicPr>
          <p:nvPr/>
        </p:nvPicPr>
        <p:blipFill rotWithShape="1">
          <a:blip r:embed="rId3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606" t="21885" r="8745" b="32127"/>
          <a:stretch/>
        </p:blipFill>
        <p:spPr>
          <a:xfrm>
            <a:off x="10058522" y="6318048"/>
            <a:ext cx="1877910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1101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7" r:id="rId1"/>
    <p:sldLayoutId id="2147483928" r:id="rId2"/>
    <p:sldLayoutId id="2147483929" r:id="rId3"/>
    <p:sldLayoutId id="2147483930" r:id="rId4"/>
    <p:sldLayoutId id="2147483931" r:id="rId5"/>
    <p:sldLayoutId id="2147483932" r:id="rId6"/>
    <p:sldLayoutId id="2147483933" r:id="rId7"/>
    <p:sldLayoutId id="2147483934" r:id="rId8"/>
    <p:sldLayoutId id="2147483935" r:id="rId9"/>
    <p:sldLayoutId id="2147483936" r:id="rId10"/>
    <p:sldLayoutId id="2147483937" r:id="rId11"/>
    <p:sldLayoutId id="2147483938" r:id="rId12"/>
    <p:sldLayoutId id="2147483939" r:id="rId13"/>
    <p:sldLayoutId id="2147483940" r:id="rId14"/>
    <p:sldLayoutId id="2147483941" r:id="rId15"/>
    <p:sldLayoutId id="2147483942" r:id="rId16"/>
    <p:sldLayoutId id="2147483943" r:id="rId17"/>
    <p:sldLayoutId id="2147483944" r:id="rId18"/>
    <p:sldLayoutId id="2147483945" r:id="rId19"/>
    <p:sldLayoutId id="2147483946" r:id="rId20"/>
    <p:sldLayoutId id="2147483947" r:id="rId21"/>
    <p:sldLayoutId id="2147483948" r:id="rId22"/>
    <p:sldLayoutId id="2147483949" r:id="rId23"/>
    <p:sldLayoutId id="2147483950" r:id="rId24"/>
    <p:sldLayoutId id="2147483951" r:id="rId25"/>
    <p:sldLayoutId id="2147483952" r:id="rId26"/>
    <p:sldLayoutId id="2147483953" r:id="rId27"/>
    <p:sldLayoutId id="2147483954" r:id="rId28"/>
    <p:sldLayoutId id="2147483955" r:id="rId29"/>
    <p:sldLayoutId id="2147483956" r:id="rId30"/>
    <p:sldLayoutId id="2147483957" r:id="rId31"/>
    <p:sldLayoutId id="2147483958" r:id="rId32"/>
    <p:sldLayoutId id="2147483959" r:id="rId33"/>
    <p:sldLayoutId id="2147483960" r:id="rId3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defRPr sz="2800" b="1" kern="1200" baseline="0">
          <a:solidFill>
            <a:schemeClr val="tx2"/>
          </a:solidFill>
          <a:latin typeface="+mj-lt"/>
          <a:ea typeface="+mj-ea"/>
          <a:cs typeface="ING Me" pitchFamily="2" charset="0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b="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1pPr>
      <a:lvl2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2pPr>
      <a:lvl3pPr marL="266700" indent="-26670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tx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3pPr>
      <a:lvl4pPr marL="512763" indent="-26035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bg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4pPr>
      <a:lvl5pPr marL="762000" indent="-252413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accent3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721">
          <p15:clr>
            <a:srgbClr val="F26B43"/>
          </p15:clr>
        </p15:guide>
        <p15:guide id="2" pos="7140">
          <p15:clr>
            <a:srgbClr val="F26B43"/>
          </p15:clr>
        </p15:guide>
        <p15:guide id="3" pos="528">
          <p15:clr>
            <a:srgbClr val="F26B43"/>
          </p15:clr>
        </p15:guide>
        <p15:guide id="4" orient="horz" pos="173">
          <p15:clr>
            <a:srgbClr val="F26B43"/>
          </p15:clr>
        </p15:guide>
        <p15:guide id="5" orient="horz" pos="4008">
          <p15:clr>
            <a:srgbClr val="F26B43"/>
          </p15:clr>
        </p15:guide>
        <p15:guide id="6" orient="horz" pos="3906">
          <p15:clr>
            <a:srgbClr val="F26B43"/>
          </p15:clr>
        </p15:guide>
        <p15:guide id="7" orient="horz" pos="800">
          <p15:clr>
            <a:srgbClr val="F26B43"/>
          </p15:clr>
        </p15:guide>
        <p15:guide id="8" pos="7491">
          <p15:clr>
            <a:srgbClr val="F26B43"/>
          </p15:clr>
        </p15:guide>
        <p15:guide id="9" pos="437">
          <p15:clr>
            <a:srgbClr val="F26B43"/>
          </p15:clr>
        </p15:guide>
        <p15:guide id="10" pos="3834">
          <p15:clr>
            <a:srgbClr val="F26B43"/>
          </p15:clr>
        </p15:guide>
        <p15:guide id="11" orient="horz" pos="2358">
          <p15:clr>
            <a:srgbClr val="F26B43"/>
          </p15:clr>
        </p15:guide>
        <p15:guide id="12" pos="7398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14575" y="210314"/>
            <a:ext cx="10972800" cy="1166815"/>
          </a:xfrm>
          <a:prstGeom prst="rect">
            <a:avLst/>
          </a:prstGeom>
        </p:spPr>
        <p:txBody>
          <a:bodyPr vert="horz" lIns="91440" tIns="45720" rIns="91440" bIns="45720" rtlCol="0" anchor="t">
            <a:spAutoFit/>
          </a:bodyPr>
          <a:lstStyle/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 bwMode="gray">
          <a:xfrm>
            <a:off x="514574" y="1393854"/>
            <a:ext cx="10964161" cy="452547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Bullet 1, Calibri regular 24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-bullet, Calibri regular 20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en-US" dirty="0" smtClean="0"/>
              <a:t>Sub-sub-bullet, Calibri regular 18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3"/>
            <a:r>
              <a:rPr lang="en-US" dirty="0" smtClean="0"/>
              <a:t>Sub-sub-sub bullet, Calibri regular 16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4"/>
            <a:r>
              <a:rPr lang="en-US" dirty="0" smtClean="0"/>
              <a:t>Sub-sub-sub-sub bullet, Calibri regular 14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 bwMode="gray">
          <a:xfrm>
            <a:off x="525080" y="6411223"/>
            <a:ext cx="702833" cy="33439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fld id="{5F022D67-B6E1-4BFD-B491-C53D2455AE9B}" type="slidenum">
              <a:rPr lang="en-US" sz="1200" smtClean="0">
                <a:solidFill>
                  <a:srgbClr val="58676D"/>
                </a:solidFill>
                <a:ea typeface="Arial Unicode MS" pitchFamily="34" charset="-128"/>
                <a:cs typeface="Arial Unicode MS" pitchFamily="34" charset="-128"/>
              </a:rPr>
              <a:pPr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200" dirty="0">
              <a:solidFill>
                <a:srgbClr val="58676D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" name="TextBox 9"/>
          <p:cNvSpPr txBox="1"/>
          <p:nvPr userDrawn="1"/>
        </p:nvSpPr>
        <p:spPr bwMode="gray">
          <a:xfrm>
            <a:off x="5015653" y="6352078"/>
            <a:ext cx="2110471" cy="388733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33" cap="all" dirty="0" smtClean="0">
                <a:solidFill>
                  <a:srgbClr val="58676D"/>
                </a:solidFill>
                <a:ea typeface="Arial Unicode MS" pitchFamily="34" charset="-128"/>
                <a:cs typeface="Arial Unicode MS" pitchFamily="34" charset="-128"/>
              </a:rPr>
              <a:t>© 2016 CA. All rights reserved.</a:t>
            </a:r>
          </a:p>
        </p:txBody>
      </p:sp>
      <p:pic>
        <p:nvPicPr>
          <p:cNvPr id="11" name="Picture 10" descr="CAW16_gry-01.png"/>
          <p:cNvPicPr>
            <a:picLocks noChangeAspect="1"/>
          </p:cNvPicPr>
          <p:nvPr userDrawn="1"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4880" y="6473556"/>
            <a:ext cx="1133856" cy="215112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>
            <a:off x="10232052" y="6411223"/>
            <a:ext cx="0" cy="343733"/>
          </a:xfrm>
          <a:prstGeom prst="line">
            <a:avLst/>
          </a:prstGeom>
          <a:ln w="9525" cmpd="sng">
            <a:solidFill>
              <a:srgbClr val="96A8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29712" y="6473937"/>
            <a:ext cx="862445" cy="214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6592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8" r:id="rId1"/>
    <p:sldLayoutId id="2147483979" r:id="rId2"/>
    <p:sldLayoutId id="2147483980" r:id="rId3"/>
    <p:sldLayoutId id="2147483981" r:id="rId4"/>
    <p:sldLayoutId id="2147483982" r:id="rId5"/>
    <p:sldLayoutId id="2147483983" r:id="rId6"/>
    <p:sldLayoutId id="2147483984" r:id="rId7"/>
    <p:sldLayoutId id="2147483985" r:id="rId8"/>
    <p:sldLayoutId id="2147483986" r:id="rId9"/>
    <p:sldLayoutId id="2147483987" r:id="rId10"/>
    <p:sldLayoutId id="2147483988" r:id="rId11"/>
    <p:sldLayoutId id="2147483989" r:id="rId12"/>
    <p:sldLayoutId id="2147483990" r:id="rId13"/>
    <p:sldLayoutId id="2147483991" r:id="rId14"/>
    <p:sldLayoutId id="2147483992" r:id="rId15"/>
    <p:sldLayoutId id="2147483993" r:id="rId16"/>
    <p:sldLayoutId id="2147483994" r:id="rId17"/>
    <p:sldLayoutId id="2147483995" r:id="rId18"/>
    <p:sldLayoutId id="2147483996" r:id="rId19"/>
    <p:sldLayoutId id="2147483997" r:id="rId2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lang="en-US" sz="3733" b="0" i="0" u="none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609585" rtl="0" eaLnBrk="1" latinLnBrk="0" hangingPunct="1">
        <a:lnSpc>
          <a:spcPts val="3840"/>
        </a:lnSpc>
        <a:spcBef>
          <a:spcPts val="1600"/>
        </a:spcBef>
        <a:spcAft>
          <a:spcPts val="267"/>
        </a:spcAft>
        <a:buClr>
          <a:schemeClr val="tx1"/>
        </a:buClr>
        <a:buFont typeface="Wingdings" charset="2"/>
        <a:buChar char="§"/>
        <a:defRPr sz="3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905911" indent="-380990" algn="l" defTabSz="609585" rtl="0" eaLnBrk="1" latinLnBrk="0" hangingPunct="1">
        <a:lnSpc>
          <a:spcPts val="2933"/>
        </a:lnSpc>
        <a:spcBef>
          <a:spcPts val="0"/>
        </a:spcBef>
        <a:spcAft>
          <a:spcPts val="800"/>
        </a:spcAft>
        <a:buClr>
          <a:schemeClr val="tx1"/>
        </a:buClr>
        <a:buFont typeface="Arial"/>
        <a:buChar char="–"/>
        <a:defRPr sz="2667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303834" indent="-304792" algn="l" defTabSz="609585" rtl="0" eaLnBrk="1" latinLnBrk="0" hangingPunct="1">
        <a:lnSpc>
          <a:spcPts val="2933"/>
        </a:lnSpc>
        <a:spcBef>
          <a:spcPts val="0"/>
        </a:spcBef>
        <a:spcAft>
          <a:spcPts val="800"/>
        </a:spcAft>
        <a:buClr>
          <a:schemeClr val="tx1"/>
        </a:buClr>
        <a:buFont typeface="Wingdings" charset="2"/>
        <a:buChar char="§"/>
        <a:defRPr sz="2400" b="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761023" marR="0" indent="-304792" algn="l" defTabSz="609585" rtl="0" eaLnBrk="1" fontAlgn="auto" latinLnBrk="0" hangingPunct="1">
        <a:lnSpc>
          <a:spcPts val="2933"/>
        </a:lnSpc>
        <a:spcBef>
          <a:spcPts val="0"/>
        </a:spcBef>
        <a:spcAft>
          <a:spcPts val="800"/>
        </a:spcAft>
        <a:buClr>
          <a:schemeClr val="tx1"/>
        </a:buClr>
        <a:buSzTx/>
        <a:buFont typeface="Arial"/>
        <a:buChar char="–"/>
        <a:tabLst/>
        <a:defRPr sz="2133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133547" indent="-304792" algn="l" defTabSz="609585" rtl="0" eaLnBrk="1" latinLnBrk="0" hangingPunct="1">
        <a:lnSpc>
          <a:spcPts val="2933"/>
        </a:lnSpc>
        <a:spcBef>
          <a:spcPts val="0"/>
        </a:spcBef>
        <a:spcAft>
          <a:spcPts val="800"/>
        </a:spcAft>
        <a:buClr>
          <a:schemeClr val="tx1"/>
        </a:buClr>
        <a:buFont typeface="Wingdings" charset="2"/>
        <a:buChar char="§"/>
        <a:tabLst/>
        <a:defRPr sz="1867" b="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14575" y="210314"/>
            <a:ext cx="10972800" cy="1166815"/>
          </a:xfrm>
          <a:prstGeom prst="rect">
            <a:avLst/>
          </a:prstGeom>
        </p:spPr>
        <p:txBody>
          <a:bodyPr vert="horz" lIns="91440" tIns="45720" rIns="91440" bIns="45720" rtlCol="0" anchor="t">
            <a:spAutoFit/>
          </a:bodyPr>
          <a:lstStyle/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 bwMode="gray">
          <a:xfrm>
            <a:off x="505936" y="1393854"/>
            <a:ext cx="10972800" cy="452547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Bullet 1, Calibri regular 24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-bullet, Calibri regular 20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en-US" dirty="0" smtClean="0"/>
              <a:t>Sub-sub-bullet, Calibri regular 18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3"/>
            <a:r>
              <a:rPr lang="en-US" dirty="0" smtClean="0"/>
              <a:t>Sub-sub-sub bullet, Calibri regular 16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4"/>
            <a:r>
              <a:rPr lang="en-US" dirty="0" smtClean="0"/>
              <a:t>Sub-sub-sub-sub bullet, Calibri regular 14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 bwMode="gray">
          <a:xfrm>
            <a:off x="525080" y="6411223"/>
            <a:ext cx="702833" cy="33439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fld id="{5F022D67-B6E1-4BFD-B491-C53D2455AE9B}" type="slidenum">
              <a:rPr lang="en-US" sz="1200" smtClean="0">
                <a:solidFill>
                  <a:srgbClr val="58676D"/>
                </a:solidFill>
                <a:ea typeface="Arial Unicode MS" pitchFamily="34" charset="-128"/>
                <a:cs typeface="Arial Unicode MS" pitchFamily="34" charset="-128"/>
              </a:rPr>
              <a:pPr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200" dirty="0">
              <a:solidFill>
                <a:srgbClr val="58676D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2" name="TextBox 11"/>
          <p:cNvSpPr txBox="1"/>
          <p:nvPr userDrawn="1"/>
        </p:nvSpPr>
        <p:spPr bwMode="gray">
          <a:xfrm>
            <a:off x="5015653" y="6352078"/>
            <a:ext cx="2110471" cy="388733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33" cap="all" dirty="0" smtClean="0">
                <a:solidFill>
                  <a:srgbClr val="58676D"/>
                </a:solidFill>
                <a:ea typeface="Arial Unicode MS" pitchFamily="34" charset="-128"/>
                <a:cs typeface="Arial Unicode MS" pitchFamily="34" charset="-128"/>
              </a:rPr>
              <a:t>© 2016 CA. All rights reserved.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5432" y="6411223"/>
            <a:ext cx="1030515" cy="249821"/>
          </a:xfrm>
          <a:prstGeom prst="rect">
            <a:avLst/>
          </a:prstGeom>
        </p:spPr>
      </p:pic>
      <p:sp>
        <p:nvSpPr>
          <p:cNvPr id="21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en-US" dirty="0">
              <a:solidFill>
                <a:srgbClr val="20343A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4653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4000" r:id="rId2"/>
    <p:sldLayoutId id="2147484001" r:id="rId3"/>
    <p:sldLayoutId id="2147484002" r:id="rId4"/>
    <p:sldLayoutId id="2147484003" r:id="rId5"/>
    <p:sldLayoutId id="2147484004" r:id="rId6"/>
    <p:sldLayoutId id="2147484005" r:id="rId7"/>
    <p:sldLayoutId id="2147484006" r:id="rId8"/>
    <p:sldLayoutId id="2147484007" r:id="rId9"/>
    <p:sldLayoutId id="2147484008" r:id="rId10"/>
    <p:sldLayoutId id="2147484009" r:id="rId11"/>
    <p:sldLayoutId id="2147484010" r:id="rId12"/>
    <p:sldLayoutId id="2147484011" r:id="rId13"/>
    <p:sldLayoutId id="2147484012" r:id="rId14"/>
    <p:sldLayoutId id="2147484013" r:id="rId15"/>
    <p:sldLayoutId id="2147484014" r:id="rId16"/>
    <p:sldLayoutId id="2147484015" r:id="rId17"/>
    <p:sldLayoutId id="2147484016" r:id="rId18"/>
    <p:sldLayoutId id="2147484017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lang="en-US" sz="3733" b="0" i="0" u="none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609585" rtl="0" eaLnBrk="1" latinLnBrk="0" hangingPunct="1">
        <a:lnSpc>
          <a:spcPts val="3840"/>
        </a:lnSpc>
        <a:spcBef>
          <a:spcPts val="1600"/>
        </a:spcBef>
        <a:spcAft>
          <a:spcPts val="267"/>
        </a:spcAft>
        <a:buClr>
          <a:schemeClr val="tx1"/>
        </a:buClr>
        <a:buFont typeface="Wingdings" charset="2"/>
        <a:buChar char="§"/>
        <a:defRPr sz="3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905911" indent="-380990" algn="l" defTabSz="609585" rtl="0" eaLnBrk="1" latinLnBrk="0" hangingPunct="1">
        <a:lnSpc>
          <a:spcPts val="2933"/>
        </a:lnSpc>
        <a:spcBef>
          <a:spcPts val="0"/>
        </a:spcBef>
        <a:spcAft>
          <a:spcPts val="800"/>
        </a:spcAft>
        <a:buClr>
          <a:schemeClr val="tx1"/>
        </a:buClr>
        <a:buFont typeface="Arial"/>
        <a:buChar char="–"/>
        <a:defRPr sz="2667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303834" indent="-304792" algn="l" defTabSz="609585" rtl="0" eaLnBrk="1" latinLnBrk="0" hangingPunct="1">
        <a:lnSpc>
          <a:spcPts val="2933"/>
        </a:lnSpc>
        <a:spcBef>
          <a:spcPts val="0"/>
        </a:spcBef>
        <a:spcAft>
          <a:spcPts val="800"/>
        </a:spcAft>
        <a:buClr>
          <a:schemeClr val="tx1"/>
        </a:buClr>
        <a:buFont typeface="Wingdings" charset="2"/>
        <a:buChar char="§"/>
        <a:defRPr sz="2400" b="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761023" marR="0" indent="-304792" algn="l" defTabSz="609585" rtl="0" eaLnBrk="1" fontAlgn="auto" latinLnBrk="0" hangingPunct="1">
        <a:lnSpc>
          <a:spcPts val="2933"/>
        </a:lnSpc>
        <a:spcBef>
          <a:spcPts val="0"/>
        </a:spcBef>
        <a:spcAft>
          <a:spcPts val="800"/>
        </a:spcAft>
        <a:buClr>
          <a:schemeClr val="tx1"/>
        </a:buClr>
        <a:buSzTx/>
        <a:buFont typeface="Arial"/>
        <a:buChar char="–"/>
        <a:tabLst/>
        <a:defRPr sz="2133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133547" indent="-304792" algn="l" defTabSz="609585" rtl="0" eaLnBrk="1" latinLnBrk="0" hangingPunct="1">
        <a:lnSpc>
          <a:spcPts val="2933"/>
        </a:lnSpc>
        <a:spcBef>
          <a:spcPts val="0"/>
        </a:spcBef>
        <a:spcAft>
          <a:spcPts val="800"/>
        </a:spcAft>
        <a:buClr>
          <a:schemeClr val="tx1"/>
        </a:buClr>
        <a:buFont typeface="Wingdings" charset="2"/>
        <a:buChar char="§"/>
        <a:tabLst/>
        <a:defRPr sz="1867" b="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814"/>
            <a:ext cx="3860800" cy="36372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65" baseline="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defTabSz="609585"/>
            <a:r>
              <a:rPr lang="en-US" smtClean="0">
                <a:solidFill>
                  <a:prstClr val="white">
                    <a:lumMod val="75000"/>
                  </a:prstClr>
                </a:solidFill>
              </a:rPr>
              <a:t>© 2016 CA. All RIGHTS RESERVED.</a:t>
            </a:r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03253" y="6356814"/>
            <a:ext cx="523335" cy="36372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5" baseline="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defTabSz="609585"/>
            <a:fld id="{B253FF73-56A9-104A-8EEB-34ED56CC4EE9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 defTabSz="609585"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98669" y="6417682"/>
            <a:ext cx="1125203" cy="213273"/>
          </a:xfrm>
          <a:prstGeom prst="rect">
            <a:avLst/>
          </a:prstGeom>
        </p:spPr>
      </p:pic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1615229" y="6356814"/>
            <a:ext cx="3860800" cy="363729"/>
          </a:xfrm>
          <a:prstGeom prst="rect">
            <a:avLst/>
          </a:prstGeom>
        </p:spPr>
        <p:txBody>
          <a:bodyPr vert="horz" lIns="121807" tIns="60904" rIns="121807" bIns="60904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65" dirty="0" smtClean="0">
                <a:solidFill>
                  <a:prstClr val="white">
                    <a:lumMod val="75000"/>
                  </a:prstClr>
                </a:solidFill>
              </a:rPr>
              <a:t>@CAWORLD     #CAWORLD</a:t>
            </a:r>
            <a:endParaRPr lang="en-US" sz="1065" dirty="0">
              <a:solidFill>
                <a:prstClr val="white">
                  <a:lumMod val="75000"/>
                </a:prstClr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"/>
            <a:ext cx="12192000" cy="2771589"/>
          </a:xfrm>
          <a:prstGeom prst="rect">
            <a:avLst/>
          </a:prstGeom>
        </p:spPr>
      </p:pic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4165600" y="6356814"/>
            <a:ext cx="3860800" cy="363729"/>
          </a:xfrm>
          <a:prstGeom prst="rect">
            <a:avLst/>
          </a:prstGeom>
        </p:spPr>
        <p:txBody>
          <a:bodyPr vert="horz" lIns="121807" tIns="60904" rIns="121807" bIns="60904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65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© 2016 CA. All RIGHTS RESERVED.</a:t>
            </a:r>
            <a:endParaRPr lang="en-US" sz="1065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603253" y="6356814"/>
            <a:ext cx="523335" cy="363729"/>
          </a:xfrm>
          <a:prstGeom prst="rect">
            <a:avLst/>
          </a:prstGeom>
        </p:spPr>
        <p:txBody>
          <a:bodyPr vert="horz" lIns="121807" tIns="60904" rIns="121807" bIns="60904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253FF73-56A9-104A-8EEB-34ED56CC4EE9}" type="slidenum">
              <a:rPr lang="en-US" sz="1065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en-US" sz="1065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Footer Placeholder 4"/>
          <p:cNvSpPr txBox="1">
            <a:spLocks/>
          </p:cNvSpPr>
          <p:nvPr userDrawn="1"/>
        </p:nvSpPr>
        <p:spPr>
          <a:xfrm>
            <a:off x="1615229" y="6356814"/>
            <a:ext cx="3860800" cy="363729"/>
          </a:xfrm>
          <a:prstGeom prst="rect">
            <a:avLst/>
          </a:prstGeom>
        </p:spPr>
        <p:txBody>
          <a:bodyPr vert="horz" lIns="121807" tIns="60904" rIns="121807" bIns="60904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65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@CAWORLD     #CAWORLD</a:t>
            </a:r>
            <a:endParaRPr lang="en-US" sz="1065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6935" y="6409385"/>
            <a:ext cx="1277352" cy="242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6852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609037" rtl="0" eaLnBrk="1" latinLnBrk="0" hangingPunct="1">
        <a:lnSpc>
          <a:spcPct val="90000"/>
        </a:lnSpc>
        <a:spcBef>
          <a:spcPct val="0"/>
        </a:spcBef>
        <a:buNone/>
        <a:defRPr lang="en-US" sz="1865" b="1" i="0" u="none" kern="1200" cap="all" baseline="0" dirty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ctr" defTabSz="609037" rtl="0" eaLnBrk="1" latinLnBrk="0" hangingPunct="1">
        <a:lnSpc>
          <a:spcPts val="2397"/>
        </a:lnSpc>
        <a:spcBef>
          <a:spcPts val="267"/>
        </a:spcBef>
        <a:spcAft>
          <a:spcPts val="267"/>
        </a:spcAft>
        <a:buClr>
          <a:schemeClr val="tx1"/>
        </a:buClr>
        <a:buFontTx/>
        <a:buNone/>
        <a:defRPr sz="3197" b="1" i="0" kern="800" baseline="0">
          <a:solidFill>
            <a:schemeClr val="tx1"/>
          </a:solidFill>
          <a:latin typeface="+mn-lt"/>
          <a:ea typeface="+mn-ea"/>
          <a:cs typeface="+mn-cs"/>
        </a:defRPr>
      </a:lvl1pPr>
      <a:lvl2pPr marL="524448" indent="0" algn="ctr" defTabSz="609037" rtl="0" eaLnBrk="1" latinLnBrk="0" hangingPunct="1">
        <a:lnSpc>
          <a:spcPts val="2931"/>
        </a:lnSpc>
        <a:spcBef>
          <a:spcPts val="0"/>
        </a:spcBef>
        <a:spcAft>
          <a:spcPts val="799"/>
        </a:spcAft>
        <a:buClr>
          <a:schemeClr val="tx1"/>
        </a:buClr>
        <a:buFontTx/>
        <a:buNone/>
        <a:defRPr sz="2664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98143" indent="0" algn="ctr" defTabSz="609037" rtl="0" eaLnBrk="1" latinLnBrk="0" hangingPunct="1">
        <a:lnSpc>
          <a:spcPts val="2931"/>
        </a:lnSpc>
        <a:spcBef>
          <a:spcPts val="0"/>
        </a:spcBef>
        <a:spcAft>
          <a:spcPts val="799"/>
        </a:spcAft>
        <a:buClr>
          <a:schemeClr val="tx1"/>
        </a:buClr>
        <a:buFontTx/>
        <a:buNone/>
        <a:defRPr sz="2397" b="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454920" marR="0" indent="0" algn="ctr" defTabSz="609037" rtl="0" eaLnBrk="1" fontAlgn="auto" latinLnBrk="0" hangingPunct="1">
        <a:lnSpc>
          <a:spcPts val="2931"/>
        </a:lnSpc>
        <a:spcBef>
          <a:spcPts val="0"/>
        </a:spcBef>
        <a:spcAft>
          <a:spcPts val="799"/>
        </a:spcAft>
        <a:buClr>
          <a:schemeClr val="tx1"/>
        </a:buClr>
        <a:buSzTx/>
        <a:buFontTx/>
        <a:buNone/>
        <a:tabLst/>
        <a:defRPr sz="2132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7109" indent="0" algn="ctr" defTabSz="609037" rtl="0" eaLnBrk="1" latinLnBrk="0" hangingPunct="1">
        <a:lnSpc>
          <a:spcPts val="2931"/>
        </a:lnSpc>
        <a:spcBef>
          <a:spcPts val="0"/>
        </a:spcBef>
        <a:spcAft>
          <a:spcPts val="799"/>
        </a:spcAft>
        <a:buClr>
          <a:schemeClr val="tx1"/>
        </a:buClr>
        <a:buFontTx/>
        <a:buNone/>
        <a:tabLst/>
        <a:defRPr sz="1865" b="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3349699" indent="-304518" algn="l" defTabSz="609037" rtl="0" eaLnBrk="1" latinLnBrk="0" hangingPunct="1">
        <a:spcBef>
          <a:spcPct val="20000"/>
        </a:spcBef>
        <a:buFont typeface="Arial"/>
        <a:buChar char="•"/>
        <a:defRPr sz="2664" kern="1200">
          <a:solidFill>
            <a:schemeClr val="tx1"/>
          </a:solidFill>
          <a:latin typeface="+mn-lt"/>
          <a:ea typeface="+mn-ea"/>
          <a:cs typeface="+mn-cs"/>
        </a:defRPr>
      </a:lvl6pPr>
      <a:lvl7pPr marL="3958734" indent="-304518" algn="l" defTabSz="609037" rtl="0" eaLnBrk="1" latinLnBrk="0" hangingPunct="1">
        <a:spcBef>
          <a:spcPct val="20000"/>
        </a:spcBef>
        <a:buFont typeface="Arial"/>
        <a:buChar char="•"/>
        <a:defRPr sz="2664" kern="1200">
          <a:solidFill>
            <a:schemeClr val="tx1"/>
          </a:solidFill>
          <a:latin typeface="+mn-lt"/>
          <a:ea typeface="+mn-ea"/>
          <a:cs typeface="+mn-cs"/>
        </a:defRPr>
      </a:lvl7pPr>
      <a:lvl8pPr marL="4567771" indent="-304518" algn="l" defTabSz="609037" rtl="0" eaLnBrk="1" latinLnBrk="0" hangingPunct="1">
        <a:spcBef>
          <a:spcPct val="20000"/>
        </a:spcBef>
        <a:buFont typeface="Arial"/>
        <a:buChar char="•"/>
        <a:defRPr sz="2664" kern="1200">
          <a:solidFill>
            <a:schemeClr val="tx1"/>
          </a:solidFill>
          <a:latin typeface="+mn-lt"/>
          <a:ea typeface="+mn-ea"/>
          <a:cs typeface="+mn-cs"/>
        </a:defRPr>
      </a:lvl8pPr>
      <a:lvl9pPr marL="5176807" indent="-304518" algn="l" defTabSz="609037" rtl="0" eaLnBrk="1" latinLnBrk="0" hangingPunct="1">
        <a:spcBef>
          <a:spcPct val="20000"/>
        </a:spcBef>
        <a:buFont typeface="Arial"/>
        <a:buChar char="•"/>
        <a:defRPr sz="266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037" rtl="0" eaLnBrk="1" latinLnBrk="0" hangingPunct="1">
        <a:defRPr sz="2397" kern="1200">
          <a:solidFill>
            <a:schemeClr val="tx1"/>
          </a:solidFill>
          <a:latin typeface="+mn-lt"/>
          <a:ea typeface="+mn-ea"/>
          <a:cs typeface="+mn-cs"/>
        </a:defRPr>
      </a:lvl1pPr>
      <a:lvl2pPr marL="609037" algn="l" defTabSz="609037" rtl="0" eaLnBrk="1" latinLnBrk="0" hangingPunct="1">
        <a:defRPr sz="2397" kern="1200">
          <a:solidFill>
            <a:schemeClr val="tx1"/>
          </a:solidFill>
          <a:latin typeface="+mn-lt"/>
          <a:ea typeface="+mn-ea"/>
          <a:cs typeface="+mn-cs"/>
        </a:defRPr>
      </a:lvl2pPr>
      <a:lvl3pPr marL="1218072" algn="l" defTabSz="609037" rtl="0" eaLnBrk="1" latinLnBrk="0" hangingPunct="1">
        <a:defRPr sz="2397" kern="1200">
          <a:solidFill>
            <a:schemeClr val="tx1"/>
          </a:solidFill>
          <a:latin typeface="+mn-lt"/>
          <a:ea typeface="+mn-ea"/>
          <a:cs typeface="+mn-cs"/>
        </a:defRPr>
      </a:lvl3pPr>
      <a:lvl4pPr marL="1827109" algn="l" defTabSz="609037" rtl="0" eaLnBrk="1" latinLnBrk="0" hangingPunct="1">
        <a:defRPr sz="2397" kern="1200">
          <a:solidFill>
            <a:schemeClr val="tx1"/>
          </a:solidFill>
          <a:latin typeface="+mn-lt"/>
          <a:ea typeface="+mn-ea"/>
          <a:cs typeface="+mn-cs"/>
        </a:defRPr>
      </a:lvl4pPr>
      <a:lvl5pPr marL="2436144" algn="l" defTabSz="609037" rtl="0" eaLnBrk="1" latinLnBrk="0" hangingPunct="1">
        <a:defRPr sz="2397" kern="1200">
          <a:solidFill>
            <a:schemeClr val="tx1"/>
          </a:solidFill>
          <a:latin typeface="+mn-lt"/>
          <a:ea typeface="+mn-ea"/>
          <a:cs typeface="+mn-cs"/>
        </a:defRPr>
      </a:lvl5pPr>
      <a:lvl6pPr marL="3045181" algn="l" defTabSz="609037" rtl="0" eaLnBrk="1" latinLnBrk="0" hangingPunct="1">
        <a:defRPr sz="2397" kern="1200">
          <a:solidFill>
            <a:schemeClr val="tx1"/>
          </a:solidFill>
          <a:latin typeface="+mn-lt"/>
          <a:ea typeface="+mn-ea"/>
          <a:cs typeface="+mn-cs"/>
        </a:defRPr>
      </a:lvl6pPr>
      <a:lvl7pPr marL="3654217" algn="l" defTabSz="609037" rtl="0" eaLnBrk="1" latinLnBrk="0" hangingPunct="1">
        <a:defRPr sz="2397" kern="1200">
          <a:solidFill>
            <a:schemeClr val="tx1"/>
          </a:solidFill>
          <a:latin typeface="+mn-lt"/>
          <a:ea typeface="+mn-ea"/>
          <a:cs typeface="+mn-cs"/>
        </a:defRPr>
      </a:lvl7pPr>
      <a:lvl8pPr marL="4263253" algn="l" defTabSz="609037" rtl="0" eaLnBrk="1" latinLnBrk="0" hangingPunct="1">
        <a:defRPr sz="2397" kern="1200">
          <a:solidFill>
            <a:schemeClr val="tx1"/>
          </a:solidFill>
          <a:latin typeface="+mn-lt"/>
          <a:ea typeface="+mn-ea"/>
          <a:cs typeface="+mn-cs"/>
        </a:defRPr>
      </a:lvl8pPr>
      <a:lvl9pPr marL="4872289" algn="l" defTabSz="609037" rtl="0" eaLnBrk="1" latinLnBrk="0" hangingPunct="1">
        <a:defRPr sz="23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14575" y="210314"/>
            <a:ext cx="10972800" cy="1166815"/>
          </a:xfrm>
          <a:prstGeom prst="rect">
            <a:avLst/>
          </a:prstGeom>
        </p:spPr>
        <p:txBody>
          <a:bodyPr vert="horz" lIns="91440" tIns="45720" rIns="91440" bIns="45720" rtlCol="0" anchor="t">
            <a:spAutoFit/>
          </a:bodyPr>
          <a:lstStyle/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 bwMode="gray">
          <a:xfrm>
            <a:off x="505936" y="1393854"/>
            <a:ext cx="10972800" cy="452547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Bullet 1, Calibri regular 24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-bullet, Calibri regular 20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en-US" dirty="0" smtClean="0"/>
              <a:t>Sub-sub-bullet, Calibri regular 18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3"/>
            <a:r>
              <a:rPr lang="en-US" dirty="0" smtClean="0"/>
              <a:t>Sub-sub-sub bullet, Calibri regular 16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4"/>
            <a:r>
              <a:rPr lang="en-US" dirty="0" smtClean="0"/>
              <a:t>Sub-sub-sub-sub bullet, Calibri regular 14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 bwMode="gray">
          <a:xfrm>
            <a:off x="525080" y="6411223"/>
            <a:ext cx="702833" cy="33439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fld id="{5F022D67-B6E1-4BFD-B491-C53D2455AE9B}" type="slidenum">
              <a:rPr lang="en-US" sz="1200" smtClean="0">
                <a:solidFill>
                  <a:srgbClr val="58676D"/>
                </a:solidFill>
                <a:ea typeface="Arial Unicode MS" pitchFamily="34" charset="-128"/>
                <a:cs typeface="Arial Unicode MS" pitchFamily="34" charset="-128"/>
              </a:rPr>
              <a:pPr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200" dirty="0">
              <a:solidFill>
                <a:srgbClr val="58676D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" name="TextBox 9"/>
          <p:cNvSpPr txBox="1"/>
          <p:nvPr/>
        </p:nvSpPr>
        <p:spPr bwMode="gray">
          <a:xfrm>
            <a:off x="5015653" y="6352078"/>
            <a:ext cx="2110471" cy="388733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33" cap="all" dirty="0" smtClean="0">
                <a:solidFill>
                  <a:srgbClr val="58676D"/>
                </a:solidFill>
                <a:ea typeface="Arial Unicode MS" pitchFamily="34" charset="-128"/>
                <a:cs typeface="Arial Unicode MS" pitchFamily="34" charset="-128"/>
              </a:rPr>
              <a:t>© 2016 CA. All rights reserved.</a:t>
            </a:r>
          </a:p>
        </p:txBody>
      </p:sp>
      <p:sp>
        <p:nvSpPr>
          <p:cNvPr id="7" name="TextBox 6"/>
          <p:cNvSpPr txBox="1"/>
          <p:nvPr/>
        </p:nvSpPr>
        <p:spPr bwMode="gray">
          <a:xfrm>
            <a:off x="1165860" y="6384054"/>
            <a:ext cx="2741507" cy="388733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33" cap="all" dirty="0" smtClean="0">
                <a:solidFill>
                  <a:srgbClr val="58676D"/>
                </a:solidFill>
                <a:ea typeface="Arial Unicode MS" pitchFamily="34" charset="-128"/>
                <a:cs typeface="Arial Unicode MS" pitchFamily="34" charset="-128"/>
              </a:rPr>
              <a:t>@CAWorld    #CAWORLD</a:t>
            </a:r>
          </a:p>
        </p:txBody>
      </p:sp>
      <p:pic>
        <p:nvPicPr>
          <p:cNvPr id="11" name="Picture 10" descr="CAW16_gry-01.png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4880" y="6473556"/>
            <a:ext cx="1133856" cy="215112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>
            <a:off x="10232052" y="6411223"/>
            <a:ext cx="0" cy="343733"/>
          </a:xfrm>
          <a:prstGeom prst="line">
            <a:avLst/>
          </a:prstGeom>
          <a:ln w="9525" cmpd="sng">
            <a:solidFill>
              <a:srgbClr val="96A8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35975" y="6431117"/>
            <a:ext cx="1183250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410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1" r:id="rId1"/>
    <p:sldLayoutId id="2147484022" r:id="rId2"/>
    <p:sldLayoutId id="2147484023" r:id="rId3"/>
    <p:sldLayoutId id="2147484024" r:id="rId4"/>
    <p:sldLayoutId id="2147484025" r:id="rId5"/>
    <p:sldLayoutId id="2147484026" r:id="rId6"/>
    <p:sldLayoutId id="2147484027" r:id="rId7"/>
    <p:sldLayoutId id="2147484028" r:id="rId8"/>
    <p:sldLayoutId id="2147484029" r:id="rId9"/>
    <p:sldLayoutId id="2147484030" r:id="rId10"/>
    <p:sldLayoutId id="2147484031" r:id="rId11"/>
    <p:sldLayoutId id="2147484032" r:id="rId12"/>
    <p:sldLayoutId id="2147484033" r:id="rId13"/>
    <p:sldLayoutId id="2147484034" r:id="rId14"/>
    <p:sldLayoutId id="2147484035" r:id="rId15"/>
    <p:sldLayoutId id="2147484036" r:id="rId16"/>
    <p:sldLayoutId id="2147484037" r:id="rId17"/>
    <p:sldLayoutId id="2147484038" r:id="rId18"/>
    <p:sldLayoutId id="2147484039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lang="en-US" sz="3733" b="0" i="0" u="none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609585" rtl="0" eaLnBrk="1" latinLnBrk="0" hangingPunct="1">
        <a:lnSpc>
          <a:spcPts val="3840"/>
        </a:lnSpc>
        <a:spcBef>
          <a:spcPts val="1600"/>
        </a:spcBef>
        <a:spcAft>
          <a:spcPts val="267"/>
        </a:spcAft>
        <a:buClr>
          <a:schemeClr val="tx1"/>
        </a:buClr>
        <a:buFont typeface="Wingdings" charset="2"/>
        <a:buChar char="§"/>
        <a:defRPr sz="3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905911" indent="-380990" algn="l" defTabSz="609585" rtl="0" eaLnBrk="1" latinLnBrk="0" hangingPunct="1">
        <a:lnSpc>
          <a:spcPts val="2933"/>
        </a:lnSpc>
        <a:spcBef>
          <a:spcPts val="0"/>
        </a:spcBef>
        <a:spcAft>
          <a:spcPts val="800"/>
        </a:spcAft>
        <a:buClr>
          <a:schemeClr val="tx1"/>
        </a:buClr>
        <a:buFont typeface="Arial"/>
        <a:buChar char="–"/>
        <a:defRPr sz="2667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303834" indent="-304792" algn="l" defTabSz="609585" rtl="0" eaLnBrk="1" latinLnBrk="0" hangingPunct="1">
        <a:lnSpc>
          <a:spcPts val="2933"/>
        </a:lnSpc>
        <a:spcBef>
          <a:spcPts val="0"/>
        </a:spcBef>
        <a:spcAft>
          <a:spcPts val="800"/>
        </a:spcAft>
        <a:buClr>
          <a:schemeClr val="tx1"/>
        </a:buClr>
        <a:buFont typeface="Wingdings" charset="2"/>
        <a:buChar char="§"/>
        <a:defRPr sz="2400" b="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761023" marR="0" indent="-304792" algn="l" defTabSz="609585" rtl="0" eaLnBrk="1" fontAlgn="auto" latinLnBrk="0" hangingPunct="1">
        <a:lnSpc>
          <a:spcPts val="2933"/>
        </a:lnSpc>
        <a:spcBef>
          <a:spcPts val="0"/>
        </a:spcBef>
        <a:spcAft>
          <a:spcPts val="800"/>
        </a:spcAft>
        <a:buClr>
          <a:schemeClr val="tx1"/>
        </a:buClr>
        <a:buSzTx/>
        <a:buFont typeface="Arial"/>
        <a:buChar char="–"/>
        <a:tabLst/>
        <a:defRPr sz="2133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133547" indent="-304792" algn="l" defTabSz="609585" rtl="0" eaLnBrk="1" latinLnBrk="0" hangingPunct="1">
        <a:lnSpc>
          <a:spcPts val="2933"/>
        </a:lnSpc>
        <a:spcBef>
          <a:spcPts val="0"/>
        </a:spcBef>
        <a:spcAft>
          <a:spcPts val="800"/>
        </a:spcAft>
        <a:buClr>
          <a:schemeClr val="tx1"/>
        </a:buClr>
        <a:buFont typeface="Wingdings" charset="2"/>
        <a:buChar char="§"/>
        <a:tabLst/>
        <a:defRPr sz="1867" b="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38.xml"/><Relationship Id="rId7" Type="http://schemas.openxmlformats.org/officeDocument/2006/relationships/image" Target="../media/image2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8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1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8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37.jpeg"/><Relationship Id="rId4" Type="http://schemas.openxmlformats.org/officeDocument/2006/relationships/image" Target="../media/image36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5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g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g"/><Relationship Id="rId1" Type="http://schemas.openxmlformats.org/officeDocument/2006/relationships/slideLayout" Target="../slideLayouts/slideLayout29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8.emf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g"/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g"/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1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g"/><Relationship Id="rId1" Type="http://schemas.openxmlformats.org/officeDocument/2006/relationships/slideLayout" Target="../slideLayouts/slideLayout1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8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image" Target="../media/image54.png"/><Relationship Id="rId7" Type="http://schemas.openxmlformats.org/officeDocument/2006/relationships/image" Target="../media/image58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30" name="think-cell Slide" r:id="rId5" imgW="473" imgH="470" progId="TCLayout.ActiveDocument.1">
                  <p:embed/>
                </p:oleObj>
              </mc:Choice>
              <mc:Fallback>
                <p:oleObj name="think-cell Slide" r:id="rId5" imgW="473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Global Continuous Delivery in a Financial Organization</a:t>
            </a:r>
            <a:endParaRPr lang="en-GB" dirty="0"/>
          </a:p>
        </p:txBody>
      </p:sp>
      <p:sp>
        <p:nvSpPr>
          <p:cNvPr id="9" name="Oval 8"/>
          <p:cNvSpPr/>
          <p:nvPr/>
        </p:nvSpPr>
        <p:spPr>
          <a:xfrm>
            <a:off x="8105166" y="3592533"/>
            <a:ext cx="1620000" cy="1620000"/>
          </a:xfrm>
          <a:prstGeom prst="ellipse">
            <a:avLst/>
          </a:prstGeom>
          <a:solidFill>
            <a:srgbClr val="FF6200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600" smtClean="0">
              <a:solidFill>
                <a:prstClr val="white"/>
              </a:solidFill>
            </a:endParaRPr>
          </a:p>
        </p:txBody>
      </p:sp>
      <p:sp>
        <p:nvSpPr>
          <p:cNvPr id="15" name="Oval 14"/>
          <p:cNvSpPr/>
          <p:nvPr/>
        </p:nvSpPr>
        <p:spPr>
          <a:xfrm>
            <a:off x="8285166" y="3772908"/>
            <a:ext cx="1260000" cy="125925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600" smtClean="0">
              <a:solidFill>
                <a:prstClr val="white"/>
              </a:solidFill>
            </a:endParaRPr>
          </a:p>
        </p:txBody>
      </p:sp>
      <p:pic>
        <p:nvPicPr>
          <p:cNvPr id="79" name="Picture 7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23433" y="6358069"/>
            <a:ext cx="1183250" cy="29460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00287" y="4184463"/>
            <a:ext cx="1034415" cy="467356"/>
          </a:xfrm>
          <a:prstGeom prst="rect">
            <a:avLst/>
          </a:prstGeom>
        </p:spPr>
      </p:pic>
      <p:sp>
        <p:nvSpPr>
          <p:cNvPr id="10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149843" y="4147029"/>
            <a:ext cx="5336557" cy="519974"/>
          </a:xfrm>
        </p:spPr>
        <p:txBody>
          <a:bodyPr/>
          <a:lstStyle/>
          <a:p>
            <a:pPr algn="l"/>
            <a:r>
              <a:rPr lang="en-US" b="1" dirty="0" smtClean="0">
                <a:solidFill>
                  <a:schemeClr val="accent3"/>
                </a:solidFill>
              </a:rPr>
              <a:t>Daniele Romano, PhD </a:t>
            </a:r>
          </a:p>
          <a:p>
            <a:pPr algn="l"/>
            <a:r>
              <a:rPr lang="en-US" dirty="0" smtClean="0">
                <a:solidFill>
                  <a:schemeClr val="accent3"/>
                </a:solidFill>
              </a:rPr>
              <a:t>Global Product Owner Continuous Delivery as a Service</a:t>
            </a:r>
            <a:endParaRPr lang="en-US" dirty="0">
              <a:solidFill>
                <a:schemeClr val="accent3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3589" y="5297604"/>
            <a:ext cx="5372100" cy="1074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169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5000" b="-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678378" y="0"/>
            <a:ext cx="4714504" cy="2731325"/>
          </a:xfrm>
          <a:prstGeom prst="rect">
            <a:avLst/>
          </a:prstGeom>
          <a:solidFill>
            <a:schemeClr val="tx2">
              <a:alpha val="86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4000" b="1" dirty="0"/>
              <a:t>…and automated</a:t>
            </a:r>
          </a:p>
          <a:p>
            <a:pPr algn="ctr">
              <a:lnSpc>
                <a:spcPct val="90000"/>
              </a:lnSpc>
            </a:pPr>
            <a:r>
              <a:rPr lang="en-US" sz="4000" b="1" dirty="0"/>
              <a:t>Deployment </a:t>
            </a:r>
            <a:r>
              <a:rPr lang="en-US" sz="4000" b="1" dirty="0" smtClean="0"/>
              <a:t>and </a:t>
            </a:r>
            <a:r>
              <a:rPr lang="en-US" sz="4000" b="1" dirty="0"/>
              <a:t>Testing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28" y="550378"/>
            <a:ext cx="1157288" cy="770123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7242629" y="2102070"/>
            <a:ext cx="1480958" cy="840110"/>
          </a:xfrm>
          <a:prstGeom prst="rect">
            <a:avLst/>
          </a:prstGeom>
          <a:solidFill>
            <a:srgbClr val="D9D5CE"/>
          </a:solidFill>
        </p:spPr>
        <p:txBody>
          <a:bodyPr wrap="square" lIns="36000" tIns="36000" rIns="36000" bIns="36000" rtlCol="0" anchor="b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1400" b="1" smtClean="0">
                <a:latin typeface="Calibri" charset="0"/>
                <a:ea typeface="Calibri" charset="0"/>
                <a:cs typeface="Calibri" charset="0"/>
              </a:rPr>
              <a:t>CA Release Automation</a:t>
            </a:r>
          </a:p>
        </p:txBody>
      </p:sp>
      <p:pic>
        <p:nvPicPr>
          <p:cNvPr id="5" name="Picture 4" descr="ca_r_1cr.eps"/>
          <p:cNvPicPr>
            <a:picLocks noChangeAspect="1"/>
          </p:cNvPicPr>
          <p:nvPr/>
        </p:nvPicPr>
        <p:blipFill>
          <a:blip r:embed="rId4" cstate="screen">
            <a:lum bright="-71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7746086" y="2102070"/>
            <a:ext cx="486528" cy="403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293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313" b="22313"/>
          <a:stretch/>
        </p:blipFill>
        <p:spPr>
          <a:xfrm>
            <a:off x="0" y="254484"/>
            <a:ext cx="5973118" cy="2067201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2594"/>
          <a:stretch/>
        </p:blipFill>
        <p:spPr>
          <a:xfrm>
            <a:off x="0" y="2424546"/>
            <a:ext cx="8587037" cy="4433454"/>
          </a:xfrm>
          <a:prstGeom prst="rect">
            <a:avLst/>
          </a:prstGeom>
          <a:ln>
            <a:noFill/>
          </a:ln>
          <a:effectLst/>
        </p:spPr>
      </p:pic>
      <p:sp>
        <p:nvSpPr>
          <p:cNvPr id="5" name="Rectangle 4"/>
          <p:cNvSpPr/>
          <p:nvPr/>
        </p:nvSpPr>
        <p:spPr>
          <a:xfrm>
            <a:off x="0" y="2424546"/>
            <a:ext cx="12192000" cy="1721670"/>
          </a:xfrm>
          <a:prstGeom prst="rect">
            <a:avLst/>
          </a:prstGeom>
          <a:solidFill>
            <a:srgbClr val="002060">
              <a:alpha val="85000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496888">
              <a:lnSpc>
                <a:spcPct val="90000"/>
              </a:lnSpc>
            </a:pPr>
            <a:r>
              <a:rPr lang="en-US" sz="4000" b="1" dirty="0" smtClean="0"/>
              <a:t>&gt; 740 application going through </a:t>
            </a:r>
            <a:br>
              <a:rPr lang="en-US" sz="4000" b="1" dirty="0" smtClean="0"/>
            </a:br>
            <a:r>
              <a:rPr lang="en-US" sz="4000" b="1" dirty="0" smtClean="0"/>
              <a:t>one pipeline to our customer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3088" y="1288473"/>
            <a:ext cx="6501393" cy="5569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767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7886700" y="-1"/>
            <a:ext cx="3714750" cy="5815013"/>
          </a:xfrm>
          <a:prstGeom prst="rect">
            <a:avLst/>
          </a:prstGeom>
          <a:solidFill>
            <a:schemeClr val="tx2">
              <a:alpha val="86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4000" b="1" dirty="0"/>
              <a:t>Management still unhappy about Time to Market</a:t>
            </a:r>
          </a:p>
          <a:p>
            <a:pPr algn="ctr">
              <a:lnSpc>
                <a:spcPct val="90000"/>
              </a:lnSpc>
            </a:pPr>
            <a:r>
              <a:rPr lang="en-US" sz="4000" b="1" dirty="0"/>
              <a:t>and Quality</a:t>
            </a:r>
          </a:p>
        </p:txBody>
      </p:sp>
    </p:spTree>
    <p:extLst>
      <p:ext uri="{BB962C8B-B14F-4D97-AF65-F5344CB8AC3E}">
        <p14:creationId xmlns:p14="http://schemas.microsoft.com/office/powerpoint/2010/main" val="2586431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5517" y="469566"/>
            <a:ext cx="10058400" cy="6191609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28" y="1031643"/>
            <a:ext cx="1157288" cy="770123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6469340" y="2327848"/>
            <a:ext cx="1274838" cy="840110"/>
          </a:xfrm>
          <a:prstGeom prst="rect">
            <a:avLst/>
          </a:prstGeom>
          <a:solidFill>
            <a:srgbClr val="D9D5CE"/>
          </a:solidFill>
        </p:spPr>
        <p:txBody>
          <a:bodyPr wrap="square" lIns="36000" tIns="36000" rIns="36000" bIns="36000" rtlCol="0" anchor="b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1200" b="1" smtClean="0">
                <a:latin typeface="Calibri" charset="0"/>
                <a:ea typeface="Calibri" charset="0"/>
                <a:cs typeface="Calibri" charset="0"/>
              </a:rPr>
              <a:t>CA Release Automation</a:t>
            </a:r>
          </a:p>
        </p:txBody>
      </p:sp>
      <p:pic>
        <p:nvPicPr>
          <p:cNvPr id="6" name="Picture 5" descr="ca_r_1cr.eps"/>
          <p:cNvPicPr>
            <a:picLocks noChangeAspect="1"/>
          </p:cNvPicPr>
          <p:nvPr/>
        </p:nvPicPr>
        <p:blipFill>
          <a:blip r:embed="rId4" cstate="screen">
            <a:lum bright="-71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6863495" y="2384280"/>
            <a:ext cx="486528" cy="403135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7399868" y="1705232"/>
            <a:ext cx="4792132" cy="2731325"/>
          </a:xfrm>
          <a:prstGeom prst="rect">
            <a:avLst/>
          </a:prstGeom>
          <a:solidFill>
            <a:schemeClr val="tx2">
              <a:alpha val="8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4000" b="1" dirty="0" smtClean="0"/>
              <a:t>Monitoring and </a:t>
            </a:r>
          </a:p>
          <a:p>
            <a:pPr algn="ctr">
              <a:lnSpc>
                <a:spcPct val="90000"/>
              </a:lnSpc>
            </a:pPr>
            <a:r>
              <a:rPr lang="en-US" sz="4000" b="1" dirty="0" smtClean="0"/>
              <a:t>Analytics</a:t>
            </a:r>
          </a:p>
        </p:txBody>
      </p:sp>
    </p:spTree>
    <p:extLst>
      <p:ext uri="{BB962C8B-B14F-4D97-AF65-F5344CB8AC3E}">
        <p14:creationId xmlns:p14="http://schemas.microsoft.com/office/powerpoint/2010/main" val="3731118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301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/>
        </p:nvSpPr>
        <p:spPr>
          <a:xfrm>
            <a:off x="0" y="3011600"/>
            <a:ext cx="12192001" cy="1251857"/>
          </a:xfrm>
          <a:prstGeom prst="rect">
            <a:avLst/>
          </a:prstGeom>
          <a:solidFill>
            <a:schemeClr val="tx2">
              <a:alpha val="94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4000" b="1" dirty="0" smtClean="0"/>
              <a:t>Around 50 metrics used to improve </a:t>
            </a:r>
            <a:br>
              <a:rPr lang="en-US" sz="4000" b="1" dirty="0" smtClean="0"/>
            </a:br>
            <a:r>
              <a:rPr lang="en-US" sz="4000" b="1" dirty="0" smtClean="0"/>
              <a:t>the process through scientific approach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4378" y="4293914"/>
            <a:ext cx="2228850" cy="231457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55423" y="5016588"/>
            <a:ext cx="2588432" cy="100661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0215" y="4512698"/>
            <a:ext cx="2095792" cy="2095792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3747252" y="4512697"/>
            <a:ext cx="2653547" cy="2095792"/>
          </a:xfrm>
          <a:prstGeom prst="rect">
            <a:avLst/>
          </a:prstGeom>
          <a:solidFill>
            <a:srgbClr val="002060">
              <a:alpha val="85000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4000" b="1" dirty="0" smtClean="0"/>
              <a:t>With Scientists</a:t>
            </a:r>
          </a:p>
        </p:txBody>
      </p:sp>
    </p:spTree>
    <p:extLst>
      <p:ext uri="{BB962C8B-B14F-4D97-AF65-F5344CB8AC3E}">
        <p14:creationId xmlns:p14="http://schemas.microsoft.com/office/powerpoint/2010/main" val="11749939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5749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-1" y="2806531"/>
            <a:ext cx="4184073" cy="890649"/>
          </a:xfrm>
          <a:prstGeom prst="rect">
            <a:avLst/>
          </a:prstGeom>
          <a:solidFill>
            <a:schemeClr val="tx2">
              <a:alpha val="8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3200" b="1" dirty="0" smtClean="0"/>
              <a:t>Cultural innovation</a:t>
            </a:r>
          </a:p>
        </p:txBody>
      </p:sp>
      <p:sp>
        <p:nvSpPr>
          <p:cNvPr id="3" name="Rectangle 2"/>
          <p:cNvSpPr/>
          <p:nvPr/>
        </p:nvSpPr>
        <p:spPr>
          <a:xfrm>
            <a:off x="4184072" y="2806529"/>
            <a:ext cx="4001714" cy="890649"/>
          </a:xfrm>
          <a:prstGeom prst="rect">
            <a:avLst/>
          </a:prstGeom>
          <a:solidFill>
            <a:schemeClr val="accent3">
              <a:alpha val="8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3200" b="1" dirty="0" err="1" smtClean="0"/>
              <a:t>Devops</a:t>
            </a:r>
            <a:r>
              <a:rPr lang="en-US" sz="3200" b="1" dirty="0" smtClean="0"/>
              <a:t> journey</a:t>
            </a:r>
          </a:p>
        </p:txBody>
      </p:sp>
      <p:sp>
        <p:nvSpPr>
          <p:cNvPr id="4" name="Rectangle 3"/>
          <p:cNvSpPr/>
          <p:nvPr/>
        </p:nvSpPr>
        <p:spPr>
          <a:xfrm>
            <a:off x="8190286" y="2806527"/>
            <a:ext cx="4001714" cy="890649"/>
          </a:xfrm>
          <a:prstGeom prst="rect">
            <a:avLst/>
          </a:prstGeom>
          <a:solidFill>
            <a:schemeClr val="tx2">
              <a:alpha val="8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3200" b="1" dirty="0" smtClean="0"/>
              <a:t>Compliancy</a:t>
            </a:r>
          </a:p>
        </p:txBody>
      </p:sp>
    </p:spTree>
    <p:extLst>
      <p:ext uri="{BB962C8B-B14F-4D97-AF65-F5344CB8AC3E}">
        <p14:creationId xmlns:p14="http://schemas.microsoft.com/office/powerpoint/2010/main" val="7436242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4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-8626" y="2321323"/>
            <a:ext cx="12200626" cy="854716"/>
          </a:xfrm>
          <a:prstGeom prst="rect">
            <a:avLst/>
          </a:prstGeom>
          <a:solidFill>
            <a:schemeClr val="accent3">
              <a:alpha val="8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3200" b="1" dirty="0" smtClean="0"/>
              <a:t>Portfolio Management improvement – Decision Making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4030755"/>
            <a:ext cx="12200626" cy="854716"/>
          </a:xfrm>
          <a:prstGeom prst="rect">
            <a:avLst/>
          </a:prstGeom>
          <a:solidFill>
            <a:schemeClr val="accent3">
              <a:alpha val="8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3200" b="1" dirty="0" smtClean="0"/>
              <a:t>Removal </a:t>
            </a:r>
            <a:r>
              <a:rPr lang="en-US" sz="3200" b="1" smtClean="0"/>
              <a:t>of bottleneck-teams through </a:t>
            </a:r>
            <a:r>
              <a:rPr lang="en-US" sz="3200" b="1" dirty="0" smtClean="0"/>
              <a:t>backlog mining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-21295"/>
            <a:ext cx="12192000" cy="2764495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shade val="100000"/>
                  <a:satMod val="115000"/>
                  <a:alpha val="0"/>
                </a:schemeClr>
              </a:gs>
            </a:gsLst>
            <a:lin ang="5400000" scaled="1"/>
            <a:tileRect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600" smtClean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ltural Innovation </a:t>
            </a:r>
            <a:br>
              <a:rPr lang="en-US" dirty="0" smtClean="0"/>
            </a:br>
            <a:r>
              <a:rPr lang="en-US" dirty="0" smtClean="0"/>
              <a:t>Manage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98060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7000" b="-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-21295"/>
            <a:ext cx="12192000" cy="3193986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shade val="100000"/>
                  <a:satMod val="115000"/>
                  <a:alpha val="0"/>
                </a:schemeClr>
              </a:gs>
            </a:gsLst>
            <a:lin ang="5400000" scaled="1"/>
            <a:tileRect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600" smtClean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en-US" sz="4800" dirty="0"/>
              <a:t>Cultural </a:t>
            </a:r>
            <a:r>
              <a:rPr lang="en-US" sz="4800" dirty="0" smtClean="0"/>
              <a:t>Innovation </a:t>
            </a:r>
            <a:br>
              <a:rPr lang="en-US" sz="4800" dirty="0" smtClean="0"/>
            </a:br>
            <a:r>
              <a:rPr lang="en-US" sz="4800" dirty="0" smtClean="0"/>
              <a:t>Product Owner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-8626" y="4272759"/>
            <a:ext cx="12200626" cy="854716"/>
          </a:xfrm>
          <a:prstGeom prst="rect">
            <a:avLst/>
          </a:prstGeom>
          <a:solidFill>
            <a:schemeClr val="accent3">
              <a:alpha val="8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4000" b="1" dirty="0" smtClean="0"/>
              <a:t>Give room for Continuous Improvement</a:t>
            </a:r>
          </a:p>
        </p:txBody>
      </p:sp>
      <p:sp>
        <p:nvSpPr>
          <p:cNvPr id="4" name="Rectangle 3"/>
          <p:cNvSpPr/>
          <p:nvPr/>
        </p:nvSpPr>
        <p:spPr>
          <a:xfrm>
            <a:off x="-4510" y="5127475"/>
            <a:ext cx="12196510" cy="854716"/>
          </a:xfrm>
          <a:prstGeom prst="rect">
            <a:avLst/>
          </a:prstGeom>
          <a:solidFill>
            <a:schemeClr val="tx2">
              <a:alpha val="8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4000" b="1" dirty="0" smtClean="0"/>
              <a:t>Smaller releases actionable for customers</a:t>
            </a:r>
          </a:p>
        </p:txBody>
      </p:sp>
    </p:spTree>
    <p:extLst>
      <p:ext uri="{BB962C8B-B14F-4D97-AF65-F5344CB8AC3E}">
        <p14:creationId xmlns:p14="http://schemas.microsoft.com/office/powerpoint/2010/main" val="22542835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-21295"/>
            <a:ext cx="12192000" cy="3193986"/>
          </a:xfrm>
          <a:prstGeom prst="rect">
            <a:avLst/>
          </a:prstGeom>
          <a:gradFill flip="none" rotWithShape="1">
            <a:gsLst>
              <a:gs pos="11000">
                <a:schemeClr val="tx1"/>
              </a:gs>
              <a:gs pos="100000">
                <a:schemeClr val="tx1">
                  <a:alpha val="0"/>
                </a:schemeClr>
              </a:gs>
            </a:gsLst>
            <a:lin ang="5400000" scaled="1"/>
            <a:tileRect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600" smtClean="0"/>
          </a:p>
        </p:txBody>
      </p:sp>
      <p:sp>
        <p:nvSpPr>
          <p:cNvPr id="3" name="Rectangle 2"/>
          <p:cNvSpPr/>
          <p:nvPr/>
        </p:nvSpPr>
        <p:spPr>
          <a:xfrm>
            <a:off x="-12742" y="2578720"/>
            <a:ext cx="12200626" cy="854716"/>
          </a:xfrm>
          <a:prstGeom prst="rect">
            <a:avLst/>
          </a:prstGeom>
          <a:solidFill>
            <a:schemeClr val="accent3">
              <a:alpha val="8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4000" b="1" dirty="0" smtClean="0"/>
              <a:t>Integrate continuously your change</a:t>
            </a:r>
          </a:p>
        </p:txBody>
      </p:sp>
      <p:sp>
        <p:nvSpPr>
          <p:cNvPr id="4" name="Rectangle 3"/>
          <p:cNvSpPr/>
          <p:nvPr/>
        </p:nvSpPr>
        <p:spPr>
          <a:xfrm>
            <a:off x="-8626" y="3437096"/>
            <a:ext cx="12196510" cy="854716"/>
          </a:xfrm>
          <a:prstGeom prst="rect">
            <a:avLst/>
          </a:prstGeom>
          <a:solidFill>
            <a:schemeClr val="tx2">
              <a:alpha val="8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3600" b="1" dirty="0" smtClean="0"/>
              <a:t>Push your changes as far as you don’t detect problems </a:t>
            </a:r>
          </a:p>
        </p:txBody>
      </p:sp>
      <p:sp>
        <p:nvSpPr>
          <p:cNvPr id="5" name="Rectangle 4"/>
          <p:cNvSpPr/>
          <p:nvPr/>
        </p:nvSpPr>
        <p:spPr>
          <a:xfrm>
            <a:off x="-12742" y="4291812"/>
            <a:ext cx="12200626" cy="854716"/>
          </a:xfrm>
          <a:prstGeom prst="rect">
            <a:avLst/>
          </a:prstGeom>
          <a:solidFill>
            <a:schemeClr val="accent3">
              <a:alpha val="8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3600" b="1" dirty="0" smtClean="0"/>
              <a:t>Shift-left all quality checks</a:t>
            </a:r>
          </a:p>
        </p:txBody>
      </p:sp>
      <p:sp>
        <p:nvSpPr>
          <p:cNvPr id="6" name="Rectangle 5"/>
          <p:cNvSpPr/>
          <p:nvPr/>
        </p:nvSpPr>
        <p:spPr>
          <a:xfrm>
            <a:off x="-12742" y="5146528"/>
            <a:ext cx="12196510" cy="851056"/>
          </a:xfrm>
          <a:prstGeom prst="rect">
            <a:avLst/>
          </a:prstGeom>
          <a:solidFill>
            <a:schemeClr val="tx2">
              <a:alpha val="8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4000" b="1" dirty="0" smtClean="0"/>
              <a:t>Fix issues as soon as they appear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en-US" sz="4800" dirty="0"/>
              <a:t>Cultural </a:t>
            </a:r>
            <a:r>
              <a:rPr lang="en-US" sz="4800" dirty="0" smtClean="0"/>
              <a:t>Innovation </a:t>
            </a:r>
            <a:br>
              <a:rPr lang="en-US" sz="4800" dirty="0" smtClean="0"/>
            </a:br>
            <a:r>
              <a:rPr lang="en-US" sz="4800" dirty="0" smtClean="0"/>
              <a:t>Engineer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24340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3957145" y="646386"/>
            <a:ext cx="72768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endParaRPr lang="en-US" sz="1400" dirty="0" smtClean="0"/>
          </a:p>
        </p:txBody>
      </p:sp>
      <p:sp>
        <p:nvSpPr>
          <p:cNvPr id="14" name="Rectangle 13"/>
          <p:cNvSpPr/>
          <p:nvPr/>
        </p:nvSpPr>
        <p:spPr>
          <a:xfrm>
            <a:off x="7886700" y="-1"/>
            <a:ext cx="3714750" cy="5815013"/>
          </a:xfrm>
          <a:prstGeom prst="rect">
            <a:avLst/>
          </a:prstGeom>
          <a:solidFill>
            <a:schemeClr val="tx2">
              <a:alpha val="86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4000" b="1" dirty="0" smtClean="0"/>
              <a:t>From 2012 </a:t>
            </a:r>
            <a:r>
              <a:rPr lang="en-US" sz="4000" b="1" smtClean="0"/>
              <a:t>to </a:t>
            </a:r>
            <a:br>
              <a:rPr lang="en-US" sz="4000" b="1" smtClean="0"/>
            </a:br>
            <a:r>
              <a:rPr lang="en-US" sz="4000" b="1" smtClean="0"/>
              <a:t>2016 through </a:t>
            </a:r>
            <a:br>
              <a:rPr lang="en-US" sz="4000" b="1" smtClean="0"/>
            </a:br>
            <a:r>
              <a:rPr lang="en-US" sz="4000" b="1" smtClean="0"/>
              <a:t>the </a:t>
            </a:r>
            <a:r>
              <a:rPr lang="en-US" sz="4000" b="1" dirty="0" smtClean="0"/>
              <a:t>ING </a:t>
            </a:r>
            <a:r>
              <a:rPr lang="en-US" sz="4000" b="1" smtClean="0"/>
              <a:t>Continuous </a:t>
            </a:r>
            <a:br>
              <a:rPr lang="en-US" sz="4000" b="1" smtClean="0"/>
            </a:br>
            <a:r>
              <a:rPr lang="en-US" sz="4000" b="1" smtClean="0"/>
              <a:t>Delivery </a:t>
            </a:r>
            <a:br>
              <a:rPr lang="en-US" sz="4000" b="1" smtClean="0"/>
            </a:br>
            <a:r>
              <a:rPr lang="en-US" sz="4000" b="1" smtClean="0"/>
              <a:t>Journey</a:t>
            </a:r>
            <a:endParaRPr lang="en-US" sz="4000" b="1" dirty="0" smtClean="0"/>
          </a:p>
        </p:txBody>
      </p:sp>
    </p:spTree>
    <p:extLst>
      <p:ext uri="{BB962C8B-B14F-4D97-AF65-F5344CB8AC3E}">
        <p14:creationId xmlns:p14="http://schemas.microsoft.com/office/powerpoint/2010/main" val="2887473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3595816" y="1"/>
            <a:ext cx="4967416" cy="889686"/>
          </a:xfrm>
          <a:prstGeom prst="rect">
            <a:avLst/>
          </a:prstGeom>
          <a:solidFill>
            <a:schemeClr val="accent3">
              <a:alpha val="8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4000" b="1" dirty="0" smtClean="0">
                <a:solidFill>
                  <a:prstClr val="white"/>
                </a:solidFill>
              </a:rPr>
              <a:t>Spotify Model</a:t>
            </a:r>
          </a:p>
        </p:txBody>
      </p:sp>
      <p:sp>
        <p:nvSpPr>
          <p:cNvPr id="30" name="Rectangle 29"/>
          <p:cNvSpPr/>
          <p:nvPr/>
        </p:nvSpPr>
        <p:spPr>
          <a:xfrm>
            <a:off x="-8626" y="1579554"/>
            <a:ext cx="12200626" cy="854716"/>
          </a:xfrm>
          <a:prstGeom prst="rect">
            <a:avLst/>
          </a:prstGeom>
          <a:solidFill>
            <a:schemeClr val="accent3">
              <a:alpha val="8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4000" b="1" dirty="0" smtClean="0">
                <a:solidFill>
                  <a:prstClr val="white"/>
                </a:solidFill>
              </a:rPr>
              <a:t>PO with IT background</a:t>
            </a:r>
          </a:p>
        </p:txBody>
      </p:sp>
      <p:sp>
        <p:nvSpPr>
          <p:cNvPr id="32" name="Rectangle 31"/>
          <p:cNvSpPr/>
          <p:nvPr/>
        </p:nvSpPr>
        <p:spPr>
          <a:xfrm>
            <a:off x="-4510" y="3993285"/>
            <a:ext cx="12200626" cy="854716"/>
          </a:xfrm>
          <a:prstGeom prst="rect">
            <a:avLst/>
          </a:prstGeom>
          <a:solidFill>
            <a:schemeClr val="accent3">
              <a:alpha val="8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4000" b="1" dirty="0" smtClean="0">
                <a:solidFill>
                  <a:prstClr val="white"/>
                </a:solidFill>
              </a:rPr>
              <a:t>Business in the tribe</a:t>
            </a:r>
          </a:p>
        </p:txBody>
      </p:sp>
    </p:spTree>
    <p:extLst>
      <p:ext uri="{BB962C8B-B14F-4D97-AF65-F5344CB8AC3E}">
        <p14:creationId xmlns:p14="http://schemas.microsoft.com/office/powerpoint/2010/main" val="41692998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2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7115"/>
          <a:stretch/>
        </p:blipFill>
        <p:spPr>
          <a:xfrm>
            <a:off x="1121268" y="469566"/>
            <a:ext cx="10058400" cy="5751125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1" y="5317067"/>
            <a:ext cx="12192000" cy="903623"/>
          </a:xfrm>
          <a:prstGeom prst="rect">
            <a:avLst/>
          </a:prstGeom>
          <a:solidFill>
            <a:schemeClr val="tx2">
              <a:alpha val="93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3600" b="1" dirty="0" smtClean="0"/>
              <a:t>One opinionated flow as shared service for all </a:t>
            </a:r>
            <a:r>
              <a:rPr lang="en-US" sz="3600" b="1" dirty="0" smtClean="0"/>
              <a:t>the </a:t>
            </a:r>
            <a:r>
              <a:rPr lang="en-US" sz="3600" b="1" dirty="0" smtClean="0"/>
              <a:t>team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779" y="1055701"/>
            <a:ext cx="1157288" cy="770123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7065091" y="2327848"/>
            <a:ext cx="1274838" cy="840110"/>
          </a:xfrm>
          <a:prstGeom prst="rect">
            <a:avLst/>
          </a:prstGeom>
          <a:solidFill>
            <a:srgbClr val="D9D5CE"/>
          </a:solidFill>
        </p:spPr>
        <p:txBody>
          <a:bodyPr wrap="square" lIns="36000" tIns="36000" rIns="36000" bIns="36000" rtlCol="0" anchor="b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1200" b="1" smtClean="0">
                <a:latin typeface="Calibri" charset="0"/>
                <a:ea typeface="Calibri" charset="0"/>
                <a:cs typeface="Calibri" charset="0"/>
              </a:rPr>
              <a:t>CA Release Automation</a:t>
            </a:r>
          </a:p>
        </p:txBody>
      </p:sp>
      <p:pic>
        <p:nvPicPr>
          <p:cNvPr id="8" name="Picture 7" descr="ca_r_1cr.eps"/>
          <p:cNvPicPr>
            <a:picLocks noChangeAspect="1"/>
          </p:cNvPicPr>
          <p:nvPr/>
        </p:nvPicPr>
        <p:blipFill>
          <a:blip r:embed="rId4" cstate="screen">
            <a:lum bright="-71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7459246" y="2384280"/>
            <a:ext cx="486528" cy="403135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3378200" y="0"/>
            <a:ext cx="8223250" cy="1055702"/>
          </a:xfrm>
          <a:prstGeom prst="rect">
            <a:avLst/>
          </a:prstGeom>
          <a:solidFill>
            <a:schemeClr val="tx2">
              <a:alpha val="86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4000" b="1" dirty="0" smtClean="0"/>
              <a:t>Cultural Innovation</a:t>
            </a:r>
          </a:p>
          <a:p>
            <a:pPr algn="ctr">
              <a:lnSpc>
                <a:spcPct val="90000"/>
              </a:lnSpc>
            </a:pPr>
            <a:r>
              <a:rPr lang="en-US" sz="4000" b="1" dirty="0" smtClean="0"/>
              <a:t>Continuous Delivery as a Service</a:t>
            </a:r>
            <a:endParaRPr lang="en-US" sz="4000" b="1" dirty="0"/>
          </a:p>
        </p:txBody>
      </p:sp>
    </p:spTree>
    <p:extLst>
      <p:ext uri="{BB962C8B-B14F-4D97-AF65-F5344CB8AC3E}">
        <p14:creationId xmlns:p14="http://schemas.microsoft.com/office/powerpoint/2010/main" val="1316098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7886700" y="-1"/>
            <a:ext cx="3714750" cy="3657601"/>
          </a:xfrm>
          <a:prstGeom prst="rect">
            <a:avLst/>
          </a:prstGeom>
          <a:solidFill>
            <a:schemeClr val="tx2">
              <a:alpha val="86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4000" b="1" dirty="0"/>
              <a:t>Concept </a:t>
            </a:r>
            <a:r>
              <a:rPr lang="en-US" sz="4000" b="1" dirty="0" smtClean="0"/>
              <a:t/>
            </a:r>
            <a:br>
              <a:rPr lang="en-US" sz="4000" b="1" dirty="0" smtClean="0"/>
            </a:br>
            <a:r>
              <a:rPr lang="en-US" sz="4000" b="1" dirty="0" smtClean="0"/>
              <a:t>Of </a:t>
            </a:r>
            <a:r>
              <a:rPr lang="en-US" sz="4000" b="1" dirty="0"/>
              <a:t>One </a:t>
            </a:r>
          </a:p>
          <a:p>
            <a:pPr algn="ctr">
              <a:lnSpc>
                <a:spcPct val="90000"/>
              </a:lnSpc>
            </a:pPr>
            <a:r>
              <a:rPr lang="en-US" sz="4000" b="1" dirty="0"/>
              <a:t>without enforcement</a:t>
            </a:r>
          </a:p>
        </p:txBody>
      </p:sp>
    </p:spTree>
    <p:extLst>
      <p:ext uri="{BB962C8B-B14F-4D97-AF65-F5344CB8AC3E}">
        <p14:creationId xmlns:p14="http://schemas.microsoft.com/office/powerpoint/2010/main" val="4002324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39000" b="-3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-21295"/>
            <a:ext cx="12192000" cy="3193986"/>
          </a:xfrm>
          <a:prstGeom prst="rect">
            <a:avLst/>
          </a:prstGeom>
          <a:gradFill flip="none" rotWithShape="1">
            <a:gsLst>
              <a:gs pos="37000">
                <a:schemeClr val="bg1"/>
              </a:gs>
              <a:gs pos="100000">
                <a:schemeClr val="bg1">
                  <a:shade val="100000"/>
                  <a:satMod val="115000"/>
                  <a:alpha val="0"/>
                </a:schemeClr>
              </a:gs>
            </a:gsLst>
            <a:lin ang="5400000" scaled="1"/>
            <a:tileRect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60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en-US" sz="4800" dirty="0"/>
              <a:t>Concept Of </a:t>
            </a:r>
            <a:r>
              <a:rPr lang="en-US" sz="4800" dirty="0" smtClean="0"/>
              <a:t>One With communities</a:t>
            </a:r>
            <a:endParaRPr lang="en-US" dirty="0"/>
          </a:p>
        </p:txBody>
      </p:sp>
      <p:sp>
        <p:nvSpPr>
          <p:cNvPr id="30" name="Rectangle 29"/>
          <p:cNvSpPr/>
          <p:nvPr/>
        </p:nvSpPr>
        <p:spPr>
          <a:xfrm>
            <a:off x="0" y="1931656"/>
            <a:ext cx="5195464" cy="620140"/>
          </a:xfrm>
          <a:prstGeom prst="rect">
            <a:avLst/>
          </a:prstGeom>
          <a:solidFill>
            <a:schemeClr val="accent3">
              <a:alpha val="8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180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sz="3200" b="1" dirty="0" smtClean="0"/>
              <a:t>Front-end platform team</a:t>
            </a:r>
          </a:p>
        </p:txBody>
      </p:sp>
      <p:sp>
        <p:nvSpPr>
          <p:cNvPr id="31" name="Rectangle 30"/>
          <p:cNvSpPr/>
          <p:nvPr/>
        </p:nvSpPr>
        <p:spPr>
          <a:xfrm>
            <a:off x="4107" y="2547371"/>
            <a:ext cx="5195464" cy="620140"/>
          </a:xfrm>
          <a:prstGeom prst="rect">
            <a:avLst/>
          </a:prstGeom>
          <a:solidFill>
            <a:schemeClr val="tx2">
              <a:alpha val="8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180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sz="3200" b="1" dirty="0" smtClean="0"/>
              <a:t>API platform team</a:t>
            </a:r>
          </a:p>
        </p:txBody>
      </p:sp>
      <p:sp>
        <p:nvSpPr>
          <p:cNvPr id="32" name="Rectangle 31"/>
          <p:cNvSpPr/>
          <p:nvPr/>
        </p:nvSpPr>
        <p:spPr>
          <a:xfrm>
            <a:off x="-9" y="3175055"/>
            <a:ext cx="5195464" cy="620140"/>
          </a:xfrm>
          <a:prstGeom prst="rect">
            <a:avLst/>
          </a:prstGeom>
          <a:solidFill>
            <a:schemeClr val="accent3">
              <a:alpha val="8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180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sz="3200" b="1" dirty="0" smtClean="0"/>
              <a:t>Scala platform team</a:t>
            </a:r>
          </a:p>
        </p:txBody>
      </p:sp>
      <p:sp>
        <p:nvSpPr>
          <p:cNvPr id="33" name="Rectangle 32"/>
          <p:cNvSpPr/>
          <p:nvPr/>
        </p:nvSpPr>
        <p:spPr>
          <a:xfrm>
            <a:off x="-16491" y="3802739"/>
            <a:ext cx="5195464" cy="620140"/>
          </a:xfrm>
          <a:prstGeom prst="rect">
            <a:avLst/>
          </a:prstGeom>
          <a:solidFill>
            <a:schemeClr val="tx2">
              <a:alpha val="8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180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sz="3200" b="1" dirty="0" smtClean="0"/>
              <a:t>.NET platform </a:t>
            </a:r>
            <a:r>
              <a:rPr lang="en-US" sz="3200" b="1" dirty="0" smtClean="0"/>
              <a:t>team</a:t>
            </a:r>
          </a:p>
        </p:txBody>
      </p:sp>
      <p:sp>
        <p:nvSpPr>
          <p:cNvPr id="34" name="Rectangle 33"/>
          <p:cNvSpPr/>
          <p:nvPr/>
        </p:nvSpPr>
        <p:spPr>
          <a:xfrm>
            <a:off x="-16491" y="4418454"/>
            <a:ext cx="5195464" cy="620140"/>
          </a:xfrm>
          <a:prstGeom prst="rect">
            <a:avLst/>
          </a:prstGeom>
          <a:solidFill>
            <a:schemeClr val="accent3">
              <a:alpha val="8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180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sz="3200" b="1" dirty="0" smtClean="0"/>
              <a:t>COTS platform team</a:t>
            </a:r>
          </a:p>
        </p:txBody>
      </p:sp>
      <p:sp>
        <p:nvSpPr>
          <p:cNvPr id="35" name="Rectangle 34"/>
          <p:cNvSpPr/>
          <p:nvPr/>
        </p:nvSpPr>
        <p:spPr>
          <a:xfrm>
            <a:off x="-16491" y="5046138"/>
            <a:ext cx="5195464" cy="620140"/>
          </a:xfrm>
          <a:prstGeom prst="rect">
            <a:avLst/>
          </a:prstGeom>
          <a:solidFill>
            <a:schemeClr val="tx2">
              <a:alpha val="8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180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sz="3200" b="1" dirty="0" smtClean="0"/>
              <a:t>TIBCO platform team</a:t>
            </a:r>
          </a:p>
        </p:txBody>
      </p:sp>
    </p:spTree>
    <p:extLst>
      <p:ext uri="{BB962C8B-B14F-4D97-AF65-F5344CB8AC3E}">
        <p14:creationId xmlns:p14="http://schemas.microsoft.com/office/powerpoint/2010/main" val="36968985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en-US" sz="4800" dirty="0"/>
              <a:t>DevOps </a:t>
            </a:r>
            <a:r>
              <a:rPr lang="en-US" sz="4800" dirty="0" smtClean="0"/>
              <a:t>Journey </a:t>
            </a:r>
            <a:r>
              <a:rPr lang="en-US" sz="4800" dirty="0" err="1" smtClean="0"/>
              <a:t>EverythingAsCode</a:t>
            </a:r>
            <a:r>
              <a:rPr lang="en-US" sz="4800" dirty="0" smtClean="0"/>
              <a:t/>
            </a:r>
            <a:br>
              <a:rPr lang="en-US" sz="4800" dirty="0" smtClean="0"/>
            </a:br>
            <a:endParaRPr lang="en-US" sz="2000" dirty="0"/>
          </a:p>
        </p:txBody>
      </p:sp>
      <p:sp>
        <p:nvSpPr>
          <p:cNvPr id="12" name="Rounded Rectangle 11"/>
          <p:cNvSpPr/>
          <p:nvPr/>
        </p:nvSpPr>
        <p:spPr>
          <a:xfrm>
            <a:off x="1011774" y="2262604"/>
            <a:ext cx="10141329" cy="1796716"/>
          </a:xfrm>
          <a:prstGeom prst="roundRect">
            <a:avLst>
              <a:gd name="adj" fmla="val 6451"/>
            </a:avLst>
          </a:prstGeom>
          <a:noFill/>
          <a:ln w="3810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600" smtClean="0"/>
          </a:p>
        </p:txBody>
      </p:sp>
      <p:sp>
        <p:nvSpPr>
          <p:cNvPr id="13" name="TextBox 12"/>
          <p:cNvSpPr txBox="1"/>
          <p:nvPr/>
        </p:nvSpPr>
        <p:spPr>
          <a:xfrm>
            <a:off x="1188237" y="2439066"/>
            <a:ext cx="9186530" cy="18207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r>
              <a:rPr lang="en-US" dirty="0" smtClean="0"/>
              <a:t>Using </a:t>
            </a:r>
            <a:r>
              <a:rPr lang="en-US" dirty="0" err="1" smtClean="0"/>
              <a:t>CDaaS</a:t>
            </a:r>
            <a:r>
              <a:rPr lang="en-US" dirty="0" smtClean="0"/>
              <a:t> teams create </a:t>
            </a:r>
            <a:r>
              <a:rPr lang="en-US" b="1" dirty="0" smtClean="0">
                <a:solidFill>
                  <a:schemeClr val="accent1"/>
                </a:solidFill>
              </a:rPr>
              <a:t>blueprints</a:t>
            </a:r>
            <a:r>
              <a:rPr lang="en-US" dirty="0" smtClean="0"/>
              <a:t> describing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A </a:t>
            </a:r>
            <a:r>
              <a:rPr lang="en-US" dirty="0" smtClean="0">
                <a:solidFill>
                  <a:schemeClr val="accent1"/>
                </a:solidFill>
              </a:rPr>
              <a:t>domain</a:t>
            </a:r>
            <a:r>
              <a:rPr lang="en-US" dirty="0" smtClean="0"/>
              <a:t> (</a:t>
            </a:r>
            <a:r>
              <a:rPr lang="en-US" i="1" dirty="0" smtClean="0"/>
              <a:t>e.g., </a:t>
            </a:r>
            <a:r>
              <a:rPr lang="en-US" dirty="0" err="1" smtClean="0"/>
              <a:t>CDaaS</a:t>
            </a:r>
            <a:r>
              <a:rPr lang="en-US" dirty="0" smtClean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e </a:t>
            </a:r>
            <a:r>
              <a:rPr lang="en-US" dirty="0" smtClean="0">
                <a:solidFill>
                  <a:schemeClr val="accent1"/>
                </a:solidFill>
              </a:rPr>
              <a:t>systems</a:t>
            </a:r>
            <a:r>
              <a:rPr lang="en-US" dirty="0" smtClean="0"/>
              <a:t> that are part of the domains (</a:t>
            </a:r>
            <a:r>
              <a:rPr lang="en-US" i="1" dirty="0" smtClean="0"/>
              <a:t>e.g., </a:t>
            </a:r>
            <a:r>
              <a:rPr lang="en-US" dirty="0" err="1" smtClean="0"/>
              <a:t>Gitlab</a:t>
            </a:r>
            <a:r>
              <a:rPr lang="en-US" dirty="0" smtClean="0"/>
              <a:t>, </a:t>
            </a:r>
            <a:r>
              <a:rPr lang="en-US" dirty="0" err="1" smtClean="0"/>
              <a:t>Artifactory</a:t>
            </a:r>
            <a:r>
              <a:rPr lang="en-US" dirty="0" smtClean="0"/>
              <a:t>, </a:t>
            </a:r>
            <a:r>
              <a:rPr lang="en-US" dirty="0" err="1" smtClean="0"/>
              <a:t>BuildServer</a:t>
            </a:r>
            <a:r>
              <a:rPr lang="en-US" dirty="0" smtClean="0"/>
              <a:t>, API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nput and Output </a:t>
            </a:r>
            <a:r>
              <a:rPr lang="en-US" dirty="0" smtClean="0">
                <a:solidFill>
                  <a:schemeClr val="accent1"/>
                </a:solidFill>
              </a:rPr>
              <a:t>connections</a:t>
            </a:r>
            <a:r>
              <a:rPr lang="en-US" dirty="0" smtClean="0"/>
              <a:t> allowed to and from the doma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Full </a:t>
            </a:r>
            <a:r>
              <a:rPr lang="en-US" dirty="0" smtClean="0">
                <a:solidFill>
                  <a:schemeClr val="accent1"/>
                </a:solidFill>
              </a:rPr>
              <a:t>composition of an individual system</a:t>
            </a:r>
            <a:r>
              <a:rPr lang="en-US" dirty="0" smtClean="0"/>
              <a:t>: #instances, CPUs, MEM, Storage, OS, etc.</a:t>
            </a:r>
            <a:endParaRPr lang="en-US" dirty="0"/>
          </a:p>
          <a:p>
            <a:pPr marL="228600" indent="-228600">
              <a:buFont typeface="+mj-lt"/>
              <a:buAutoNum type="arabicPeriod"/>
            </a:pPr>
            <a:endParaRPr lang="en-US" sz="1500" dirty="0">
              <a:solidFill>
                <a:schemeClr val="accent1"/>
              </a:solidFill>
            </a:endParaRPr>
          </a:p>
        </p:txBody>
      </p:sp>
      <p:sp>
        <p:nvSpPr>
          <p:cNvPr id="14" name="Title 3"/>
          <p:cNvSpPr txBox="1">
            <a:spLocks/>
          </p:cNvSpPr>
          <p:nvPr/>
        </p:nvSpPr>
        <p:spPr bwMode="gray">
          <a:xfrm>
            <a:off x="838200" y="4613826"/>
            <a:ext cx="11059319" cy="11798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309" rtl="0" eaLnBrk="1" latinLnBrk="0" hangingPunct="1">
              <a:lnSpc>
                <a:spcPts val="4600"/>
              </a:lnSpc>
              <a:spcBef>
                <a:spcPct val="0"/>
              </a:spcBef>
              <a:buNone/>
              <a:defRPr sz="4600" b="1" kern="1200" baseline="0">
                <a:solidFill>
                  <a:schemeClr val="tx2"/>
                </a:solidFill>
                <a:latin typeface="+mj-lt"/>
                <a:ea typeface="+mj-ea"/>
                <a:cs typeface="ING Me" pitchFamily="2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4800" dirty="0" smtClean="0"/>
              <a:t>From Deployment to Assembly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5329773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15000" b="-1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7886700" y="-1"/>
            <a:ext cx="3714750" cy="3657601"/>
          </a:xfrm>
          <a:prstGeom prst="rect">
            <a:avLst/>
          </a:prstGeom>
          <a:solidFill>
            <a:schemeClr val="tx2">
              <a:alpha val="86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4000" b="1" dirty="0"/>
              <a:t>Compliancy</a:t>
            </a:r>
          </a:p>
        </p:txBody>
      </p:sp>
    </p:spTree>
    <p:extLst>
      <p:ext uri="{BB962C8B-B14F-4D97-AF65-F5344CB8AC3E}">
        <p14:creationId xmlns:p14="http://schemas.microsoft.com/office/powerpoint/2010/main" val="3265829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4547287" y="2369145"/>
            <a:ext cx="2644346" cy="3796874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600" smtClean="0"/>
          </a:p>
        </p:txBody>
      </p:sp>
      <p:sp>
        <p:nvSpPr>
          <p:cNvPr id="9" name="Rounded Rectangle 8"/>
          <p:cNvSpPr/>
          <p:nvPr/>
        </p:nvSpPr>
        <p:spPr>
          <a:xfrm>
            <a:off x="605308" y="4106779"/>
            <a:ext cx="10996142" cy="1997223"/>
          </a:xfrm>
          <a:prstGeom prst="roundRect">
            <a:avLst>
              <a:gd name="adj" fmla="val 7639"/>
            </a:avLst>
          </a:prstGeom>
          <a:noFill/>
          <a:ln w="3810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600" smtClean="0"/>
          </a:p>
        </p:txBody>
      </p:sp>
      <p:sp>
        <p:nvSpPr>
          <p:cNvPr id="14" name="TextBox 13"/>
          <p:cNvSpPr txBox="1"/>
          <p:nvPr/>
        </p:nvSpPr>
        <p:spPr>
          <a:xfrm>
            <a:off x="845009" y="4233647"/>
            <a:ext cx="9186530" cy="18207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r>
              <a:rPr lang="en-US" b="1" dirty="0" smtClean="0"/>
              <a:t>Better </a:t>
            </a:r>
            <a:r>
              <a:rPr lang="en-US" b="1" dirty="0"/>
              <a:t>c</a:t>
            </a:r>
            <a:r>
              <a:rPr lang="en-US" b="1" dirty="0" smtClean="0"/>
              <a:t>ontrol of IT Risk footprin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t’s impossible to access the machine after deployment (read-onl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ome controls are not needed anymo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</a:t>
            </a:r>
            <a:r>
              <a:rPr lang="en-US" dirty="0" smtClean="0"/>
              <a:t>edefinition of our policy house based on the </a:t>
            </a:r>
            <a:r>
              <a:rPr lang="en-US" i="1" dirty="0" smtClean="0"/>
              <a:t>outcome over imposition</a:t>
            </a:r>
            <a:r>
              <a:rPr lang="en-US" dirty="0" smtClean="0"/>
              <a:t> princip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No need for SEM-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No need for technical state compliancy monitoring</a:t>
            </a:r>
          </a:p>
          <a:p>
            <a:pPr marL="228600" indent="-228600">
              <a:buFont typeface="+mj-lt"/>
              <a:buAutoNum type="arabicPeriod"/>
            </a:pPr>
            <a:endParaRPr lang="en-US" sz="1500" dirty="0">
              <a:solidFill>
                <a:schemeClr val="accent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0883" y="707443"/>
            <a:ext cx="1219200" cy="1219200"/>
          </a:xfrm>
          <a:prstGeom prst="rect">
            <a:avLst/>
          </a:prstGeom>
        </p:spPr>
      </p:pic>
      <p:sp>
        <p:nvSpPr>
          <p:cNvPr id="16" name="Title 2"/>
          <p:cNvSpPr txBox="1">
            <a:spLocks/>
          </p:cNvSpPr>
          <p:nvPr/>
        </p:nvSpPr>
        <p:spPr bwMode="auto">
          <a:xfrm>
            <a:off x="2160116" y="617423"/>
            <a:ext cx="5031517" cy="273108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309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sz="2800" b="1" kern="1200" baseline="0">
                <a:solidFill>
                  <a:schemeClr val="tx2"/>
                </a:solidFill>
                <a:latin typeface="+mj-lt"/>
                <a:ea typeface="+mj-ea"/>
                <a:cs typeface="ING M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dirty="0" smtClean="0">
                <a:solidFill>
                  <a:schemeClr val="tx1"/>
                </a:solidFill>
              </a:rPr>
              <a:t>The </a:t>
            </a:r>
            <a:r>
              <a:rPr lang="en-US" dirty="0" err="1" smtClean="0">
                <a:solidFill>
                  <a:schemeClr val="tx1"/>
                </a:solidFill>
              </a:rPr>
              <a:t>CDaaS</a:t>
            </a:r>
            <a:r>
              <a:rPr lang="en-US" dirty="0" smtClean="0">
                <a:solidFill>
                  <a:schemeClr val="tx1"/>
                </a:solidFill>
              </a:rPr>
              <a:t> assembles the artefacts from </a:t>
            </a:r>
            <a:r>
              <a:rPr lang="en-US" dirty="0" err="1" smtClean="0">
                <a:solidFill>
                  <a:schemeClr val="tx1"/>
                </a:solidFill>
              </a:rPr>
              <a:t>Artifactory</a:t>
            </a:r>
            <a:r>
              <a:rPr lang="en-US" dirty="0" smtClean="0">
                <a:solidFill>
                  <a:schemeClr val="tx1"/>
                </a:solidFill>
              </a:rPr>
              <a:t> based on the blueprint into</a:t>
            </a:r>
            <a:r>
              <a:rPr lang="en-US" dirty="0" smtClean="0"/>
              <a:t> immutable servers</a:t>
            </a:r>
            <a:r>
              <a:rPr lang="en-US" dirty="0" smtClean="0">
                <a:solidFill>
                  <a:schemeClr val="tx1"/>
                </a:solidFill>
              </a:rPr>
              <a:t> and deployed in the domain described in the blueprints.</a:t>
            </a:r>
            <a:endParaRPr lang="nl-NL" dirty="0">
              <a:solidFill>
                <a:schemeClr val="tx1"/>
              </a:solidFill>
            </a:endParaRPr>
          </a:p>
        </p:txBody>
      </p:sp>
      <p:sp>
        <p:nvSpPr>
          <p:cNvPr id="17" name="Round Same Side Corner Rectangle 16"/>
          <p:cNvSpPr/>
          <p:nvPr/>
        </p:nvSpPr>
        <p:spPr>
          <a:xfrm>
            <a:off x="970435" y="3767050"/>
            <a:ext cx="3978442" cy="339729"/>
          </a:xfrm>
          <a:prstGeom prst="round2SameRect">
            <a:avLst>
              <a:gd name="adj1" fmla="val 35622"/>
              <a:gd name="adj2" fmla="val 0"/>
            </a:avLst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dirty="0" smtClean="0"/>
              <a:t>Benefits of immutable server patterns</a:t>
            </a:r>
          </a:p>
        </p:txBody>
      </p:sp>
      <p:sp>
        <p:nvSpPr>
          <p:cNvPr id="10" name="Rectangle 9"/>
          <p:cNvSpPr/>
          <p:nvPr/>
        </p:nvSpPr>
        <p:spPr>
          <a:xfrm>
            <a:off x="7886700" y="-1"/>
            <a:ext cx="3714750" cy="3657601"/>
          </a:xfrm>
          <a:prstGeom prst="rect">
            <a:avLst/>
          </a:prstGeom>
          <a:solidFill>
            <a:schemeClr val="tx2">
              <a:alpha val="86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4000" b="1" dirty="0"/>
              <a:t>Compliancy</a:t>
            </a:r>
          </a:p>
        </p:txBody>
      </p:sp>
    </p:spTree>
    <p:extLst>
      <p:ext uri="{BB962C8B-B14F-4D97-AF65-F5344CB8AC3E}">
        <p14:creationId xmlns:p14="http://schemas.microsoft.com/office/powerpoint/2010/main" val="1905128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3000" r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5344848"/>
            <a:ext cx="12192000" cy="772617"/>
          </a:xfrm>
          <a:prstGeom prst="rect">
            <a:avLst/>
          </a:prstGeom>
          <a:solidFill>
            <a:schemeClr val="accent3">
              <a:alpha val="8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3200" b="1" dirty="0" smtClean="0"/>
              <a:t>Automated tollgate</a:t>
            </a:r>
          </a:p>
        </p:txBody>
      </p:sp>
      <p:sp>
        <p:nvSpPr>
          <p:cNvPr id="5" name="Rectangle 4"/>
          <p:cNvSpPr/>
          <p:nvPr/>
        </p:nvSpPr>
        <p:spPr>
          <a:xfrm>
            <a:off x="7886700" y="-1"/>
            <a:ext cx="3714750" cy="3657601"/>
          </a:xfrm>
          <a:prstGeom prst="rect">
            <a:avLst/>
          </a:prstGeom>
          <a:solidFill>
            <a:schemeClr val="tx2">
              <a:alpha val="86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4000" b="1" dirty="0"/>
              <a:t>Compliancy</a:t>
            </a:r>
          </a:p>
        </p:txBody>
      </p:sp>
    </p:spTree>
    <p:extLst>
      <p:ext uri="{BB962C8B-B14F-4D97-AF65-F5344CB8AC3E}">
        <p14:creationId xmlns:p14="http://schemas.microsoft.com/office/powerpoint/2010/main" val="36337440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195" y="3084052"/>
            <a:ext cx="8409503" cy="753560"/>
          </a:xfrm>
          <a:prstGeom prst="rect">
            <a:avLst/>
          </a:prstGeom>
          <a:solidFill>
            <a:schemeClr val="accent3">
              <a:alpha val="8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180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sz="3200" b="1" dirty="0" smtClean="0"/>
              <a:t>Going to production takes minutes/hours</a:t>
            </a:r>
          </a:p>
        </p:txBody>
      </p:sp>
      <p:sp>
        <p:nvSpPr>
          <p:cNvPr id="5" name="Rectangle 4"/>
          <p:cNvSpPr/>
          <p:nvPr/>
        </p:nvSpPr>
        <p:spPr>
          <a:xfrm>
            <a:off x="6385" y="3837612"/>
            <a:ext cx="8406095" cy="753560"/>
          </a:xfrm>
          <a:prstGeom prst="rect">
            <a:avLst/>
          </a:prstGeom>
          <a:solidFill>
            <a:schemeClr val="tx2">
              <a:alpha val="8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180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sz="3200" b="1" dirty="0" smtClean="0"/>
              <a:t>Considerable reliability improvements</a:t>
            </a:r>
          </a:p>
        </p:txBody>
      </p:sp>
      <p:sp>
        <p:nvSpPr>
          <p:cNvPr id="6" name="Rectangle 5"/>
          <p:cNvSpPr/>
          <p:nvPr/>
        </p:nvSpPr>
        <p:spPr>
          <a:xfrm>
            <a:off x="-1" y="4591172"/>
            <a:ext cx="8412919" cy="753560"/>
          </a:xfrm>
          <a:prstGeom prst="rect">
            <a:avLst/>
          </a:prstGeom>
          <a:solidFill>
            <a:schemeClr val="accent3">
              <a:alpha val="8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180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sz="3200" b="1" dirty="0" smtClean="0"/>
              <a:t>Relaxed atmosphere on the floor</a:t>
            </a:r>
          </a:p>
        </p:txBody>
      </p:sp>
    </p:spTree>
    <p:extLst>
      <p:ext uri="{BB962C8B-B14F-4D97-AF65-F5344CB8AC3E}">
        <p14:creationId xmlns:p14="http://schemas.microsoft.com/office/powerpoint/2010/main" val="26707233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9117"/>
          <a:stretch/>
        </p:blipFill>
        <p:spPr bwMode="auto">
          <a:xfrm>
            <a:off x="746976" y="1119025"/>
            <a:ext cx="10444766" cy="5535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800" dirty="0" smtClean="0"/>
              <a:t>Global </a:t>
            </a:r>
            <a:r>
              <a:rPr lang="en-US" sz="4800" dirty="0"/>
              <a:t>Continuous Delivery </a:t>
            </a:r>
            <a:r>
              <a:rPr lang="en-US" sz="4800" dirty="0" smtClean="0"/>
              <a:t>Journe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8843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3000" r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7886700" y="-1"/>
            <a:ext cx="3714750" cy="5815013"/>
          </a:xfrm>
          <a:prstGeom prst="rect">
            <a:avLst/>
          </a:prstGeom>
          <a:solidFill>
            <a:schemeClr val="tx2">
              <a:alpha val="86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4000" b="1" dirty="0"/>
              <a:t>In 2012 </a:t>
            </a:r>
            <a:r>
              <a:rPr lang="en-US" sz="4000" b="1" dirty="0" smtClean="0"/>
              <a:t/>
            </a:r>
            <a:br>
              <a:rPr lang="en-US" sz="4000" b="1" dirty="0" smtClean="0"/>
            </a:br>
            <a:r>
              <a:rPr lang="en-US" sz="4000" b="1" dirty="0" smtClean="0"/>
              <a:t>Agile </a:t>
            </a:r>
            <a:r>
              <a:rPr lang="en-US" sz="4000" b="1" dirty="0"/>
              <a:t>and </a:t>
            </a:r>
            <a:r>
              <a:rPr lang="en-US" sz="4000" b="1" dirty="0" smtClean="0"/>
              <a:t/>
            </a:r>
            <a:br>
              <a:rPr lang="en-US" sz="4000" b="1" dirty="0" smtClean="0"/>
            </a:br>
            <a:r>
              <a:rPr lang="en-US" sz="4000" b="1" dirty="0" smtClean="0"/>
              <a:t>Scrum </a:t>
            </a:r>
            <a:r>
              <a:rPr lang="en-US" sz="4000" b="1" dirty="0"/>
              <a:t>were already our religion</a:t>
            </a:r>
          </a:p>
        </p:txBody>
      </p:sp>
    </p:spTree>
    <p:extLst>
      <p:ext uri="{BB962C8B-B14F-4D97-AF65-F5344CB8AC3E}">
        <p14:creationId xmlns:p14="http://schemas.microsoft.com/office/powerpoint/2010/main" val="990108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en-US" sz="4800" dirty="0" smtClean="0"/>
              <a:t>The Global Usage of </a:t>
            </a:r>
            <a:r>
              <a:rPr lang="en-US" sz="4800" dirty="0" err="1" smtClean="0"/>
              <a:t>CDaaS</a:t>
            </a:r>
            <a:endParaRPr lang="en-US" sz="4800" dirty="0"/>
          </a:p>
        </p:txBody>
      </p:sp>
      <p:sp>
        <p:nvSpPr>
          <p:cNvPr id="12" name="Rounded Rectangle 11"/>
          <p:cNvSpPr/>
          <p:nvPr/>
        </p:nvSpPr>
        <p:spPr>
          <a:xfrm>
            <a:off x="605308" y="1875157"/>
            <a:ext cx="10996142" cy="2925085"/>
          </a:xfrm>
          <a:prstGeom prst="roundRect">
            <a:avLst>
              <a:gd name="adj" fmla="val 4997"/>
            </a:avLst>
          </a:prstGeom>
          <a:noFill/>
          <a:ln w="3810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600" smtClean="0"/>
          </a:p>
        </p:txBody>
      </p:sp>
      <p:sp>
        <p:nvSpPr>
          <p:cNvPr id="14" name="Round Same Side Corner Rectangle 13"/>
          <p:cNvSpPr/>
          <p:nvPr/>
        </p:nvSpPr>
        <p:spPr>
          <a:xfrm>
            <a:off x="970435" y="1535428"/>
            <a:ext cx="8134928" cy="339729"/>
          </a:xfrm>
          <a:prstGeom prst="round2SameRect">
            <a:avLst>
              <a:gd name="adj1" fmla="val 35622"/>
              <a:gd name="adj2" fmla="val 0"/>
            </a:avLst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dirty="0"/>
              <a:t>Applications using the Generic Deployment Process through CA Release Automation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5366" y="2003057"/>
            <a:ext cx="4102259" cy="270441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6436" y="1967975"/>
            <a:ext cx="4089304" cy="2739492"/>
          </a:xfrm>
          <a:prstGeom prst="rect">
            <a:avLst/>
          </a:prstGeom>
        </p:spPr>
      </p:pic>
      <p:sp>
        <p:nvSpPr>
          <p:cNvPr id="13" name="Title 3"/>
          <p:cNvSpPr txBox="1">
            <a:spLocks/>
          </p:cNvSpPr>
          <p:nvPr/>
        </p:nvSpPr>
        <p:spPr bwMode="gray">
          <a:xfrm>
            <a:off x="180624" y="5008941"/>
            <a:ext cx="11626583" cy="11798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309" rtl="0" eaLnBrk="1" latinLnBrk="0" hangingPunct="1">
              <a:lnSpc>
                <a:spcPts val="4600"/>
              </a:lnSpc>
              <a:spcBef>
                <a:spcPct val="0"/>
              </a:spcBef>
              <a:buNone/>
              <a:defRPr sz="4600" b="1" kern="1200" baseline="0">
                <a:solidFill>
                  <a:schemeClr val="tx2"/>
                </a:solidFill>
                <a:latin typeface="+mj-lt"/>
                <a:ea typeface="+mj-ea"/>
                <a:cs typeface="ING Me" pitchFamily="2" charset="0"/>
              </a:defRPr>
            </a:lvl1pPr>
          </a:lstStyle>
          <a:p>
            <a:pPr algn="ctr">
              <a:lnSpc>
                <a:spcPct val="90000"/>
              </a:lnSpc>
            </a:pPr>
            <a:r>
              <a:rPr lang="en-US" sz="4800" dirty="0" smtClean="0"/>
              <a:t>±700 teams using </a:t>
            </a:r>
            <a:r>
              <a:rPr lang="en-US" sz="4800" dirty="0" err="1" smtClean="0"/>
              <a:t>CDaaS</a:t>
            </a:r>
            <a:r>
              <a:rPr lang="en-US" sz="4800" dirty="0" smtClean="0"/>
              <a:t> globally 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9315429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8850" y="4991636"/>
            <a:ext cx="3338957" cy="164928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228" y="332786"/>
            <a:ext cx="3761587" cy="2112672"/>
          </a:xfrm>
          <a:prstGeom prst="rect">
            <a:avLst/>
          </a:prstGeom>
          <a:ln>
            <a:solidFill>
              <a:schemeClr val="accent2"/>
            </a:solidFill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6849" y="2539663"/>
            <a:ext cx="3735968" cy="2121220"/>
          </a:xfrm>
          <a:prstGeom prst="rect">
            <a:avLst/>
          </a:prstGeom>
          <a:ln>
            <a:solidFill>
              <a:schemeClr val="accent2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228" y="2539663"/>
            <a:ext cx="3761587" cy="212212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6849" y="332786"/>
            <a:ext cx="3735968" cy="2112672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51011" y="2558933"/>
            <a:ext cx="3736800" cy="210195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35432" y="343508"/>
            <a:ext cx="3736800" cy="210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906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 descr="VSM%20Huidig%20deployment%20proces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85107"/>
            <a:ext cx="18154650" cy="5867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/>
          <p:nvPr/>
        </p:nvSpPr>
        <p:spPr>
          <a:xfrm>
            <a:off x="7886700" y="-1"/>
            <a:ext cx="3714750" cy="5815013"/>
          </a:xfrm>
          <a:prstGeom prst="rect">
            <a:avLst/>
          </a:prstGeom>
          <a:solidFill>
            <a:schemeClr val="tx2">
              <a:alpha val="86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4000" b="1" dirty="0"/>
              <a:t>Long </a:t>
            </a:r>
            <a:r>
              <a:rPr lang="en-US" sz="4000" b="1" dirty="0" smtClean="0"/>
              <a:t>Release </a:t>
            </a:r>
            <a:r>
              <a:rPr lang="en-US" sz="4000" b="1" dirty="0"/>
              <a:t>Process</a:t>
            </a:r>
          </a:p>
          <a:p>
            <a:pPr algn="ctr">
              <a:lnSpc>
                <a:spcPct val="90000"/>
              </a:lnSpc>
            </a:pPr>
            <a:r>
              <a:rPr lang="en-US" sz="4000" b="1" dirty="0"/>
              <a:t>And Time to Market</a:t>
            </a:r>
          </a:p>
        </p:txBody>
      </p:sp>
    </p:spTree>
    <p:extLst>
      <p:ext uri="{BB962C8B-B14F-4D97-AF65-F5344CB8AC3E}">
        <p14:creationId xmlns:p14="http://schemas.microsoft.com/office/powerpoint/2010/main" val="36442983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5E-6 2.22222E-6 L -0.4862 -0.0081 " pathEditMode="relative" rAng="0" ptsTypes="AA">
                                      <p:cBhvr>
                                        <p:cTn id="6" dur="5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4310" y="-41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7886700" y="0"/>
            <a:ext cx="3714750" cy="3214256"/>
          </a:xfrm>
          <a:prstGeom prst="rect">
            <a:avLst/>
          </a:prstGeom>
          <a:solidFill>
            <a:schemeClr val="tx2">
              <a:alpha val="86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4000" b="1" dirty="0"/>
              <a:t>Afraid to Release</a:t>
            </a:r>
          </a:p>
        </p:txBody>
      </p:sp>
    </p:spTree>
    <p:extLst>
      <p:ext uri="{BB962C8B-B14F-4D97-AF65-F5344CB8AC3E}">
        <p14:creationId xmlns:p14="http://schemas.microsoft.com/office/powerpoint/2010/main" val="1151772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7886700" y="0"/>
            <a:ext cx="3714750" cy="3214256"/>
          </a:xfrm>
          <a:prstGeom prst="rect">
            <a:avLst/>
          </a:prstGeom>
          <a:solidFill>
            <a:schemeClr val="tx2">
              <a:alpha val="86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4000" b="1" dirty="0"/>
              <a:t>Late Night </a:t>
            </a:r>
            <a:r>
              <a:rPr lang="en-US" sz="4000" b="1" dirty="0" smtClean="0"/>
              <a:t/>
            </a:r>
            <a:br>
              <a:rPr lang="en-US" sz="4000" b="1" dirty="0" smtClean="0"/>
            </a:br>
            <a:r>
              <a:rPr lang="en-US" sz="4000" b="1" dirty="0" smtClean="0"/>
              <a:t>Bug </a:t>
            </a:r>
            <a:r>
              <a:rPr lang="en-US" sz="4000" b="1" dirty="0"/>
              <a:t>Fixing</a:t>
            </a:r>
          </a:p>
        </p:txBody>
      </p:sp>
    </p:spTree>
    <p:extLst>
      <p:ext uri="{BB962C8B-B14F-4D97-AF65-F5344CB8AC3E}">
        <p14:creationId xmlns:p14="http://schemas.microsoft.com/office/powerpoint/2010/main" val="527882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74557" y="0"/>
            <a:ext cx="5304556" cy="685800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7886700" y="-1"/>
            <a:ext cx="3714750" cy="5815013"/>
          </a:xfrm>
          <a:prstGeom prst="rect">
            <a:avLst/>
          </a:prstGeom>
          <a:solidFill>
            <a:schemeClr val="tx2">
              <a:alpha val="86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4000" b="1" dirty="0"/>
              <a:t>Our journey started with THE book</a:t>
            </a:r>
          </a:p>
        </p:txBody>
      </p:sp>
    </p:spTree>
    <p:extLst>
      <p:ext uri="{BB962C8B-B14F-4D97-AF65-F5344CB8AC3E}">
        <p14:creationId xmlns:p14="http://schemas.microsoft.com/office/powerpoint/2010/main" val="4161158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709448" y="1367545"/>
            <a:ext cx="7908079" cy="25710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pPr fontAlgn="auto">
              <a:spcBef>
                <a:spcPts val="600"/>
              </a:spcBef>
              <a:spcAft>
                <a:spcPts val="0"/>
              </a:spcAft>
            </a:pPr>
            <a:endParaRPr lang="en-US" dirty="0" smtClean="0">
              <a:solidFill>
                <a:srgbClr val="333333"/>
              </a:solidFill>
              <a:latin typeface="ING Me"/>
              <a:cs typeface="+mn-cs"/>
            </a:endParaRPr>
          </a:p>
          <a:p>
            <a:pPr fontAlgn="auto">
              <a:spcBef>
                <a:spcPts val="600"/>
              </a:spcBef>
              <a:spcAft>
                <a:spcPts val="1800"/>
              </a:spcAft>
            </a:pPr>
            <a:r>
              <a:rPr lang="en-US" sz="2000" b="1" dirty="0" smtClean="0">
                <a:solidFill>
                  <a:srgbClr val="333333"/>
                </a:solidFill>
                <a:latin typeface="ING Me"/>
                <a:cs typeface="+mn-cs"/>
              </a:rPr>
              <a:t>We had two main goals:</a:t>
            </a:r>
          </a:p>
          <a:p>
            <a:pPr marL="342900" indent="-342900" fontAlgn="auto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2000" dirty="0" smtClean="0">
                <a:solidFill>
                  <a:srgbClr val="333333"/>
                </a:solidFill>
                <a:latin typeface="ING Me"/>
                <a:cs typeface="+mn-cs"/>
              </a:rPr>
              <a:t>being </a:t>
            </a:r>
            <a:r>
              <a:rPr lang="en-US" sz="2000" b="1" dirty="0" smtClean="0">
                <a:solidFill>
                  <a:srgbClr val="FF6200"/>
                </a:solidFill>
                <a:latin typeface="ING Me"/>
                <a:cs typeface="+mn-cs"/>
              </a:rPr>
              <a:t>a manufacturing-like production line </a:t>
            </a:r>
            <a:r>
              <a:rPr lang="en-US" sz="2000" dirty="0" smtClean="0">
                <a:solidFill>
                  <a:srgbClr val="333333"/>
                </a:solidFill>
                <a:latin typeface="ING Me"/>
                <a:cs typeface="+mn-cs"/>
              </a:rPr>
              <a:t>that automates ideally all the steps that brings the code to production </a:t>
            </a:r>
            <a:r>
              <a:rPr lang="en-US" sz="2000" b="1" dirty="0" smtClean="0">
                <a:solidFill>
                  <a:srgbClr val="FF6200"/>
                </a:solidFill>
                <a:latin typeface="ING Me"/>
                <a:cs typeface="+mn-cs"/>
              </a:rPr>
              <a:t>reducing the cycle-time </a:t>
            </a:r>
            <a:r>
              <a:rPr lang="en-US" sz="2000" dirty="0" smtClean="0">
                <a:solidFill>
                  <a:srgbClr val="333333"/>
                </a:solidFill>
                <a:latin typeface="ING Me"/>
                <a:cs typeface="+mn-cs"/>
              </a:rPr>
              <a:t>in delivering valuable software</a:t>
            </a:r>
          </a:p>
          <a:p>
            <a:pPr marL="342900" indent="-342900" fontAlgn="auto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endParaRPr lang="en-US" dirty="0" smtClean="0">
              <a:solidFill>
                <a:srgbClr val="333333"/>
              </a:solidFill>
              <a:latin typeface="ING Me"/>
              <a:cs typeface="+mn-cs"/>
            </a:endParaRPr>
          </a:p>
          <a:p>
            <a:pPr marL="342900" indent="-342900" fontAlgn="auto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2000" dirty="0" smtClean="0">
                <a:latin typeface="ING Me"/>
                <a:cs typeface="+mn-cs"/>
              </a:rPr>
              <a:t> </a:t>
            </a:r>
            <a:r>
              <a:rPr lang="en-US" sz="2000" b="1" dirty="0" smtClean="0">
                <a:solidFill>
                  <a:srgbClr val="FF6200"/>
                </a:solidFill>
                <a:latin typeface="ING Me"/>
                <a:cs typeface="+mn-cs"/>
              </a:rPr>
              <a:t>enabling the teams </a:t>
            </a:r>
            <a:r>
              <a:rPr lang="en-US" sz="2000" dirty="0" smtClean="0">
                <a:solidFill>
                  <a:srgbClr val="333333"/>
                </a:solidFill>
                <a:latin typeface="ING Me"/>
                <a:cs typeface="+mn-cs"/>
              </a:rPr>
              <a:t>to ensure the compliancy, quality, and the value of software systems</a:t>
            </a:r>
          </a:p>
          <a:p>
            <a:pPr fontAlgn="auto">
              <a:spcBef>
                <a:spcPts val="600"/>
              </a:spcBef>
              <a:spcAft>
                <a:spcPts val="0"/>
              </a:spcAft>
            </a:pPr>
            <a:endParaRPr lang="en-US" dirty="0" smtClean="0">
              <a:solidFill>
                <a:srgbClr val="333333"/>
              </a:solidFill>
              <a:latin typeface="ING Me"/>
              <a:cs typeface="+mn-cs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575" y="5548212"/>
            <a:ext cx="2458669" cy="1060707"/>
          </a:xfrm>
          <a:prstGeom prst="rect">
            <a:avLst/>
          </a:prstGeom>
        </p:spPr>
      </p:pic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45575" y="280733"/>
            <a:ext cx="10489175" cy="1083833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GB" sz="4000" dirty="0" smtClean="0"/>
              <a:t>Why Continuous Delivery? </a:t>
            </a:r>
            <a:endParaRPr lang="en-GB" sz="4000" dirty="0"/>
          </a:p>
        </p:txBody>
      </p:sp>
      <p:sp>
        <p:nvSpPr>
          <p:cNvPr id="8" name="Rectangle 7"/>
          <p:cNvSpPr/>
          <p:nvPr/>
        </p:nvSpPr>
        <p:spPr>
          <a:xfrm>
            <a:off x="9116291" y="2256308"/>
            <a:ext cx="3075709" cy="890649"/>
          </a:xfrm>
          <a:prstGeom prst="rect">
            <a:avLst/>
          </a:prstGeom>
          <a:solidFill>
            <a:schemeClr val="tx2">
              <a:alpha val="8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4000" b="1" dirty="0" smtClean="0"/>
              <a:t>Automation</a:t>
            </a:r>
          </a:p>
        </p:txBody>
      </p:sp>
      <p:sp>
        <p:nvSpPr>
          <p:cNvPr id="9" name="Rectangle 8"/>
          <p:cNvSpPr/>
          <p:nvPr/>
        </p:nvSpPr>
        <p:spPr>
          <a:xfrm>
            <a:off x="9126191" y="3774333"/>
            <a:ext cx="3075709" cy="890649"/>
          </a:xfrm>
          <a:prstGeom prst="rect">
            <a:avLst/>
          </a:prstGeom>
          <a:solidFill>
            <a:srgbClr val="002060">
              <a:alpha val="85000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4000" b="1" dirty="0" smtClean="0"/>
              <a:t>Quality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751013" y="2242453"/>
            <a:ext cx="768640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06553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5000" b="-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28" y="550378"/>
            <a:ext cx="1157288" cy="77012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7692734" y="0"/>
            <a:ext cx="3714750" cy="3214256"/>
          </a:xfrm>
          <a:prstGeom prst="rect">
            <a:avLst/>
          </a:prstGeom>
          <a:solidFill>
            <a:schemeClr val="tx2">
              <a:alpha val="86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4000" b="1" dirty="0"/>
              <a:t>It starts with Continuous Integration…</a:t>
            </a:r>
          </a:p>
        </p:txBody>
      </p:sp>
    </p:spTree>
    <p:extLst>
      <p:ext uri="{BB962C8B-B14F-4D97-AF65-F5344CB8AC3E}">
        <p14:creationId xmlns:p14="http://schemas.microsoft.com/office/powerpoint/2010/main" val="3313474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98755fb961bcb85c763cf62196f86d8244fc"/>
  <p:tag name="_AMO_REPORTCONTROLSVISIBLE" val="Empty"/>
  <p:tag name="_AMO_UNIQUEIDENTIFIER" val="6d3ba273-6603-4f0a-96ec-9329f7e9055b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NG_PP_Template_16x9_June2015">
  <a:themeElements>
    <a:clrScheme name="ING APRIL 2015">
      <a:dk1>
        <a:srgbClr val="333333"/>
      </a:dk1>
      <a:lt1>
        <a:sysClr val="window" lastClr="FFFFFF"/>
      </a:lt1>
      <a:dk2>
        <a:srgbClr val="FF6200"/>
      </a:dk2>
      <a:lt2>
        <a:srgbClr val="767676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6200"/>
        </a:solidFill>
        <a:ln w="6350">
          <a:solidFill>
            <a:srgbClr val="FF6200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90000"/>
          </a:lnSpc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8A8A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4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ING_PP_Template_16x9_08042015.potx" id="{6D084BF0-9966-4FDC-A0E8-0296637E5E37}" vid="{40DDC393-4B6B-4664-98B0-883141C8FD4C}"/>
    </a:ext>
  </a:extLst>
</a:theme>
</file>

<file path=ppt/theme/theme10.xml><?xml version="1.0" encoding="utf-8"?>
<a:theme xmlns:a="http://schemas.openxmlformats.org/drawingml/2006/main" name="4_ING_PP_Template_16x9_June2015">
  <a:themeElements>
    <a:clrScheme name="ING APRIL 2015">
      <a:dk1>
        <a:srgbClr val="333333"/>
      </a:dk1>
      <a:lt1>
        <a:sysClr val="window" lastClr="FFFFFF"/>
      </a:lt1>
      <a:dk2>
        <a:srgbClr val="FF6200"/>
      </a:dk2>
      <a:lt2>
        <a:srgbClr val="767676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6200"/>
        </a:solidFill>
        <a:ln w="6350">
          <a:solidFill>
            <a:srgbClr val="FF6200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90000"/>
          </a:lnSpc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8A8A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4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ING_PP_Template_16x9_08042015.potx" id="{6D084BF0-9966-4FDC-A0E8-0296637E5E37}" vid="{40DDC393-4B6B-4664-98B0-883141C8FD4C}"/>
    </a:ext>
  </a:extLst>
</a:theme>
</file>

<file path=ppt/theme/theme11.xml><?xml version="1.0" encoding="utf-8"?>
<a:theme xmlns:a="http://schemas.openxmlformats.org/drawingml/2006/main" name="5_ING_PP_Template_16x9_June2015">
  <a:themeElements>
    <a:clrScheme name="ING APRIL 2015">
      <a:dk1>
        <a:srgbClr val="333333"/>
      </a:dk1>
      <a:lt1>
        <a:sysClr val="window" lastClr="FFFFFF"/>
      </a:lt1>
      <a:dk2>
        <a:srgbClr val="FF6200"/>
      </a:dk2>
      <a:lt2>
        <a:srgbClr val="767676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6200"/>
        </a:solidFill>
        <a:ln w="6350">
          <a:solidFill>
            <a:srgbClr val="FF6200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90000"/>
          </a:lnSpc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8A8A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4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ING_PP_Template_16x9_08042015.potx" id="{6D084BF0-9966-4FDC-A0E8-0296637E5E37}" vid="{40DDC393-4B6B-4664-98B0-883141C8FD4C}"/>
    </a:ext>
  </a:ext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ING_PP_Template_16x9_June2015">
  <a:themeElements>
    <a:clrScheme name="ING APRIL 2015">
      <a:dk1>
        <a:srgbClr val="333333"/>
      </a:dk1>
      <a:lt1>
        <a:sysClr val="window" lastClr="FFFFFF"/>
      </a:lt1>
      <a:dk2>
        <a:srgbClr val="FF6200"/>
      </a:dk2>
      <a:lt2>
        <a:srgbClr val="767676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6200"/>
        </a:solidFill>
        <a:ln w="6350">
          <a:solidFill>
            <a:srgbClr val="FF6200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90000"/>
          </a:lnSpc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8A8A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4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ING_PP_Template_16x9_08042015.potx" id="{6D084BF0-9966-4FDC-A0E8-0296637E5E37}" vid="{40DDC393-4B6B-4664-98B0-883141C8FD4C}"/>
    </a:ext>
  </a:extLst>
</a:theme>
</file>

<file path=ppt/theme/theme3.xml><?xml version="1.0" encoding="utf-8"?>
<a:theme xmlns:a="http://schemas.openxmlformats.org/drawingml/2006/main" name="2_ING_PP_Template_16x9_June2015">
  <a:themeElements>
    <a:clrScheme name="ING APRIL 2015">
      <a:dk1>
        <a:srgbClr val="333333"/>
      </a:dk1>
      <a:lt1>
        <a:sysClr val="window" lastClr="FFFFFF"/>
      </a:lt1>
      <a:dk2>
        <a:srgbClr val="FF6200"/>
      </a:dk2>
      <a:lt2>
        <a:srgbClr val="767676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6200"/>
        </a:solidFill>
        <a:ln w="6350">
          <a:solidFill>
            <a:srgbClr val="FF6200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90000"/>
          </a:lnSpc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8A8A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4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ING_PP_Template_16x9_08042015.potx" id="{6D084BF0-9966-4FDC-A0E8-0296637E5E37}" vid="{40DDC393-4B6B-4664-98B0-883141C8FD4C}"/>
    </a:ext>
  </a:extLst>
</a:theme>
</file>

<file path=ppt/theme/theme4.xml><?xml version="1.0" encoding="utf-8"?>
<a:theme xmlns:a="http://schemas.openxmlformats.org/drawingml/2006/main" name="3_ING_PP_Template_16x9_June2015">
  <a:themeElements>
    <a:clrScheme name="ING APRIL 2015">
      <a:dk1>
        <a:srgbClr val="333333"/>
      </a:dk1>
      <a:lt1>
        <a:sysClr val="window" lastClr="FFFFFF"/>
      </a:lt1>
      <a:dk2>
        <a:srgbClr val="FF6200"/>
      </a:dk2>
      <a:lt2>
        <a:srgbClr val="767676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6200"/>
        </a:solidFill>
        <a:ln w="6350">
          <a:solidFill>
            <a:srgbClr val="FF6200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90000"/>
          </a:lnSpc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8A8A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4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ING_PP_Template_16x9_08042015.potx" id="{6D084BF0-9966-4FDC-A0E8-0296637E5E37}" vid="{40DDC393-4B6B-4664-98B0-883141C8FD4C}"/>
    </a:ext>
  </a:extLst>
</a:theme>
</file>

<file path=ppt/theme/theme5.xml><?xml version="1.0" encoding="utf-8"?>
<a:theme xmlns:a="http://schemas.openxmlformats.org/drawingml/2006/main" name="blank">
  <a:themeElements>
    <a:clrScheme name="_ING_Retail">
      <a:dk1>
        <a:srgbClr val="333333"/>
      </a:dk1>
      <a:lt1>
        <a:sysClr val="window" lastClr="FFFFFF"/>
      </a:lt1>
      <a:dk2>
        <a:srgbClr val="FF6200"/>
      </a:dk2>
      <a:lt2>
        <a:srgbClr val="767676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_ING_Retail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6200"/>
        </a:solidFill>
        <a:ln w="6350">
          <a:solidFill>
            <a:srgbClr val="FF6200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90000"/>
          </a:lnSpc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8A8A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400" smtClean="0"/>
        </a:defPPr>
      </a:lstStyle>
    </a:txDef>
  </a:objectDefaults>
  <a:extraClrSchemeLst/>
  <a:custClrLst>
    <a:custClr name="ING Leaf">
      <a:srgbClr val="349651"/>
    </a:custClr>
    <a:custClr name="ING Indigo 60%">
      <a:srgbClr val="9797C2"/>
    </a:custClr>
    <a:custClr name="ING Sky 60%">
      <a:srgbClr val="A0CAE9"/>
    </a:custClr>
    <a:custClr name="ING Fuchsia 60%">
      <a:srgbClr val="CD66A3"/>
    </a:custClr>
    <a:custClr name="ING Lime 60%">
      <a:srgbClr val="E3E88A"/>
    </a:custClr>
    <a:custClr name="ING Leaf 60%">
      <a:srgbClr val="85C097"/>
    </a:custClr>
    <a:custClr name="ING Indigo 30%">
      <a:srgbClr val="CBCAE0"/>
    </a:custClr>
    <a:custClr name="ING Sky 30%">
      <a:srgbClr val="CFE4F4"/>
    </a:custClr>
    <a:custClr name="ING Fuchsia 30%">
      <a:srgbClr val="E6B2D1"/>
    </a:custClr>
    <a:custClr name="ING Lime 30%">
      <a:srgbClr val="F1F4C4"/>
    </a:custClr>
    <a:custClr name="ING Leaf 30%">
      <a:srgbClr val="C2DFCA"/>
    </a:custClr>
    <a:custClr name="ING Indigo 15%">
      <a:srgbClr val="E5E5F0"/>
    </a:custClr>
    <a:custClr name="ING Sky 15%">
      <a:srgbClr val="E7F2F9"/>
    </a:custClr>
    <a:custClr name="ING Fuchsia 15%">
      <a:srgbClr val="F2D9E8"/>
    </a:custClr>
    <a:custClr name="ING Lime 15%">
      <a:srgbClr val="F8F9E2"/>
    </a:custClr>
    <a:custClr name="ING Leaf 15%">
      <a:srgbClr val="E1EFE5"/>
    </a:custClr>
    <a:custClr name="ING Minus">
      <a:srgbClr val="FF0000"/>
    </a:custClr>
    <a:custClr name="ING Plus">
      <a:srgbClr val="349651"/>
    </a:custClr>
    <a:custClr name="Background colour only">
      <a:srgbClr val="F0F0F0"/>
    </a:custClr>
    <a:custClr name="Map Base Colour">
      <a:srgbClr val="D9D9D9"/>
    </a:custClr>
  </a:custClrLst>
  <a:extLst>
    <a:ext uri="{05A4C25C-085E-4340-85A3-A5531E510DB2}">
      <thm15:themeFamily xmlns:thm15="http://schemas.microsoft.com/office/thememl/2012/main" name="ING_PP_Template_16x9_08042015.potx" id="{6D084BF0-9966-4FDC-A0E8-0296637E5E37}" vid="{40DDC393-4B6B-4664-98B0-883141C8FD4C}"/>
    </a:ext>
  </a:extLst>
</a:theme>
</file>

<file path=ppt/theme/theme6.xml><?xml version="1.0" encoding="utf-8"?>
<a:theme xmlns:a="http://schemas.openxmlformats.org/drawingml/2006/main" name="CA_World2016_Customer_Template_v1">
  <a:themeElements>
    <a:clrScheme name="CA Corp color palette 2014">
      <a:dk1>
        <a:srgbClr val="20343A"/>
      </a:dk1>
      <a:lt1>
        <a:srgbClr val="FFFFFF"/>
      </a:lt1>
      <a:dk2>
        <a:srgbClr val="58676D"/>
      </a:dk2>
      <a:lt2>
        <a:srgbClr val="D0D8D8"/>
      </a:lt2>
      <a:accent1>
        <a:srgbClr val="53BBD4"/>
      </a:accent1>
      <a:accent2>
        <a:srgbClr val="BD66A9"/>
      </a:accent2>
      <a:accent3>
        <a:srgbClr val="22475C"/>
      </a:accent3>
      <a:accent4>
        <a:srgbClr val="57C1B4"/>
      </a:accent4>
      <a:accent5>
        <a:srgbClr val="3B2259"/>
      </a:accent5>
      <a:accent6>
        <a:srgbClr val="FFC91C"/>
      </a:accent6>
      <a:hlink>
        <a:srgbClr val="22475C"/>
      </a:hlink>
      <a:folHlink>
        <a:srgbClr val="3B225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38100" cap="flat" cmpd="sng" algn="ctr">
          <a:noFill/>
          <a:prstDash val="solid"/>
        </a:ln>
        <a:effectLst/>
      </a:spPr>
      <a:bodyPr vert="horz" lIns="91440" tIns="91440" rIns="91440" bIns="91440" rtlCol="0" anchor="ctr"/>
      <a:lstStyle>
        <a:defPPr marL="0" marR="0" indent="0" algn="ctr" defTabSz="914400" eaLnBrk="1" fontAlgn="auto" latinLnBrk="0" hangingPunct="1">
          <a:lnSpc>
            <a:spcPts val="1720"/>
          </a:lnSpc>
          <a:spcBef>
            <a:spcPts val="0"/>
          </a:spcBef>
          <a:spcAft>
            <a:spcPts val="0"/>
          </a:spcAft>
          <a:buClr>
            <a:srgbClr val="FFFFFF"/>
          </a:buClr>
          <a:buSzTx/>
          <a:buFontTx/>
          <a:buNone/>
          <a:tabLst/>
          <a:defRPr kumimoji="0" sz="1200" b="0" i="0" u="none" strike="noStrike" kern="0" cap="none" spc="0" normalizeH="0" baseline="0" noProof="0" dirty="0" smtClean="0">
            <a:ln>
              <a:noFill/>
            </a:ln>
            <a:solidFill>
              <a:schemeClr val="accent3"/>
            </a:solidFill>
            <a:effectLst/>
            <a:uLnTx/>
            <a:uFillTx/>
            <a:latin typeface="Calibri"/>
            <a:ea typeface="+mn-ea"/>
            <a:cs typeface="Arial Unicode MS" pitchFamily="34" charset="-128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solidFill>
          <a:schemeClr val="bg2"/>
        </a:solidFill>
      </a:spPr>
      <a:bodyPr wrap="none" tIns="91440" bIns="91440" rtlCol="0" anchor="ctr" anchorCtr="0">
        <a:noAutofit/>
      </a:bodyPr>
      <a:lstStyle>
        <a:defPPr algn="ctr">
          <a:defRPr sz="1200" dirty="0" err="1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2_CA_World2015_Employee_Template_v1">
  <a:themeElements>
    <a:clrScheme name="CA Corp color palette 2014">
      <a:dk1>
        <a:srgbClr val="20343A"/>
      </a:dk1>
      <a:lt1>
        <a:srgbClr val="FFFFFF"/>
      </a:lt1>
      <a:dk2>
        <a:srgbClr val="58676D"/>
      </a:dk2>
      <a:lt2>
        <a:srgbClr val="D0D8D8"/>
      </a:lt2>
      <a:accent1>
        <a:srgbClr val="53BBD4"/>
      </a:accent1>
      <a:accent2>
        <a:srgbClr val="BD66A9"/>
      </a:accent2>
      <a:accent3>
        <a:srgbClr val="22475C"/>
      </a:accent3>
      <a:accent4>
        <a:srgbClr val="57C1B4"/>
      </a:accent4>
      <a:accent5>
        <a:srgbClr val="3B2259"/>
      </a:accent5>
      <a:accent6>
        <a:srgbClr val="FFC91C"/>
      </a:accent6>
      <a:hlink>
        <a:srgbClr val="22475C"/>
      </a:hlink>
      <a:folHlink>
        <a:srgbClr val="3B225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38100" cap="flat" cmpd="sng" algn="ctr">
          <a:noFill/>
          <a:prstDash val="solid"/>
        </a:ln>
        <a:effectLst/>
      </a:spPr>
      <a:bodyPr vert="horz" lIns="91440" tIns="91440" rIns="91440" bIns="91440" rtlCol="0" anchor="ctr"/>
      <a:lstStyle>
        <a:defPPr marL="0" marR="0" indent="0" algn="ctr" defTabSz="914400" eaLnBrk="1" fontAlgn="auto" latinLnBrk="0" hangingPunct="1">
          <a:lnSpc>
            <a:spcPts val="1720"/>
          </a:lnSpc>
          <a:spcBef>
            <a:spcPts val="0"/>
          </a:spcBef>
          <a:spcAft>
            <a:spcPts val="0"/>
          </a:spcAft>
          <a:buClr>
            <a:srgbClr val="FFFFFF"/>
          </a:buClr>
          <a:buSzTx/>
          <a:buFontTx/>
          <a:buNone/>
          <a:tabLst/>
          <a:defRPr kumimoji="0" sz="1200" b="0" i="0" u="none" strike="noStrike" kern="0" cap="none" spc="0" normalizeH="0" baseline="0" noProof="0" dirty="0" smtClean="0">
            <a:ln>
              <a:noFill/>
            </a:ln>
            <a:solidFill>
              <a:schemeClr val="accent3"/>
            </a:solidFill>
            <a:effectLst/>
            <a:uLnTx/>
            <a:uFillTx/>
            <a:latin typeface="Calibri"/>
            <a:ea typeface="+mn-ea"/>
            <a:cs typeface="Arial Unicode MS" pitchFamily="34" charset="-128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solidFill>
          <a:schemeClr val="bg2"/>
        </a:solidFill>
      </a:spPr>
      <a:bodyPr wrap="none" tIns="91440" bIns="91440" rtlCol="0" anchor="ctr" anchorCtr="0">
        <a:noAutofit/>
      </a:bodyPr>
      <a:lstStyle>
        <a:defPPr algn="ctr">
          <a:defRPr sz="1200" dirty="0" err="1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More Info - Light Green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38100" cap="flat" cmpd="sng" algn="ctr">
          <a:noFill/>
          <a:prstDash val="solid"/>
        </a:ln>
        <a:effectLst/>
      </a:spPr>
      <a:bodyPr vert="horz" lIns="91440" tIns="91440" rIns="91440" bIns="91440" rtlCol="0" anchor="ctr"/>
      <a:lstStyle>
        <a:defPPr marL="0" marR="0" indent="0" algn="ctr" defTabSz="914400" eaLnBrk="1" fontAlgn="auto" latinLnBrk="0" hangingPunct="1">
          <a:lnSpc>
            <a:spcPts val="1720"/>
          </a:lnSpc>
          <a:spcBef>
            <a:spcPts val="0"/>
          </a:spcBef>
          <a:spcAft>
            <a:spcPts val="0"/>
          </a:spcAft>
          <a:buClr>
            <a:srgbClr val="FFFFFF"/>
          </a:buClr>
          <a:buSzTx/>
          <a:buFontTx/>
          <a:buNone/>
          <a:tabLst/>
          <a:defRPr kumimoji="0" sz="1200" b="0" i="0" u="none" strike="noStrike" kern="0" cap="none" spc="0" normalizeH="0" baseline="0" noProof="0" dirty="0" smtClean="0">
            <a:ln>
              <a:noFill/>
            </a:ln>
            <a:solidFill>
              <a:schemeClr val="accent3"/>
            </a:solidFill>
            <a:effectLst/>
            <a:uLnTx/>
            <a:uFillTx/>
            <a:latin typeface="Calibri"/>
            <a:ea typeface="+mn-ea"/>
            <a:cs typeface="Arial Unicode MS" pitchFamily="34" charset="-128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solidFill>
          <a:schemeClr val="bg2"/>
        </a:solidFill>
      </a:spPr>
      <a:bodyPr wrap="none" tIns="91440" bIns="91440" rtlCol="0" anchor="ctr" anchorCtr="0">
        <a:noAutofit/>
      </a:bodyPr>
      <a:lstStyle>
        <a:defPPr algn="ctr">
          <a:defRPr sz="1200" dirty="0" err="1" smtClean="0"/>
        </a:defPPr>
      </a:lstStyle>
    </a:txDef>
  </a:objectDefaults>
  <a:extraClrSchemeLst/>
</a:theme>
</file>

<file path=ppt/theme/theme9.xml><?xml version="1.0" encoding="utf-8"?>
<a:theme xmlns:a="http://schemas.openxmlformats.org/drawingml/2006/main" name="CA_World2015_Employee_Template_v1">
  <a:themeElements>
    <a:clrScheme name="CA Corp color palette 2014">
      <a:dk1>
        <a:srgbClr val="20343A"/>
      </a:dk1>
      <a:lt1>
        <a:srgbClr val="FFFFFF"/>
      </a:lt1>
      <a:dk2>
        <a:srgbClr val="58676D"/>
      </a:dk2>
      <a:lt2>
        <a:srgbClr val="D0D8D8"/>
      </a:lt2>
      <a:accent1>
        <a:srgbClr val="53BBD4"/>
      </a:accent1>
      <a:accent2>
        <a:srgbClr val="BD66A9"/>
      </a:accent2>
      <a:accent3>
        <a:srgbClr val="22475C"/>
      </a:accent3>
      <a:accent4>
        <a:srgbClr val="57C1B4"/>
      </a:accent4>
      <a:accent5>
        <a:srgbClr val="3B2259"/>
      </a:accent5>
      <a:accent6>
        <a:srgbClr val="FFC91C"/>
      </a:accent6>
      <a:hlink>
        <a:srgbClr val="22475C"/>
      </a:hlink>
      <a:folHlink>
        <a:srgbClr val="3B225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38100" cap="flat" cmpd="sng" algn="ctr">
          <a:noFill/>
          <a:prstDash val="solid"/>
        </a:ln>
        <a:effectLst/>
      </a:spPr>
      <a:bodyPr vert="horz" lIns="91440" tIns="91440" rIns="91440" bIns="91440" rtlCol="0" anchor="ctr"/>
      <a:lstStyle>
        <a:defPPr marL="0" marR="0" indent="0" algn="ctr" defTabSz="914400" eaLnBrk="1" fontAlgn="auto" latinLnBrk="0" hangingPunct="1">
          <a:lnSpc>
            <a:spcPts val="1720"/>
          </a:lnSpc>
          <a:spcBef>
            <a:spcPts val="0"/>
          </a:spcBef>
          <a:spcAft>
            <a:spcPts val="0"/>
          </a:spcAft>
          <a:buClr>
            <a:srgbClr val="FFFFFF"/>
          </a:buClr>
          <a:buSzTx/>
          <a:buFontTx/>
          <a:buNone/>
          <a:tabLst/>
          <a:defRPr kumimoji="0" sz="1200" b="0" i="0" u="none" strike="noStrike" kern="0" cap="none" spc="0" normalizeH="0" baseline="0" noProof="0" dirty="0" smtClean="0">
            <a:ln>
              <a:noFill/>
            </a:ln>
            <a:solidFill>
              <a:schemeClr val="accent3"/>
            </a:solidFill>
            <a:effectLst/>
            <a:uLnTx/>
            <a:uFillTx/>
            <a:latin typeface="Calibri"/>
            <a:ea typeface="+mn-ea"/>
            <a:cs typeface="Arial Unicode MS" pitchFamily="34" charset="-128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solidFill>
          <a:schemeClr val="bg2"/>
        </a:solidFill>
      </a:spPr>
      <a:bodyPr wrap="none" tIns="91440" bIns="91440" rtlCol="0" anchor="ctr" anchorCtr="0">
        <a:noAutofit/>
      </a:bodyPr>
      <a:lstStyle>
        <a:defPPr algn="ctr">
          <a:defRPr sz="1200" dirty="0" err="1" smtClean="0"/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20B5D04B56D4B40A3932DF1CE460693" ma:contentTypeVersion="0" ma:contentTypeDescription="Create a new document." ma:contentTypeScope="" ma:versionID="21f6a2fbb806a7feffb24957eab5f0c3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7AB9E84-4CC7-47B5-94EF-2FD7C66FA81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6BAD22DE-37A7-423E-B4CE-B51818BC1129}">
  <ds:schemaRefs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schemas.microsoft.com/office/2006/metadata/properties"/>
    <ds:schemaRef ds:uri="http://purl.org/dc/elements/1.1/"/>
    <ds:schemaRef ds:uri="http://schemas.microsoft.com/office/infopath/2007/PartnerControl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1649D9FA-143E-418E-90EC-74A3CE19A3C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7</TotalTime>
  <Words>442</Words>
  <Application>Microsoft Office PowerPoint</Application>
  <PresentationFormat>Widescreen</PresentationFormat>
  <Paragraphs>88</Paragraphs>
  <Slides>31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48" baseType="lpstr">
      <vt:lpstr>Arial Unicode MS</vt:lpstr>
      <vt:lpstr>Arial</vt:lpstr>
      <vt:lpstr>Calibri</vt:lpstr>
      <vt:lpstr>ING Me</vt:lpstr>
      <vt:lpstr>Wingdings</vt:lpstr>
      <vt:lpstr>ING_PP_Template_16x9_June2015</vt:lpstr>
      <vt:lpstr>1_ING_PP_Template_16x9_June2015</vt:lpstr>
      <vt:lpstr>2_ING_PP_Template_16x9_June2015</vt:lpstr>
      <vt:lpstr>3_ING_PP_Template_16x9_June2015</vt:lpstr>
      <vt:lpstr>blank</vt:lpstr>
      <vt:lpstr>CA_World2016_Customer_Template_v1</vt:lpstr>
      <vt:lpstr>2_CA_World2015_Employee_Template_v1</vt:lpstr>
      <vt:lpstr>More Info - Light Green</vt:lpstr>
      <vt:lpstr>CA_World2015_Employee_Template_v1</vt:lpstr>
      <vt:lpstr>4_ING_PP_Template_16x9_June2015</vt:lpstr>
      <vt:lpstr>5_ING_PP_Template_16x9_June2015</vt:lpstr>
      <vt:lpstr>think-cell Slide</vt:lpstr>
      <vt:lpstr>Global Continuous Delivery in a Financial Organiz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hy Continuous Delivery?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ultural Innovation  Management</vt:lpstr>
      <vt:lpstr>Cultural Innovation  Product Owner</vt:lpstr>
      <vt:lpstr>Cultural Innovation  Engineers</vt:lpstr>
      <vt:lpstr>PowerPoint Presentation</vt:lpstr>
      <vt:lpstr>PowerPoint Presentation</vt:lpstr>
      <vt:lpstr>PowerPoint Presentation</vt:lpstr>
      <vt:lpstr>Concept Of One With communities</vt:lpstr>
      <vt:lpstr>DevOps Journey EverythingAsCode </vt:lpstr>
      <vt:lpstr>PowerPoint Presentation</vt:lpstr>
      <vt:lpstr>PowerPoint Presentation</vt:lpstr>
      <vt:lpstr>PowerPoint Presentation</vt:lpstr>
      <vt:lpstr>PowerPoint Presentation</vt:lpstr>
      <vt:lpstr>Global Continuous Delivery Journey</vt:lpstr>
      <vt:lpstr>The Global Usage of CDaaS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G PP Template 16x9 - June 2015</dc:title>
  <dc:creator>CAV.nl</dc:creator>
  <cp:keywords>ING Me Embedded, Template 16x9</cp:keywords>
  <cp:lastModifiedBy>Romano, D. (Daniele)</cp:lastModifiedBy>
  <cp:revision>1436</cp:revision>
  <cp:lastPrinted>2016-05-11T15:57:54Z</cp:lastPrinted>
  <dcterms:created xsi:type="dcterms:W3CDTF">2015-04-09T14:12:58Z</dcterms:created>
  <dcterms:modified xsi:type="dcterms:W3CDTF">2017-06-03T13:12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20B5D04B56D4B40A3932DF1CE460693</vt:lpwstr>
  </property>
</Properties>
</file>